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omments/comment1.xml" ContentType="application/vnd.openxmlformats-officedocument.presentationml.comment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Ex1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Ex2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Ex3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Ex4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7"/>
  </p:notesMasterIdLst>
  <p:sldIdLst>
    <p:sldId id="2145706147" r:id="rId5"/>
    <p:sldId id="2145706095" r:id="rId6"/>
    <p:sldId id="2145706206" r:id="rId7"/>
    <p:sldId id="2145706213" r:id="rId8"/>
    <p:sldId id="2145705266" r:id="rId9"/>
    <p:sldId id="2145706215" r:id="rId10"/>
    <p:sldId id="2145706216" r:id="rId11"/>
    <p:sldId id="2145706194" r:id="rId12"/>
    <p:sldId id="2145706199" r:id="rId13"/>
    <p:sldId id="2145706165" r:id="rId14"/>
    <p:sldId id="2145706157" r:id="rId15"/>
    <p:sldId id="2145706202" r:id="rId16"/>
    <p:sldId id="2145706173" r:id="rId17"/>
    <p:sldId id="2145706163" r:id="rId18"/>
    <p:sldId id="2145706203" r:id="rId19"/>
    <p:sldId id="2145706174" r:id="rId20"/>
    <p:sldId id="2145706161" r:id="rId21"/>
    <p:sldId id="2145706205" r:id="rId22"/>
    <p:sldId id="2145706191" r:id="rId23"/>
    <p:sldId id="2145706176" r:id="rId24"/>
    <p:sldId id="2145706151" r:id="rId25"/>
    <p:sldId id="2145706149" r:id="rId26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y Kulkarni" initials="JK" lastIdx="15" clrIdx="0">
    <p:extLst>
      <p:ext uri="{19B8F6BF-5375-455C-9EA6-DF929625EA0E}">
        <p15:presenceInfo xmlns:p15="http://schemas.microsoft.com/office/powerpoint/2012/main" userId="S::ajikulkarni@paypal.com::8ae7fda8-c8b3-4f32-b5e5-2a7ae8f0a5ae" providerId="AD"/>
      </p:ext>
    </p:extLst>
  </p:cmAuthor>
  <p:cmAuthor id="2" name="Aniket Chhabra" initials="AC" lastIdx="1" clrIdx="1">
    <p:extLst>
      <p:ext uri="{19B8F6BF-5375-455C-9EA6-DF929625EA0E}">
        <p15:presenceInfo xmlns:p15="http://schemas.microsoft.com/office/powerpoint/2012/main" userId="S::anchhabra@paypal.com::598e0514-bef3-4e71-b6aa-f2edd6441c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DEC"/>
    <a:srgbClr val="D9FFF4"/>
    <a:srgbClr val="FFF5E7"/>
    <a:srgbClr val="E5F8FF"/>
    <a:srgbClr val="009FDE"/>
    <a:srgbClr val="003E2B"/>
    <a:srgbClr val="21012D"/>
    <a:srgbClr val="009A6E"/>
    <a:srgbClr val="00163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1B5882-3004-4F16-8F71-0949CCBFD435}" v="10527" dt="2021-10-12T05:42:44.4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3792" autoAdjust="0"/>
  </p:normalViewPr>
  <p:slideViewPr>
    <p:cSldViewPr snapToGrid="0" snapToObjects="1">
      <p:cViewPr>
        <p:scale>
          <a:sx n="62" d="100"/>
          <a:sy n="62" d="100"/>
        </p:scale>
        <p:origin x="804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NULL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NULL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oleObject" Target="NULL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ivot!$F$33:$F$42</c:f>
              <c:strCache>
                <c:ptCount val="10"/>
                <c:pt idx="0">
                  <c:v> 0-10 </c:v>
                </c:pt>
                <c:pt idx="1">
                  <c:v> 10-20 </c:v>
                </c:pt>
                <c:pt idx="2">
                  <c:v> 20-30 </c:v>
                </c:pt>
                <c:pt idx="3">
                  <c:v> 30-40 </c:v>
                </c:pt>
                <c:pt idx="4">
                  <c:v> 40-50 </c:v>
                </c:pt>
                <c:pt idx="5">
                  <c:v> 50-60 </c:v>
                </c:pt>
                <c:pt idx="6">
                  <c:v> 60-70 </c:v>
                </c:pt>
                <c:pt idx="7">
                  <c:v> 70-80 </c:v>
                </c:pt>
                <c:pt idx="8">
                  <c:v> 80-90 </c:v>
                </c:pt>
                <c:pt idx="9">
                  <c:v> 90-100 </c:v>
                </c:pt>
              </c:strCache>
            </c:strRef>
          </c:cat>
          <c:val>
            <c:numRef>
              <c:f>Pivot!$G$33:$G$42</c:f>
              <c:numCache>
                <c:formatCode>General</c:formatCode>
                <c:ptCount val="10"/>
                <c:pt idx="0">
                  <c:v>13477</c:v>
                </c:pt>
                <c:pt idx="1">
                  <c:v>14118</c:v>
                </c:pt>
                <c:pt idx="2">
                  <c:v>204</c:v>
                </c:pt>
                <c:pt idx="3">
                  <c:v>1518</c:v>
                </c:pt>
                <c:pt idx="4">
                  <c:v>954</c:v>
                </c:pt>
                <c:pt idx="5">
                  <c:v>283</c:v>
                </c:pt>
                <c:pt idx="6">
                  <c:v>76</c:v>
                </c:pt>
                <c:pt idx="7">
                  <c:v>20</c:v>
                </c:pt>
                <c:pt idx="8">
                  <c:v>4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C-45EE-8237-EE1F5C7A51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"/>
        <c:overlap val="6"/>
        <c:axId val="830233440"/>
        <c:axId val="830233112"/>
      </c:barChart>
      <c:catAx>
        <c:axId val="830233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830233112"/>
        <c:crosses val="autoZero"/>
        <c:auto val="1"/>
        <c:lblAlgn val="ctr"/>
        <c:lblOffset val="100"/>
        <c:noMultiLvlLbl val="0"/>
      </c:catAx>
      <c:valAx>
        <c:axId val="830233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30233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Sheet2!$A$2:$A$11265</cx:f>
        <cx:lvl ptCount="11264" formatCode="General">
          <cx:pt idx="0">48.903400000000005</cx:pt>
          <cx:pt idx="1">44.899769999999698</cx:pt>
          <cx:pt idx="2">7.1655999999999995</cx:pt>
          <cx:pt idx="3">70.130700000000004</cx:pt>
          <cx:pt idx="4">17.533199999999997</cx:pt>
          <cx:pt idx="5">4.2562400000000205</cx:pt>
          <cx:pt idx="6">17.687000000000001</cx:pt>
          <cx:pt idx="7">10.139699999999999</cx:pt>
          <cx:pt idx="8">8.9232000000000014</cx:pt>
          <cx:pt idx="9">8.3823999999999987</cx:pt>
          <cx:pt idx="10">4.4870000000000001</cx:pt>
          <cx:pt idx="11">14.74</cx:pt>
          <cx:pt idx="12">15.329599999999999</cx:pt>
          <cx:pt idx="13">7.4359999999999999</cx:pt>
          <cx:pt idx="14">6.6860999999999908</cx:pt>
          <cx:pt idx="15">16.764200000000002</cx:pt>
          <cx:pt idx="16">9.7368899999999989</cx:pt>
          <cx:pt idx="17">5.1279999999999903</cx:pt>
          <cx:pt idx="18">91.357999999999691</cx:pt>
          <cx:pt idx="19">13.31766</cx:pt>
          <cx:pt idx="20">15.771799999999999</cx:pt>
          <cx:pt idx="21">15.476999999999999</cx:pt>
          <cx:pt idx="22">37.134339999999902</cx:pt>
          <cx:pt idx="23">4.1023999999999994</cx:pt>
          <cx:pt idx="24">10.139699999999999</cx:pt>
          <cx:pt idx="25">11.894399999999999</cx:pt>
          <cx:pt idx="26">4.3716200000000001</cx:pt>
          <cx:pt idx="27">4.1023999999999994</cx:pt>
          <cx:pt idx="28">16.917999999999999</cx:pt>
          <cx:pt idx="29">65.294099999999702</cx:pt>
          <cx:pt idx="30">11.4696</cx:pt>
          <cx:pt idx="31">10.0008</cx:pt>
          <cx:pt idx="32">12.460799999999999</cx:pt>
          <cx:pt idx="33">5.2561999999999998</cx:pt>
          <cx:pt idx="34">16.779579999999999</cx:pt>
          <cx:pt idx="35">52.665199999999999</cx:pt>
          <cx:pt idx="36">10.4175</cx:pt>
          <cx:pt idx="37">49.709499999999998</cx:pt>
          <cx:pt idx="38">40.842399999999998</cx:pt>
          <cx:pt idx="39">6.5549999999999997</cx:pt>
          <cx:pt idx="40">9.0583999999999989</cx:pt>
          <cx:pt idx="41">2.3075999999999999</cx:pt>
          <cx:pt idx="42">2.6922000000000001</cx:pt>
          <cx:pt idx="43">3.7178000000000004</cx:pt>
          <cx:pt idx="44">12.3333599999999</cx:pt>
          <cx:pt idx="45">58.845299999999902</cx:pt>
          <cx:pt idx="46">55.674639999999997</cx:pt>
          <cx:pt idx="47">13.1242499999999</cx:pt>
          <cx:pt idx="48">7.1655999999999995</cx:pt>
          <cx:pt idx="49">3.7306199999999996</cx:pt>
          <cx:pt idx="50">12.319199999999899</cx:pt>
          <cx:pt idx="51">56.185169999999992</cx:pt>
          <cx:pt idx="52">17.3794</cx:pt>
          <cx:pt idx="53">50.784299999999902</cx:pt>
          <cx:pt idx="54">14.199719999999999</cx:pt>
          <cx:pt idx="55">45.4102999999999</cx:pt>
          <cx:pt idx="56">37.644869999999706</cx:pt>
          <cx:pt idx="57">42.723299999999995</cx:pt>
          <cx:pt idx="58">12.333360000000001</cx:pt>
          <cx:pt idx="59">11.4696</cx:pt>
          <cx:pt idx="60">12.319199999999899</cx:pt>
          <cx:pt idx="61">3.9741999999999997</cx:pt>
          <cx:pt idx="62">7.9767999999999892</cx:pt>
          <cx:pt idx="63">57.501799999999704</cx:pt>
          <cx:pt idx="64">6.8171999999999997</cx:pt>
          <cx:pt idx="65">6.5549999999999997</cx:pt>
          <cx:pt idx="66">13.910520000000002</cx:pt>
          <cx:pt idx="67">11.752799999999999</cx:pt>
          <cx:pt idx="68">6.2927999999999997</cx:pt>
          <cx:pt idx="69">16.917999999999999</cx:pt>
          <cx:pt idx="70">19.547980000000003</cx:pt>
          <cx:pt idx="71">18.17916</cx:pt>
          <cx:pt idx="72">60.726199999999999</cx:pt>
          <cx:pt idx="73">38.450969999999998</cx:pt>
          <cx:pt idx="74">17.0718</cx:pt>
          <cx:pt idx="75">7.9767999999999892</cx:pt>
          <cx:pt idx="76">6.03059999999999</cx:pt>
          <cx:pt idx="77">13.621320000000001</cx:pt>
          <cx:pt idx="78">13.751459999999899</cx:pt>
          <cx:pt idx="79">7.5712000000000002</cx:pt>
          <cx:pt idx="80">1.42302</cx:pt>
          <cx:pt idx="81">7.4359999999999999</cx:pt>
          <cx:pt idx="82">57.233099999999901</cx:pt>
          <cx:pt idx="83">3.3332000000000002</cx:pt>
          <cx:pt idx="84">70.936800000000005</cx:pt>
          <cx:pt idx="85">4.4870000000000001</cx:pt>
          <cx:pt idx="86">7.8415999999999997</cx:pt>
          <cx:pt idx="87">13.5924</cx:pt>
          <cx:pt idx="88">18.148399999999899</cx:pt>
          <cx:pt idx="89">13.881599999999999</cx:pt>
          <cx:pt idx="90">18.456</cx:pt>
          <cx:pt idx="91">68.787199999999899</cx:pt>
          <cx:pt idx="92">39.498899999999999</cx:pt>
          <cx:pt idx="93">5.8077300000000198</cx:pt>
          <cx:pt idx="94">9.8896800000000198</cx:pt>
          <cx:pt idx="95">50.246899999999904</cx:pt>
          <cx:pt idx="96">67.71239999999969</cx:pt>
          <cx:pt idx="97">4.1023999999999994</cx:pt>
          <cx:pt idx="98">48.903400000000005</cx:pt>
          <cx:pt idx="99">5.2561999999999998</cx:pt>
          <cx:pt idx="100">10.6952999999999</cx:pt>
          <cx:pt idx="101">3.2178199999999997</cx:pt>
          <cx:pt idx="102">10.5564</cx:pt>
          <cx:pt idx="103">11.752799999999999</cx:pt>
          <cx:pt idx="104">7.5712000000000002</cx:pt>
          <cx:pt idx="105">9.4451999999999998</cx:pt>
          <cx:pt idx="106">10.4175</cx:pt>
          <cx:pt idx="107">8.9232000000000014</cx:pt>
          <cx:pt idx="108">7.7063999999999995</cx:pt>
          <cx:pt idx="109">15.771799999999999</cx:pt>
          <cx:pt idx="110">6.5549999999999997</cx:pt>
          <cx:pt idx="111">6.0437099999999999</cx:pt>
          <cx:pt idx="112">12.460799999999999</cx:pt>
          <cx:pt idx="113">8.2472000000000012</cx:pt>
          <cx:pt idx="114">63.950600000000001</cx:pt>
          <cx:pt idx="115">11.328000000000001</cx:pt>
          <cx:pt idx="116">8.80152</cx:pt>
          <cx:pt idx="117">12.967500000000001</cx:pt>
          <cx:pt idx="118">4.1023999999999994</cx:pt>
          <cx:pt idx="119">19.225000000000001</cx:pt>
          <cx:pt idx="120">2.1922199999999998</cx:pt>
          <cx:pt idx="121">11.611199999999899</cx:pt>
          <cx:pt idx="122">16.625780000000002</cx:pt>
          <cx:pt idx="123">52.665199999999999</cx:pt>
          <cx:pt idx="124">12.319199999999899</cx:pt>
          <cx:pt idx="125">6.1616999999999997</cx:pt>
          <cx:pt idx="126">7.9767999999999892</cx:pt>
          <cx:pt idx="127">18.917400000000001</cx:pt>
          <cx:pt idx="128">4.1023999999999994</cx:pt>
          <cx:pt idx="129">8.1255199999999999</cx:pt>
          <cx:pt idx="130">1.42302</cx:pt>
          <cx:pt idx="131">3.4613999999999998</cx:pt>
          <cx:pt idx="132">4.4870000000000001</cx:pt>
          <cx:pt idx="133">65.562799999999996</cx:pt>
          <cx:pt idx="134">2.5639999999999898</cx:pt>
          <cx:pt idx="135">13.447799999999999</cx:pt>
          <cx:pt idx="136">13.447799999999999</cx:pt>
          <cx:pt idx="137">6.4239000000000006</cx:pt>
          <cx:pt idx="138">6.03059999999999</cx:pt>
          <cx:pt idx="139">12.05016</cx:pt>
          <cx:pt idx="140">6.1616999999999997</cx:pt>
          <cx:pt idx="141">7.3008000000000006</cx:pt>
          <cx:pt idx="142">5.7683999999999997</cx:pt>
          <cx:pt idx="143">7.4359999999999999</cx:pt>
          <cx:pt idx="144">7.9767999999999892</cx:pt>
          <cx:pt idx="145">65.294099999999702</cx:pt>
          <cx:pt idx="146">9.722999999999999</cx:pt>
          <cx:pt idx="147">35.468400000000003</cx:pt>
          <cx:pt idx="148">13.447799999999999</cx:pt>
          <cx:pt idx="149">4.7433999999999994</cx:pt>
          <cx:pt idx="150">42.185899999999997</cx:pt>
          <cx:pt idx="151">10.139699999999999</cx:pt>
          <cx:pt idx="152">9.4451999999999998</cx:pt>
          <cx:pt idx="153">10.278600000000001</cx:pt>
          <cx:pt idx="154">10.02858</cx:pt>
          <cx:pt idx="155">6.2927999999999997</cx:pt>
          <cx:pt idx="156">8.0038400000000198</cx:pt>
          <cx:pt idx="157">4.7433999999999994</cx:pt>
          <cx:pt idx="158">3.5895999999999999</cx:pt>
          <cx:pt idx="159">10.5564</cx:pt>
          <cx:pt idx="160">6.1616999999999997</cx:pt>
          <cx:pt idx="161">8.2472000000000012</cx:pt>
          <cx:pt idx="162">3.9741999999999997</cx:pt>
          <cx:pt idx="163">14.3154</cx:pt>
          <cx:pt idx="164">10.5564</cx:pt>
          <cx:pt idx="165">6.2927999999999997</cx:pt>
          <cx:pt idx="166">17.687000000000001</cx:pt>
          <cx:pt idx="167">17.840799999999902</cx:pt>
          <cx:pt idx="168">63.950600000000001</cx:pt>
          <cx:pt idx="169">9.4729800000000193</cx:pt>
          <cx:pt idx="170">8.9232000000000014</cx:pt>
          <cx:pt idx="171">9.0583999999999989</cx:pt>
          <cx:pt idx="172">99.956399999999704</cx:pt>
          <cx:pt idx="173">50.515599999999907</cx:pt>
          <cx:pt idx="174">4.2305999999999999</cx:pt>
          <cx:pt idx="175">9.0583999999999989</cx:pt>
          <cx:pt idx="176">7.8551199999999906</cx:pt>
          <cx:pt idx="177">5.7683999999999997</cx:pt>
          <cx:pt idx="178">7.9767999999999892</cx:pt>
          <cx:pt idx="179">15.476999999999999</cx:pt>
          <cx:pt idx="180">4.4870000000000001</cx:pt>
          <cx:pt idx="181">4.7433999999999994</cx:pt>
          <cx:pt idx="182">10.973099999999999</cx:pt>
          <cx:pt idx="183">5.1536400000000198</cx:pt>
          <cx:pt idx="184">7.4359999999999999</cx:pt>
          <cx:pt idx="185">9.9035700000000197</cx:pt>
          <cx:pt idx="186">7.3008000000000006</cx:pt>
          <cx:pt idx="187">6.5549999999999997</cx:pt>
          <cx:pt idx="188">19.532599999999999</cx:pt>
          <cx:pt idx="189">10.4175</cx:pt>
          <cx:pt idx="190">14.74</cx:pt>
          <cx:pt idx="191">7.7199199999999992</cx:pt>
          <cx:pt idx="192">12.177599999999899</cx:pt>
          <cx:pt idx="193">7.1655999999999995</cx:pt>
          <cx:pt idx="194">7.8415999999999997</cx:pt>
          <cx:pt idx="195">13.1242499999999</cx:pt>
          <cx:pt idx="196">52.665199999999999</cx:pt>
          <cx:pt idx="197">7.3008000000000006</cx:pt>
          <cx:pt idx="198">49.763239999999996</cx:pt>
          <cx:pt idx="199">5.1279999999999903</cx:pt>
          <cx:pt idx="200">15.9192</cx:pt>
          <cx:pt idx="201">4.4870000000000001</cx:pt>
          <cx:pt idx="202">13.881599999999999</cx:pt>
          <cx:pt idx="203">4.9998000000000005</cx:pt>
          <cx:pt idx="204">9.0583999999999989</cx:pt>
          <cx:pt idx="205">6.6860999999999908</cx:pt>
          <cx:pt idx="206">55.889599999999994</cx:pt>
          <cx:pt idx="207">17.840799999999902</cx:pt>
          <cx:pt idx="208">5.2690199999999905</cx:pt>
          <cx:pt idx="209">12.036</cx:pt>
          <cx:pt idx="210">3.34601999999999</cx:pt>
          <cx:pt idx="211">12.177599999999899</cx:pt>
          <cx:pt idx="212">7.4359999999999999</cx:pt>
          <cx:pt idx="213">39.230199999999897</cx:pt>
          <cx:pt idx="214">61.532299999999694</cx:pt>
          <cx:pt idx="215">7.5712000000000002</cx:pt>
          <cx:pt idx="216">2.5639999999999898</cx:pt>
          <cx:pt idx="217">2.7050200000000002</cx:pt>
          <cx:pt idx="218">10.6952999999999</cx:pt>
          <cx:pt idx="219">10.4175</cx:pt>
          <cx:pt idx="220">11.752799999999999</cx:pt>
          <cx:pt idx="221">7.8686400000000196</cx:pt>
          <cx:pt idx="222">5.63729999999999</cx:pt>
          <cx:pt idx="223">6.6860999999999908</cx:pt>
          <cx:pt idx="224">9.722999999999999</cx:pt>
          <cx:pt idx="225">34.662300000000002</cx:pt>
          <cx:pt idx="226">2.8203999999999998</cx:pt>
          <cx:pt idx="227">54.03557</cx:pt>
          <cx:pt idx="228">10.278600000000001</cx:pt>
          <cx:pt idx="229">2.0640200000000002</cx:pt>
          <cx:pt idx="230">9.8619000000000003</cx:pt>
          <cx:pt idx="231">15.476999999999999</cx:pt>
          <cx:pt idx="232">47.049370000000003</cx:pt>
          <cx:pt idx="233">59.678269999999898</cx:pt>
          <cx:pt idx="234">9.5840999999999994</cx:pt>
          <cx:pt idx="235">12.177599999999899</cx:pt>
          <cx:pt idx="236">14.1708</cx:pt>
          <cx:pt idx="237">59.3827</cx:pt>
          <cx:pt idx="238">3.3332000000000002</cx:pt>
          <cx:pt idx="239">9.8619000000000003</cx:pt>
          <cx:pt idx="240">16.764200000000002</cx:pt>
          <cx:pt idx="241">11.611199999999899</cx:pt>
          <cx:pt idx="242">14.06958</cx:pt>
          <cx:pt idx="243">7.9767999999999892</cx:pt>
          <cx:pt idx="244">5.5061999999999998</cx:pt>
          <cx:pt idx="245">8.9367199999999993</cx:pt>
          <cx:pt idx="246">1.2948200000000001</cx:pt>
          <cx:pt idx="247">8.1120000000000001</cx:pt>
          <cx:pt idx="248">2.5639999999999898</cx:pt>
          <cx:pt idx="249">8.3823999999999987</cx:pt>
          <cx:pt idx="250">40.036300000000004</cx:pt>
          <cx:pt idx="251">12.319199999999899</cx:pt>
          <cx:pt idx="252">65.885239999999996</cx:pt>
          <cx:pt idx="253">17.2256</cx:pt>
          <cx:pt idx="254">3.7178000000000004</cx:pt>
          <cx:pt idx="255">10.4175</cx:pt>
          <cx:pt idx="256">3.2434600000000202</cx:pt>
          <cx:pt idx="257">65.052270000000007</cx:pt>
          <cx:pt idx="258">5.2561999999999998</cx:pt>
          <cx:pt idx="259">8.7880000000000003</cx:pt>
          <cx:pt idx="260">15.786539999999999</cx:pt>
          <cx:pt idx="261">37.913569999999702</cx:pt>
          <cx:pt idx="262">6.03059999999999</cx:pt>
          <cx:pt idx="263">7.3143200000000004</cx:pt>
          <cx:pt idx="264">46.753799999999998</cx:pt>
          <cx:pt idx="265">7.0439199999999991</cx:pt>
          <cx:pt idx="266">8.2472000000000012</cx:pt>
          <cx:pt idx="267">45.4102999999999</cx:pt>
          <cx:pt idx="268">5.89949999999999</cx:pt>
          <cx:pt idx="269">12.8535</cx:pt>
          <cx:pt idx="270">70.399399999999702</cx:pt>
          <cx:pt idx="271">4.4870000000000001</cx:pt>
          <cx:pt idx="272">51.348569999999704</cx:pt>
          <cx:pt idx="273">12.177599999999899</cx:pt>
          <cx:pt idx="274">12.825000000000001</cx:pt>
          <cx:pt idx="275">17.533199999999997</cx:pt>
          <cx:pt idx="276">59.651399999999995</cx:pt>
          <cx:pt idx="277">38.1554</cx:pt>
          <cx:pt idx="278">10.834199999999999</cx:pt>
          <cx:pt idx="279">3.4742199999999896</cx:pt>
          <cx:pt idx="280">6.4239000000000006</cx:pt>
          <cx:pt idx="281">12.825000000000001</cx:pt>
          <cx:pt idx="282">52.665199999999999</cx:pt>
          <cx:pt idx="283">5.5061999999999998</cx:pt>
          <cx:pt idx="284">11.894399999999999</cx:pt>
          <cx:pt idx="285">8.6527999999999992</cx:pt>
          <cx:pt idx="286">2.5639999999999898</cx:pt>
          <cx:pt idx="287">37.886699999999998</cx:pt>
          <cx:pt idx="288">9.8619000000000003</cx:pt>
          <cx:pt idx="289">7.4359999999999999</cx:pt>
          <cx:pt idx="290">2.6922000000000001</cx:pt>
          <cx:pt idx="291">15.9192</cx:pt>
          <cx:pt idx="292">8.2472000000000012</cx:pt>
          <cx:pt idx="293">52.127799999999901</cx:pt>
        </cx:lvl>
      </cx:numDim>
    </cx:data>
    <cx:data id="1">
      <cx:numDim type="val">
        <cx:f>Sheet2!$B$2:$B$11265</cx:f>
        <cx:lvl ptCount="11264" formatCode="General">
          <cx:pt idx="0">9.8619000000000003</cx:pt>
          <cx:pt idx="1">6.8171999999999997</cx:pt>
          <cx:pt idx="2">7.1655999999999995</cx:pt>
          <cx:pt idx="3">11.4696</cx:pt>
          <cx:pt idx="4">5.6504099999999999</cx:pt>
          <cx:pt idx="5">39.767599999999995</cx:pt>
          <cx:pt idx="6">18.6098</cx:pt>
          <cx:pt idx="7">6.5549999999999997</cx:pt>
          <cx:pt idx="8">13.881599999999999</cx:pt>
          <cx:pt idx="9">5.9126099999999893</cx:pt>
          <cx:pt idx="10">12.967500000000001</cx:pt>
          <cx:pt idx="11">10.973099999999999</cx:pt>
          <cx:pt idx="12">5.7683999999999997</cx:pt>
          <cx:pt idx="13">7.7063999999999995</cx:pt>
          <cx:pt idx="14">5.2690199999999905</cx:pt>
          <cx:pt idx="15">13.910520000000002</cx:pt>
          <cx:pt idx="16">6.03059999999999</cx:pt>
          <cx:pt idx="17">10.44528</cx:pt>
          <cx:pt idx="18">12.967500000000001</cx:pt>
          <cx:pt idx="19">3.2178199999999997</cx:pt>
          <cx:pt idx="20">15.6244</cx:pt>
          <cx:pt idx="21">6.8171999999999997</cx:pt>
          <cx:pt idx="22">6.4239000000000006</cx:pt>
          <cx:pt idx="23">5.1279999999999903</cx:pt>
          <cx:pt idx="24">7.1655999999999995</cx:pt>
          <cx:pt idx="25">12.825000000000001</cx:pt>
          <cx:pt idx="26">11.894399999999999</cx:pt>
          <cx:pt idx="27">6.5549999999999997</cx:pt>
          <cx:pt idx="28">6.1616999999999997</cx:pt>
          <cx:pt idx="29">10.139699999999999</cx:pt>
          <cx:pt idx="30">11.894399999999999</cx:pt>
          <cx:pt idx="31">36.059539999999998</cx:pt>
          <cx:pt idx="32">7.7063999999999995</cx:pt>
          <cx:pt idx="33">6.03059999999999</cx:pt>
          <cx:pt idx="34">10.0008</cx:pt>
          <cx:pt idx="35">8.7880000000000003</cx:pt>
          <cx:pt idx="36">10.139699999999999</cx:pt>
          <cx:pt idx="37">17.0718</cx:pt>
          <cx:pt idx="38">38.23601</cx:pt>
          <cx:pt idx="39">4.3588000000000005</cx:pt>
          <cx:pt idx="40">10.973099999999999</cx:pt>
          <cx:pt idx="41">12.8535</cx:pt>
          <cx:pt idx="42">7.8415999999999997</cx:pt>
          <cx:pt idx="43">13.447799999999999</cx:pt>
          <cx:pt idx="44">5.89949999999999</cx:pt>
          <cx:pt idx="45">7.1791200000000002</cx:pt>
          <cx:pt idx="46">4.6151999999999997</cx:pt>
          <cx:pt idx="47">10.278600000000001</cx:pt>
          <cx:pt idx="48">10.4175</cx:pt>
          <cx:pt idx="49">9.5840999999999994</cx:pt>
          <cx:pt idx="50">5.1279999999999903</cx:pt>
          <cx:pt idx="51">8.2472000000000012</cx:pt>
          <cx:pt idx="52">8.3823999999999987</cx:pt>
          <cx:pt idx="53">12.967500000000001</cx:pt>
          <cx:pt idx="54">10.0008</cx:pt>
          <cx:pt idx="55">42.992000000000004</cx:pt>
          <cx:pt idx="56">16.917999999999999</cx:pt>
          <cx:pt idx="57">12.460799999999999</cx:pt>
          <cx:pt idx="58">12.177599999999899</cx:pt>
          <cx:pt idx="59">16.641159999999999</cx:pt>
          <cx:pt idx="60">10.4175</cx:pt>
          <cx:pt idx="61">49.440800000000003</cx:pt>
          <cx:pt idx="62">15.491739999999901</cx:pt>
          <cx:pt idx="63">87.327499999999702</cx:pt>
          <cx:pt idx="64">7.7063999999999995</cx:pt>
          <cx:pt idx="65">5.2561999999999998</cx:pt>
          <cx:pt idx="66">10.153589999999999</cx:pt>
          <cx:pt idx="67">6.6860999999999908</cx:pt>
          <cx:pt idx="68">8.6527999999999992</cx:pt>
          <cx:pt idx="69">11.328000000000001</cx:pt>
          <cx:pt idx="70">19.225000000000001</cx:pt>
          <cx:pt idx="71">4.8844199999999995</cx:pt>
          <cx:pt idx="72">7.7334400000000203</cx:pt>
          <cx:pt idx="73">5.2561999999999998</cx:pt>
          <cx:pt idx="74">4.4870000000000001</cx:pt>
          <cx:pt idx="75">5.2561999999999998</cx:pt>
          <cx:pt idx="76">8.9232000000000014</cx:pt>
          <cx:pt idx="77">5.63729999999999</cx:pt>
          <cx:pt idx="78">7.1655999999999995</cx:pt>
          <cx:pt idx="79">6.4239000000000006</cx:pt>
          <cx:pt idx="80">12.460799999999999</cx:pt>
          <cx:pt idx="81">12.825000000000001</cx:pt>
          <cx:pt idx="82">8.9232000000000014</cx:pt>
          <cx:pt idx="83">9.3201899999999895</cx:pt>
          <cx:pt idx="84">10.861980000000001</cx:pt>
          <cx:pt idx="85">8.2472000000000012</cx:pt>
          <cx:pt idx="86">13.447799999999999</cx:pt>
          <cx:pt idx="87">12.602399999999999</cx:pt>
          <cx:pt idx="88">4.3716200000000001</cx:pt>
          <cx:pt idx="89">14.0261999999999</cx:pt>
          <cx:pt idx="90">18.7636</cx:pt>
          <cx:pt idx="91">6.8171999999999997</cx:pt>
          <cx:pt idx="92">11.328000000000001</cx:pt>
          <cx:pt idx="93">3.4613999999999998</cx:pt>
          <cx:pt idx="94">5.2561999999999998</cx:pt>
          <cx:pt idx="95">8.1120000000000001</cx:pt>
          <cx:pt idx="96">7.5712000000000002</cx:pt>
          <cx:pt idx="97">7.4359999999999999</cx:pt>
          <cx:pt idx="98">9.4451999999999998</cx:pt>
          <cx:pt idx="99">12.602399999999999</cx:pt>
          <cx:pt idx="100">14.8873999999999</cx:pt>
          <cx:pt idx="101">4.8715999999999999</cx:pt>
          <cx:pt idx="102">7.4359999999999999</cx:pt>
          <cx:pt idx="103">13.31766</cx:pt>
          <cx:pt idx="104">12.602399999999999</cx:pt>
          <cx:pt idx="105">39.525770000000001</cx:pt>
          <cx:pt idx="106">7.9767999999999892</cx:pt>
          <cx:pt idx="107">6.6860999999999908</cx:pt>
          <cx:pt idx="108">4.9998000000000005</cx:pt>
          <cx:pt idx="109">12.05016</cx:pt>
          <cx:pt idx="110">12.036</cx:pt>
          <cx:pt idx="111">18.456</cx:pt>
          <cx:pt idx="112">10.973099999999999</cx:pt>
          <cx:pt idx="113">8.6527999999999992</cx:pt>
          <cx:pt idx="114">4.8715999999999999</cx:pt>
          <cx:pt idx="115">4.6151999999999997</cx:pt>
          <cx:pt idx="116">18.917400000000001</cx:pt>
          <cx:pt idx="117">5.7683999999999997</cx:pt>
          <cx:pt idx="118">11.4696</cx:pt>
          <cx:pt idx="119">19.225000000000001</cx:pt>
          <cx:pt idx="120">16.764200000000002</cx:pt>
          <cx:pt idx="121">10.834199999999999</cx:pt>
          <cx:pt idx="122">8.7880000000000003</cx:pt>
          <cx:pt idx="123">5.1279999999999903</cx:pt>
          <cx:pt idx="124">5.7683999999999997</cx:pt>
          <cx:pt idx="125">18.302199999999999</cx:pt>
          <cx:pt idx="126">5.5061999999999998</cx:pt>
          <cx:pt idx="127">16.764200000000002</cx:pt>
          <cx:pt idx="128">39.015239999999999</cx:pt>
          <cx:pt idx="129">7.1655999999999995</cx:pt>
          <cx:pt idx="130">11.625359999999899</cx:pt>
          <cx:pt idx="131">6.6860999999999908</cx:pt>
          <cx:pt idx="132">8.1120000000000001</cx:pt>
          <cx:pt idx="133">6.5549999999999997</cx:pt>
          <cx:pt idx="134">8.7880000000000003</cx:pt>
          <cx:pt idx="135">37.080599999999905</cx:pt>
          <cx:pt idx="136">3.7178000000000004</cx:pt>
          <cx:pt idx="137">9.5840999999999994</cx:pt>
          <cx:pt idx="138">17.579339999999998</cx:pt>
          <cx:pt idx="139">18.6098</cx:pt>
          <cx:pt idx="140">3.4742199999999896</cx:pt>
          <cx:pt idx="141">15.6244</cx:pt>
          <cx:pt idx="142">8.6527999999999992</cx:pt>
          <cx:pt idx="143">5.7683999999999997</cx:pt>
          <cx:pt idx="144">3.8460000000000001</cx:pt>
          <cx:pt idx="145">6.8171999999999997</cx:pt>
          <cx:pt idx="146">10.0008</cx:pt>
          <cx:pt idx="147">11.328000000000001</cx:pt>
          <cx:pt idx="148">6.2927999999999997</cx:pt>
          <cx:pt idx="149">6.6860999999999908</cx:pt>
          <cx:pt idx="150">9.8619000000000003</cx:pt>
          <cx:pt idx="151">7.7063999999999995</cx:pt>
          <cx:pt idx="152">18.148399999999899</cx:pt>
          <cx:pt idx="153">18.148399999999899</cx:pt>
          <cx:pt idx="154">41.648499999999999</cx:pt>
          <cx:pt idx="155">1.9358199999999999</cx:pt>
          <cx:pt idx="156">8.2472000000000012</cx:pt>
          <cx:pt idx="157">10.0008</cx:pt>
          <cx:pt idx="158">14.0261999999999</cx:pt>
          <cx:pt idx="159">4.7562199999999999</cx:pt>
          <cx:pt idx="160">19.532599999999999</cx:pt>
          <cx:pt idx="161">11.894399999999999</cx:pt>
          <cx:pt idx="162">3.8460000000000001</cx:pt>
          <cx:pt idx="163">2.8203999999999998</cx:pt>
          <cx:pt idx="164">7.4359999999999999</cx:pt>
          <cx:pt idx="165">17.840799999999902</cx:pt>
          <cx:pt idx="166">9.722999999999999</cx:pt>
          <cx:pt idx="167">4.3588000000000005</cx:pt>
          <cx:pt idx="168">5.7683999999999997</cx:pt>
          <cx:pt idx="169">10.4175</cx:pt>
          <cx:pt idx="170">6.03059999999999</cx:pt>
          <cx:pt idx="171">9.4451999999999998</cx:pt>
          <cx:pt idx="172">18.932779999999998</cx:pt>
          <cx:pt idx="173">7.9767999999999892</cx:pt>
          <cx:pt idx="174">7.9767999999999892</cx:pt>
          <cx:pt idx="175">10.278600000000001</cx:pt>
          <cx:pt idx="176">7.0439199999999991</cx:pt>
          <cx:pt idx="177">12.825000000000001</cx:pt>
          <cx:pt idx="178">51.859100000000005</cx:pt>
          <cx:pt idx="179">6.1616999999999997</cx:pt>
          <cx:pt idx="180">6.5549999999999997</cx:pt>
          <cx:pt idx="181">43.2607</cx:pt>
          <cx:pt idx="182">6.6860999999999908</cx:pt>
          <cx:pt idx="183">5.63729999999999</cx:pt>
          <cx:pt idx="184">8.5175999999999998</cx:pt>
          <cx:pt idx="185">8.9232000000000014</cx:pt>
          <cx:pt idx="186">12.602399999999999</cx:pt>
          <cx:pt idx="187">8.7880000000000003</cx:pt>
          <cx:pt idx="188">5.9126099999999893</cx:pt>
          <cx:pt idx="189">6.6860999999999908</cx:pt>
          <cx:pt idx="190">8.1120000000000001</cx:pt>
          <cx:pt idx="191">8.1120000000000001</cx:pt>
          <cx:pt idx="192">7.4359999999999999</cx:pt>
          <cx:pt idx="193">3.9741999999999997</cx:pt>
          <cx:pt idx="194">6.2927999999999997</cx:pt>
          <cx:pt idx="195">16.764200000000002</cx:pt>
          <cx:pt idx="196">5.7683999999999997</cx:pt>
          <cx:pt idx="197">38.182270000000003</cx:pt>
          <cx:pt idx="198">6.03059999999999</cx:pt>
          <cx:pt idx="199">12.460799999999999</cx:pt>
          <cx:pt idx="200">15.476999999999999</cx:pt>
          <cx:pt idx="201">7.5712000000000002</cx:pt>
          <cx:pt idx="202">19.225000000000001</cx:pt>
          <cx:pt idx="203">7.7063999999999995</cx:pt>
          <cx:pt idx="204">18.48676</cx:pt>
          <cx:pt idx="205">5.7683999999999997</cx:pt>
          <cx:pt idx="206">34.930999999999997</cx:pt>
          <cx:pt idx="207">16.917999999999999</cx:pt>
          <cx:pt idx="208">35.1997</cx:pt>
          <cx:pt idx="209">8.1120000000000001</cx:pt>
          <cx:pt idx="210">8.9232000000000014</cx:pt>
          <cx:pt idx="211">8.1120000000000001</cx:pt>
          <cx:pt idx="212">8.1120000000000001</cx:pt>
          <cx:pt idx="213">15.786539999999999</cx:pt>
          <cx:pt idx="214">38.1554</cx:pt>
          <cx:pt idx="215">8.1120000000000001</cx:pt>
          <cx:pt idx="216">6.8171999999999997</cx:pt>
          <cx:pt idx="217">18.917400000000001</cx:pt>
          <cx:pt idx="218">13.5924</cx:pt>
          <cx:pt idx="219">15.771799999999999</cx:pt>
          <cx:pt idx="220">3.9870200000000002</cx:pt>
          <cx:pt idx="221">11.611199999999899</cx:pt>
          <cx:pt idx="222">10.278600000000001</cx:pt>
          <cx:pt idx="223">5.7683999999999997</cx:pt>
          <cx:pt idx="224">8.2742400000000202</cx:pt>
          <cx:pt idx="225">10.834199999999999</cx:pt>
          <cx:pt idx="226">7.8551199999999906</cx:pt>
          <cx:pt idx="227">4.6151999999999997</cx:pt>
          <cx:pt idx="228">10.973099999999999</cx:pt>
          <cx:pt idx="229">17.994599999999998</cx:pt>
          <cx:pt idx="230">3.60242</cx:pt>
          <cx:pt idx="231">7.5712000000000002</cx:pt>
          <cx:pt idx="232">7.3008000000000006</cx:pt>
          <cx:pt idx="233">6.1616999999999997</cx:pt>
          <cx:pt idx="234">8.2472000000000012</cx:pt>
          <cx:pt idx="235">35.737099999999998</cx:pt>
          <cx:pt idx="236">7.7063999999999995</cx:pt>
          <cx:pt idx="237">6.6860999999999908</cx:pt>
          <cx:pt idx="238">10.973099999999999</cx:pt>
          <cx:pt idx="239">3.8460000000000001</cx:pt>
          <cx:pt idx="240">44.335500000000003</cx:pt>
          <cx:pt idx="241">37.886699999999998</cx:pt>
          <cx:pt idx="242">37.618000000000002</cx:pt>
          <cx:pt idx="243">11.611199999999899</cx:pt>
          <cx:pt idx="244">8.3823999999999987</cx:pt>
          <cx:pt idx="245">11.752799999999999</cx:pt>
          <cx:pt idx="246">10.278600000000001</cx:pt>
          <cx:pt idx="247">15.182200000000002</cx:pt>
          <cx:pt idx="248">11.90856</cx:pt>
          <cx:pt idx="249">42.723299999999995</cx:pt>
          <cx:pt idx="250">17.3794</cx:pt>
          <cx:pt idx="251">5.89949999999999</cx:pt>
          <cx:pt idx="252">3.9741999999999997</cx:pt>
          <cx:pt idx="253">18.7636</cx:pt>
          <cx:pt idx="254">11.328000000000001</cx:pt>
          <cx:pt idx="255">6.8171999999999997</cx:pt>
          <cx:pt idx="256">6.03059999999999</cx:pt>
          <cx:pt idx="257">5.9126099999999893</cx:pt>
          <cx:pt idx="258">7.1655999999999995</cx:pt>
          <cx:pt idx="259">11.92272</cx:pt>
          <cx:pt idx="260">8.3823999999999987</cx:pt>
          <cx:pt idx="261">15.329599999999999</cx:pt>
          <cx:pt idx="262">6.5549999999999997</cx:pt>
          <cx:pt idx="263">15.771799999999999</cx:pt>
          <cx:pt idx="264">11.781120000000001</cx:pt>
          <cx:pt idx="265">8.7880000000000003</cx:pt>
          <cx:pt idx="266">6.6860999999999908</cx:pt>
          <cx:pt idx="267">4.3588000000000005</cx:pt>
          <cx:pt idx="268">6.5549999999999997</cx:pt>
          <cx:pt idx="269">3.5895999999999999</cx:pt>
          <cx:pt idx="270">18.456</cx:pt>
          <cx:pt idx="271">11.611199999999899</cx:pt>
          <cx:pt idx="272">17.2256</cx:pt>
          <cx:pt idx="273">6.2927999999999997</cx:pt>
          <cx:pt idx="274">10.44528</cx:pt>
          <cx:pt idx="275">11.4696</cx:pt>
          <cx:pt idx="276">11.4696</cx:pt>
          <cx:pt idx="277">15.6244</cx:pt>
          <cx:pt idx="278">3.8460000000000001</cx:pt>
          <cx:pt idx="279">7.1655999999999995</cx:pt>
          <cx:pt idx="280">12.825000000000001</cx:pt>
          <cx:pt idx="281">4.1023999999999994</cx:pt>
          <cx:pt idx="282">13.447799999999999</cx:pt>
          <cx:pt idx="283">41.1111</cx:pt>
          <cx:pt idx="284">6.03059999999999</cx:pt>
          <cx:pt idx="285">10.4175</cx:pt>
          <cx:pt idx="286">7.1655999999999995</cx:pt>
          <cx:pt idx="287">17.0718</cx:pt>
          <cx:pt idx="288">11.781120000000001</cx:pt>
          <cx:pt idx="289">10.01469</cx:pt>
          <cx:pt idx="290">11.894399999999999</cx:pt>
          <cx:pt idx="291">12.460799999999999</cx:pt>
          <cx:pt idx="292">6.8171999999999997</cx:pt>
          <cx:pt idx="293">4.2305999999999999</cx:pt>
          <cx:pt idx="294">12.177599999999899</cx:pt>
          <cx:pt idx="295">7.4495199999999997</cx:pt>
          <cx:pt idx="296">10.139699999999999</cx:pt>
          <cx:pt idx="297">18.7636</cx:pt>
          <cx:pt idx="298">10.278600000000001</cx:pt>
          <cx:pt idx="299">10.139699999999999</cx:pt>
          <cx:pt idx="300">6.4239000000000006</cx:pt>
          <cx:pt idx="301">10.5564</cx:pt>
          <cx:pt idx="302">11.894399999999999</cx:pt>
          <cx:pt idx="303">8.7880000000000003</cx:pt>
          <cx:pt idx="304">8.3823999999999987</cx:pt>
          <cx:pt idx="305">8.3823999999999987</cx:pt>
          <cx:pt idx="306">6.6860999999999908</cx:pt>
          <cx:pt idx="307">6.2927999999999997</cx:pt>
          <cx:pt idx="308">35.737099999999998</cx:pt>
          <cx:pt idx="309">6.8171999999999997</cx:pt>
          <cx:pt idx="310">47.559899999999999</cx:pt>
          <cx:pt idx="311">47.022499999999702</cx:pt>
          <cx:pt idx="312">8.6527999999999992</cx:pt>
          <cx:pt idx="313">14.769479999999998</cx:pt>
          <cx:pt idx="314">9.4451999999999998</cx:pt>
          <cx:pt idx="315">18.794359999999998</cx:pt>
          <cx:pt idx="316">4.9998000000000005</cx:pt>
          <cx:pt idx="317">8.9232000000000014</cx:pt>
          <cx:pt idx="318">10.4175</cx:pt>
          <cx:pt idx="319">6.2927999999999997</cx:pt>
          <cx:pt idx="320">17.3794</cx:pt>
          <cx:pt idx="321">18.456</cx:pt>
          <cx:pt idx="322">11.497920000000001</cx:pt>
          <cx:pt idx="323">10.278600000000001</cx:pt>
          <cx:pt idx="324">15.182200000000002</cx:pt>
          <cx:pt idx="325">8.5175999999999998</cx:pt>
          <cx:pt idx="326">4.8715999999999999</cx:pt>
          <cx:pt idx="327">16.764200000000002</cx:pt>
          <cx:pt idx="328">10.834199999999999</cx:pt>
          <cx:pt idx="329">7.4359999999999999</cx:pt>
          <cx:pt idx="330">1.9358199999999999</cx:pt>
          <cx:pt idx="331">6.4239000000000006</cx:pt>
          <cx:pt idx="332">12.825000000000001</cx:pt>
          <cx:pt idx="333">7.9767999999999892</cx:pt>
          <cx:pt idx="334">4.6151999999999997</cx:pt>
          <cx:pt idx="335">5.2561999999999998</cx:pt>
          <cx:pt idx="336">13.5924</cx:pt>
          <cx:pt idx="337">10.5564</cx:pt>
          <cx:pt idx="338">8.9232000000000014</cx:pt>
          <cx:pt idx="339">4.4998199999999899</cx:pt>
          <cx:pt idx="340">36.811899999999895</cx:pt>
          <cx:pt idx="341">10.973099999999999</cx:pt>
          <cx:pt idx="342">7.8415999999999997</cx:pt>
          <cx:pt idx="343">7.8686400000000196</cx:pt>
          <cx:pt idx="344">3.5895999999999999</cx:pt>
          <cx:pt idx="345">17.533199999999997</cx:pt>
          <cx:pt idx="346">11.4696</cx:pt>
          <cx:pt idx="347">8.2472000000000012</cx:pt>
          <cx:pt idx="348">10.431389999999901</cx:pt>
          <cx:pt idx="349">7.8415999999999997</cx:pt>
          <cx:pt idx="350">18.6098</cx:pt>
          <cx:pt idx="351">38.961499999999901</cx:pt>
          <cx:pt idx="352">17.0718</cx:pt>
          <cx:pt idx="353">35.28031</cx:pt>
          <cx:pt idx="354">9.5840999999999994</cx:pt>
          <cx:pt idx="355">7.1655999999999995</cx:pt>
          <cx:pt idx="356">8.2472000000000012</cx:pt>
          <cx:pt idx="357">7.3008000000000006</cx:pt>
          <cx:pt idx="358">16.764200000000002</cx:pt>
          <cx:pt idx="359">9.0583999999999989</cx:pt>
          <cx:pt idx="360">15.9192</cx:pt>
          <cx:pt idx="361">6.4239000000000006</cx:pt>
          <cx:pt idx="362">7.9767999999999892</cx:pt>
          <cx:pt idx="363">2.5639999999999898</cx:pt>
          <cx:pt idx="364">34.930999999999997</cx:pt>
          <cx:pt idx="365">38.988370000000003</cx:pt>
          <cx:pt idx="366">8.1120000000000001</cx:pt>
          <cx:pt idx="367">17.687000000000001</cx:pt>
          <cx:pt idx="368">8.5175999999999998</cx:pt>
          <cx:pt idx="369">4.1023999999999994</cx:pt>
          <cx:pt idx="370">8.2472000000000012</cx:pt>
          <cx:pt idx="371">14.055119999999999</cx:pt>
          <cx:pt idx="372">1.80762</cx:pt>
          <cx:pt idx="373">5.63729999999999</cx:pt>
          <cx:pt idx="374">48.634699999999995</cx:pt>
          <cx:pt idx="375">15.6244</cx:pt>
          <cx:pt idx="376">9.722999999999999</cx:pt>
          <cx:pt idx="377">12.602399999999999</cx:pt>
          <cx:pt idx="378">5.6504099999999999</cx:pt>
          <cx:pt idx="379">8.7880000000000003</cx:pt>
          <cx:pt idx="380">19.225000000000001</cx:pt>
          <cx:pt idx="381">16.917999999999999</cx:pt>
          <cx:pt idx="382">12.460799999999999</cx:pt>
          <cx:pt idx="383">4.2305999999999999</cx:pt>
          <cx:pt idx="384">10.973099999999999</cx:pt>
          <cx:pt idx="385">19.378799999999998</cx:pt>
          <cx:pt idx="386">6.5549999999999997</cx:pt>
          <cx:pt idx="387">11.894399999999999</cx:pt>
          <cx:pt idx="388">11.894399999999999</cx:pt>
          <cx:pt idx="389">8.1120000000000001</cx:pt>
          <cx:pt idx="390">10.5564</cx:pt>
          <cx:pt idx="391">45.73274</cx:pt>
          <cx:pt idx="392">7.9767999999999892</cx:pt>
          <cx:pt idx="393">44.604199999999999</cx:pt>
          <cx:pt idx="394">2.8203999999999998</cx:pt>
          <cx:pt idx="395">9.722999999999999</cx:pt>
          <cx:pt idx="396">5.2561999999999998</cx:pt>
          <cx:pt idx="397">7.7063999999999995</cx:pt>
          <cx:pt idx="398">8.7880000000000003</cx:pt>
          <cx:pt idx="399">8.9232000000000014</cx:pt>
          <cx:pt idx="400">12.602399999999999</cx:pt>
          <cx:pt idx="401">7.1791200000000002</cx:pt>
          <cx:pt idx="402">15.476999999999999</cx:pt>
          <cx:pt idx="403">5.89949999999999</cx:pt>
          <cx:pt idx="404">36.274499999999996</cx:pt>
          <cx:pt idx="405">10.4175</cx:pt>
          <cx:pt idx="406">4.2305999999999999</cx:pt>
          <cx:pt idx="407">15.771799999999999</cx:pt>
          <cx:pt idx="408">56.426999999999708</cx:pt>
          <cx:pt idx="409">18.917400000000001</cx:pt>
          <cx:pt idx="410">10.5564</cx:pt>
          <cx:pt idx="411">6.2927999999999997</cx:pt>
          <cx:pt idx="412">17.994599999999998</cx:pt>
          <cx:pt idx="413">10.0008</cx:pt>
          <cx:pt idx="414">7.9767999999999892</cx:pt>
          <cx:pt idx="415">6.03059999999999</cx:pt>
          <cx:pt idx="416">17.871559999999999</cx:pt>
          <cx:pt idx="417">8.9232000000000014</cx:pt>
          <cx:pt idx="418">7.3008000000000006</cx:pt>
          <cx:pt idx="419">13.736999999999998</cx:pt>
          <cx:pt idx="420">10.278600000000001</cx:pt>
          <cx:pt idx="421">4.8715999999999999</cx:pt>
          <cx:pt idx="422">13.5924</cx:pt>
          <cx:pt idx="423">8.3823999999999987</cx:pt>
          <cx:pt idx="424">6.2927999999999997</cx:pt>
          <cx:pt idx="425">15.182200000000002</cx:pt>
          <cx:pt idx="426">10.973099999999999</cx:pt>
          <cx:pt idx="427">57.770499999999899</cx:pt>
          <cx:pt idx="428">6.2927999999999997</cx:pt>
          <cx:pt idx="429">15.476999999999999</cx:pt>
          <cx:pt idx="430">56.212039999999995</cx:pt>
          <cx:pt idx="431">12.319199999999899</cx:pt>
          <cx:pt idx="432">6.03059999999999</cx:pt>
          <cx:pt idx="433">4.1023999999999994</cx:pt>
          <cx:pt idx="434">11.766959999999999</cx:pt>
          <cx:pt idx="435">4.6151999999999997</cx:pt>
          <cx:pt idx="436">62.633969999999891</cx:pt>
          <cx:pt idx="437">2.1922199999999998</cx:pt>
          <cx:pt idx="438">45.947700000000005</cx:pt>
          <cx:pt idx="439">17.2256</cx:pt>
          <cx:pt idx="440">18.6098</cx:pt>
          <cx:pt idx="441">5.63729999999999</cx:pt>
          <cx:pt idx="442">6.5549999999999997</cx:pt>
          <cx:pt idx="443">5.7683999999999997</cx:pt>
          <cx:pt idx="444">9.0583999999999989</cx:pt>
          <cx:pt idx="445">58.361639999999703</cx:pt>
          <cx:pt idx="446">45.678999999999995</cx:pt>
          <cx:pt idx="447">14.74</cx:pt>
          <cx:pt idx="448">6.0437099999999999</cx:pt>
          <cx:pt idx="449">3.4613999999999998</cx:pt>
          <cx:pt idx="450">7.1655999999999995</cx:pt>
          <cx:pt idx="451">6.1616999999999997</cx:pt>
          <cx:pt idx="452">39.498899999999999</cx:pt>
          <cx:pt idx="453">50.784299999999902</cx:pt>
          <cx:pt idx="454">5.0126199999999894</cx:pt>
          <cx:pt idx="455">6.8171999999999997</cx:pt>
          <cx:pt idx="456">4.7433999999999994</cx:pt>
          <cx:pt idx="457">3.8460000000000001</cx:pt>
          <cx:pt idx="458">18.6098</cx:pt>
          <cx:pt idx="459">10.5564</cx:pt>
          <cx:pt idx="460">6.1616999999999997</cx:pt>
          <cx:pt idx="461">15.476999999999999</cx:pt>
          <cx:pt idx="462">3.34601999999999</cx:pt>
          <cx:pt idx="463">11.611199999999899</cx:pt>
          <cx:pt idx="464">8.3823999999999987</cx:pt>
          <cx:pt idx="465">5.2818400000000203</cx:pt>
          <cx:pt idx="466">5.7683999999999997</cx:pt>
          <cx:pt idx="467">5.89949999999999</cx:pt>
          <cx:pt idx="468">14.1708</cx:pt>
          <cx:pt idx="469">8.5175999999999998</cx:pt>
          <cx:pt idx="470">7.7063999999999995</cx:pt>
          <cx:pt idx="471">15.476999999999999</cx:pt>
          <cx:pt idx="472">7.4359999999999999</cx:pt>
          <cx:pt idx="473">42.185899999999997</cx:pt>
          <cx:pt idx="474">5.89949999999999</cx:pt>
          <cx:pt idx="475">19.532599999999999</cx:pt>
          <cx:pt idx="476">8.6527999999999992</cx:pt>
          <cx:pt idx="477">5.63729999999999</cx:pt>
          <cx:pt idx="478">15.50648</cx:pt>
          <cx:pt idx="479">10.278600000000001</cx:pt>
          <cx:pt idx="480">12.602399999999999</cx:pt>
          <cx:pt idx="481">9.0583999999999989</cx:pt>
          <cx:pt idx="482">4.3588000000000005</cx:pt>
          <cx:pt idx="483">14.1708</cx:pt>
          <cx:pt idx="484">15.19694</cx:pt>
          <cx:pt idx="485">5.89949999999999</cx:pt>
          <cx:pt idx="486">18.148399999999899</cx:pt>
          <cx:pt idx="487">8.9232000000000014</cx:pt>
          <cx:pt idx="488">12.177599999999899</cx:pt>
          <cx:pt idx="489">14.0261999999999</cx:pt>
          <cx:pt idx="490">34.662300000000002</cx:pt>
          <cx:pt idx="491">13.881599999999999</cx:pt>
          <cx:pt idx="492">12.460799999999999</cx:pt>
          <cx:pt idx="493">12.98175</cx:pt>
          <cx:pt idx="494">4.9998000000000005</cx:pt>
          <cx:pt idx="495">6.6860999999999908</cx:pt>
          <cx:pt idx="496">36.274499999999996</cx:pt>
          <cx:pt idx="497">10.834199999999999</cx:pt>
          <cx:pt idx="498">34.662300000000002</cx:pt>
          <cx:pt idx="499">19.225000000000001</cx:pt>
          <cx:pt idx="500">15.182200000000002</cx:pt>
          <cx:pt idx="501">15.491739999999901</cx:pt>
          <cx:pt idx="502">12.177599999999899</cx:pt>
          <cx:pt idx="503">5.1279999999999903</cx:pt>
          <cx:pt idx="504">12.967500000000001</cx:pt>
          <cx:pt idx="505">7.8415999999999997</cx:pt>
          <cx:pt idx="506">10.834199999999999</cx:pt>
          <cx:pt idx="507">19.686400000000003</cx:pt>
          <cx:pt idx="508">6.4239000000000006</cx:pt>
          <cx:pt idx="509">17.563960000000002</cx:pt>
          <cx:pt idx="510">9.722999999999999</cx:pt>
          <cx:pt idx="511">17.533199999999997</cx:pt>
          <cx:pt idx="512">5.7683999999999997</cx:pt>
          <cx:pt idx="513">7.7063999999999995</cx:pt>
          <cx:pt idx="514">17.871559999999999</cx:pt>
          <cx:pt idx="515">15.786539999999999</cx:pt>
          <cx:pt idx="516">5.1279999999999903</cx:pt>
          <cx:pt idx="517">6.2927999999999997</cx:pt>
          <cx:pt idx="518">13.736999999999998</cx:pt>
          <cx:pt idx="519">14.74</cx:pt>
          <cx:pt idx="520">6.03059999999999</cx:pt>
          <cx:pt idx="521">7.4359999999999999</cx:pt>
          <cx:pt idx="522">50.246899999999904</cx:pt>
          <cx:pt idx="523">10.973099999999999</cx:pt>
          <cx:pt idx="524">14.8873999999999</cx:pt>
          <cx:pt idx="525">6.03059999999999</cx:pt>
          <cx:pt idx="526">18.148399999999899</cx:pt>
          <cx:pt idx="527">5.89949999999999</cx:pt>
          <cx:pt idx="528">53.740000000000002</cx:pt>
          <cx:pt idx="529">16.764200000000002</cx:pt>
          <cx:pt idx="530">8.7880000000000003</cx:pt>
          <cx:pt idx="531">13.109999999999999</cx:pt>
          <cx:pt idx="532">7.3008000000000006</cx:pt>
          <cx:pt idx="533">14.0261999999999</cx:pt>
          <cx:pt idx="534">14.0261999999999</cx:pt>
          <cx:pt idx="535">17.2256</cx:pt>
          <cx:pt idx="536">2.5768200000000001</cx:pt>
          <cx:pt idx="537">9.4451999999999998</cx:pt>
          <cx:pt idx="538">9.722999999999999</cx:pt>
          <cx:pt idx="539">5.5061999999999998</cx:pt>
          <cx:pt idx="540">4.8715999999999999</cx:pt>
          <cx:pt idx="541">9.8619000000000003</cx:pt>
          <cx:pt idx="542">17.0718</cx:pt>
          <cx:pt idx="543">14.1708</cx:pt>
          <cx:pt idx="544">15.034799999999901</cx:pt>
          <cx:pt idx="545">8.2472000000000012</cx:pt>
          <cx:pt idx="546">6.03059999999999</cx:pt>
          <cx:pt idx="547">13.5924</cx:pt>
          <cx:pt idx="548">14.3154</cx:pt>
          <cx:pt idx="549">4.7433999999999994</cx:pt>
          <cx:pt idx="550">35.1997</cx:pt>
          <cx:pt idx="551">3.8588200000000001</cx:pt>
          <cx:pt idx="552">14.0261999999999</cx:pt>
          <cx:pt idx="553">14.8873999999999</cx:pt>
          <cx:pt idx="554">53.766869999999997</cx:pt>
          <cx:pt idx="555">7.4359999999999999</cx:pt>
          <cx:pt idx="556">10.834199999999999</cx:pt>
          <cx:pt idx="557">14.055119999999999</cx:pt>
          <cx:pt idx="558">10.6952999999999</cx:pt>
          <cx:pt idx="559">6.8171999999999997</cx:pt>
          <cx:pt idx="560">12.967500000000001</cx:pt>
          <cx:pt idx="561">10.973099999999999</cx:pt>
          <cx:pt idx="562">19.686400000000003</cx:pt>
          <cx:pt idx="563">52.396500000000003</cx:pt>
          <cx:pt idx="564">10.834199999999999</cx:pt>
          <cx:pt idx="565">6.6860999999999908</cx:pt>
          <cx:pt idx="566">11.894399999999999</cx:pt>
          <cx:pt idx="567">50.246899999999904</cx:pt>
          <cx:pt idx="568">5.7683999999999997</cx:pt>
          <cx:pt idx="569">8.2472000000000012</cx:pt>
          <cx:pt idx="570">14.0261999999999</cx:pt>
          <cx:pt idx="571">6.8171999999999997</cx:pt>
          <cx:pt idx="572">37.3492999999999</cx:pt>
          <cx:pt idx="573">9.7368899999999989</cx:pt>
          <cx:pt idx="574">41.379800000000003</cx:pt>
          <cx:pt idx="575">6.4239000000000006</cx:pt>
          <cx:pt idx="576">8.3823999999999987</cx:pt>
          <cx:pt idx="577">7.7199199999999992</cx:pt>
          <cx:pt idx="578">8.6527999999999992</cx:pt>
          <cx:pt idx="579">18.456</cx:pt>
          <cx:pt idx="580">7.9767999999999892</cx:pt>
          <cx:pt idx="581">5.89949999999999</cx:pt>
          <cx:pt idx="582">5.89949999999999</cx:pt>
          <cx:pt idx="583">6.6860999999999908</cx:pt>
          <cx:pt idx="584">3.5895999999999999</cx:pt>
          <cx:pt idx="585">6.2927999999999997</cx:pt>
          <cx:pt idx="586">15.6244</cx:pt>
          <cx:pt idx="587">4.8715999999999999</cx:pt>
          <cx:pt idx="588">15.329599999999999</cx:pt>
          <cx:pt idx="589">11.894399999999999</cx:pt>
          <cx:pt idx="590">4.8715999999999999</cx:pt>
          <cx:pt idx="591">7.9767999999999892</cx:pt>
          <cx:pt idx="592">18.456</cx:pt>
          <cx:pt idx="593">6.03059999999999</cx:pt>
          <cx:pt idx="594">9.4451999999999998</cx:pt>
          <cx:pt idx="595">11.328000000000001</cx:pt>
          <cx:pt idx="596">9.5840999999999994</cx:pt>
          <cx:pt idx="597">15.6244</cx:pt>
          <cx:pt idx="598">13.447799999999999</cx:pt>
          <cx:pt idx="599">12.8535</cx:pt>
          <cx:pt idx="600">15.04954</cx:pt>
          <cx:pt idx="601">16.764200000000002</cx:pt>
          <cx:pt idx="602">7.4359999999999999</cx:pt>
          <cx:pt idx="603">8.5175999999999998</cx:pt>
          <cx:pt idx="604">8.9232000000000014</cx:pt>
          <cx:pt idx="605">6.5549999999999997</cx:pt>
          <cx:pt idx="606">13.5924</cx:pt>
          <cx:pt idx="607">12.319199999999899</cx:pt>
          <cx:pt idx="608">59.973840000000003</cx:pt>
          <cx:pt idx="609">3.7178000000000004</cx:pt>
          <cx:pt idx="610">36.274499999999996</cx:pt>
          <cx:pt idx="611">5.5061999999999998</cx:pt>
          <cx:pt idx="612">36.543199999999999</cx:pt>
          <cx:pt idx="613">45.947700000000005</cx:pt>
          <cx:pt idx="614">17.687000000000001</cx:pt>
          <cx:pt idx="615">9.5840999999999994</cx:pt>
          <cx:pt idx="616">38.424100000000003</cx:pt>
          <cx:pt idx="617">5.7815099999999902</cx:pt>
          <cx:pt idx="618">4.6151999999999997</cx:pt>
          <cx:pt idx="619">10.278600000000001</cx:pt>
          <cx:pt idx="620">6.5549999999999997</cx:pt>
          <cx:pt idx="621">10.973099999999999</cx:pt>
          <cx:pt idx="622">10.6952999999999</cx:pt>
          <cx:pt idx="623">12.8535</cx:pt>
          <cx:pt idx="624">11.497920000000001</cx:pt>
          <cx:pt idx="625">15.182200000000002</cx:pt>
          <cx:pt idx="626">55.405939999999696</cx:pt>
          <cx:pt idx="627">6.4239000000000006</cx:pt>
          <cx:pt idx="628">11.611199999999899</cx:pt>
          <cx:pt idx="629">6.5549999999999997</cx:pt>
          <cx:pt idx="630">8.1120000000000001</cx:pt>
          <cx:pt idx="631">5.5061999999999998</cx:pt>
          <cx:pt idx="632">48.903400000000005</cx:pt>
          <cx:pt idx="633">4.9998000000000005</cx:pt>
          <cx:pt idx="634">10.5564</cx:pt>
          <cx:pt idx="635">4.4870000000000001</cx:pt>
          <cx:pt idx="636">10.0008</cx:pt>
          <cx:pt idx="637">3.4613999999999998</cx:pt>
          <cx:pt idx="638">6.2927999999999997</cx:pt>
          <cx:pt idx="639">44.066799999999901</cx:pt>
          <cx:pt idx="640">6.03059999999999</cx:pt>
          <cx:pt idx="641">12.8535</cx:pt>
          <cx:pt idx="642">12.98175</cx:pt>
          <cx:pt idx="643">7.5712000000000002</cx:pt>
          <cx:pt idx="644">9.4451999999999998</cx:pt>
          <cx:pt idx="645">12.825000000000001</cx:pt>
          <cx:pt idx="646">10.4175</cx:pt>
          <cx:pt idx="647">9.5840999999999994</cx:pt>
          <cx:pt idx="648">10.4175</cx:pt>
          <cx:pt idx="649">17.687000000000001</cx:pt>
          <cx:pt idx="650">5.7683999999999997</cx:pt>
          <cx:pt idx="651">12.036</cx:pt>
          <cx:pt idx="652">14.0261999999999</cx:pt>
          <cx:pt idx="653">9.8619000000000003</cx:pt>
          <cx:pt idx="654">5.7683999999999997</cx:pt>
          <cx:pt idx="655">5.5324200000000197</cx:pt>
          <cx:pt idx="656">6.4239000000000006</cx:pt>
          <cx:pt idx="657">14.3154</cx:pt>
          <cx:pt idx="658">37.080599999999905</cx:pt>
          <cx:pt idx="659">11.48376</cx:pt>
          <cx:pt idx="660">13.881599999999999</cx:pt>
          <cx:pt idx="661">14.8873999999999</cx:pt>
          <cx:pt idx="662">12.995999999999999</cx:pt>
          <cx:pt idx="663">9.8619000000000003</cx:pt>
          <cx:pt idx="664">12.319199999999899</cx:pt>
          <cx:pt idx="665">10.45917</cx:pt>
          <cx:pt idx="666">42.239640000000001</cx:pt>
          <cx:pt idx="667">19.086580000000001</cx:pt>
          <cx:pt idx="668">2.6922000000000001</cx:pt>
          <cx:pt idx="669">11.611199999999899</cx:pt>
          <cx:pt idx="670">15.476999999999999</cx:pt>
          <cx:pt idx="671">3.8460000000000001</cx:pt>
          <cx:pt idx="672">11.4696</cx:pt>
          <cx:pt idx="673">11.894399999999999</cx:pt>
          <cx:pt idx="674">18.6098</cx:pt>
          <cx:pt idx="675">12.05016</cx:pt>
          <cx:pt idx="676">10.139699999999999</cx:pt>
          <cx:pt idx="677">15.476999999999999</cx:pt>
          <cx:pt idx="678">11.752799999999999</cx:pt>
          <cx:pt idx="679">11.4696</cx:pt>
          <cx:pt idx="680">4.3588000000000005</cx:pt>
          <cx:pt idx="681">8.9232000000000014</cx:pt>
          <cx:pt idx="682">6.0437099999999999</cx:pt>
          <cx:pt idx="683">10.278600000000001</cx:pt>
          <cx:pt idx="684">11.328000000000001</cx:pt>
          <cx:pt idx="685">34.930999999999997</cx:pt>
          <cx:pt idx="686">12.177599999999899</cx:pt>
          <cx:pt idx="687">10.834199999999999</cx:pt>
          <cx:pt idx="688">19.378799999999998</cx:pt>
          <cx:pt idx="689">6.6992099999999999</cx:pt>
          <cx:pt idx="690">11.894399999999999</cx:pt>
          <cx:pt idx="691">9.4451999999999998</cx:pt>
          <cx:pt idx="692">4.9998000000000005</cx:pt>
          <cx:pt idx="693">19.686400000000003</cx:pt>
          <cx:pt idx="694">7.5712000000000002</cx:pt>
          <cx:pt idx="695">9.722999999999999</cx:pt>
          <cx:pt idx="696">8.6527999999999992</cx:pt>
          <cx:pt idx="697">12.460799999999999</cx:pt>
          <cx:pt idx="698">14.055119999999999</cx:pt>
          <cx:pt idx="699">18.917400000000001</cx:pt>
          <cx:pt idx="700">5.63729999999999</cx:pt>
          <cx:pt idx="701">40.600570000000005</cx:pt>
          <cx:pt idx="702">7.1655999999999995</cx:pt>
          <cx:pt idx="703">13.109999999999999</cx:pt>
          <cx:pt idx="704">4.6151999999999997</cx:pt>
          <cx:pt idx="705">8.5175999999999998</cx:pt>
          <cx:pt idx="706">14.3154</cx:pt>
          <cx:pt idx="707">7.4495199999999997</cx:pt>
          <cx:pt idx="708">13.447799999999999</cx:pt>
          <cx:pt idx="709">6.8171999999999997</cx:pt>
          <cx:pt idx="710">8.6527999999999992</cx:pt>
          <cx:pt idx="711">18.456</cx:pt>
          <cx:pt idx="712">10.278600000000001</cx:pt>
          <cx:pt idx="713">2.9485999999999999</cx:pt>
          <cx:pt idx="714">8.5175999999999998</cx:pt>
          <cx:pt idx="715">10.72308</cx:pt>
          <cx:pt idx="716">3.4742199999999896</cx:pt>
          <cx:pt idx="717">4.7433999999999994</cx:pt>
          <cx:pt idx="718">8.6527999999999992</cx:pt>
          <cx:pt idx="719">4.7433999999999994</cx:pt>
          <cx:pt idx="720">6.8171999999999997</cx:pt>
          <cx:pt idx="721">6.4239000000000006</cx:pt>
          <cx:pt idx="722">12.460799999999999</cx:pt>
          <cx:pt idx="723">9.5840999999999994</cx:pt>
          <cx:pt idx="724">12.460799999999999</cx:pt>
          <cx:pt idx="725">48.634699999999995</cx:pt>
          <cx:pt idx="726">56.426999999999907</cx:pt>
          <cx:pt idx="727">10.0008</cx:pt>
          <cx:pt idx="728">16.764200000000002</cx:pt>
          <cx:pt idx="729">7.3008000000000006</cx:pt>
          <cx:pt idx="730">3.9741999999999997</cx:pt>
          <cx:pt idx="731">15.771799999999999</cx:pt>
          <cx:pt idx="732">8.5175999999999998</cx:pt>
          <cx:pt idx="733">18.917400000000001</cx:pt>
          <cx:pt idx="734">8.1120000000000001</cx:pt>
          <cx:pt idx="735">10.834199999999999</cx:pt>
          <cx:pt idx="736">14.0261999999999</cx:pt>
          <cx:pt idx="737">10.153589999999999</cx:pt>
          <cx:pt idx="738">3.9741999999999997</cx:pt>
          <cx:pt idx="739">7.9767999999999892</cx:pt>
          <cx:pt idx="740">6.6860999999999908</cx:pt>
          <cx:pt idx="741">5.5061999999999998</cx:pt>
          <cx:pt idx="742">7.3008000000000006</cx:pt>
          <cx:pt idx="743">6.03059999999999</cx:pt>
          <cx:pt idx="744">19.378799999999998</cx:pt>
          <cx:pt idx="745">36.838769999999997</cx:pt>
          <cx:pt idx="746">10.0008</cx:pt>
          <cx:pt idx="747">8.1120000000000001</cx:pt>
          <cx:pt idx="748">10.5564</cx:pt>
          <cx:pt idx="749">11.894399999999999</cx:pt>
          <cx:pt idx="750">47.586769999999902</cx:pt>
          <cx:pt idx="751">11.894399999999999</cx:pt>
          <cx:pt idx="752">7.9767999999999892</cx:pt>
          <cx:pt idx="753">19.240380000000002</cx:pt>
          <cx:pt idx="754">7.9767999999999892</cx:pt>
          <cx:pt idx="755">2.5639999999999898</cx:pt>
          <cx:pt idx="756">11.752799999999999</cx:pt>
          <cx:pt idx="757">8.3959200000000003</cx:pt>
          <cx:pt idx="758">9.8619000000000003</cx:pt>
          <cx:pt idx="759">11.328000000000001</cx:pt>
          <cx:pt idx="760">18.7636</cx:pt>
          <cx:pt idx="761">2.8203999999999998</cx:pt>
          <cx:pt idx="762">4.8715999999999999</cx:pt>
          <cx:pt idx="763">2.0640200000000002</cx:pt>
          <cx:pt idx="764">17.994599999999998</cx:pt>
          <cx:pt idx="765">9.7507800000000202</cx:pt>
          <cx:pt idx="766">14.769479999999998</cx:pt>
          <cx:pt idx="767">6.03059999999999</cx:pt>
          <cx:pt idx="768">37.080599999999905</cx:pt>
          <cx:pt idx="769">6.6860999999999908</cx:pt>
          <cx:pt idx="770">34.662300000000002</cx:pt>
          <cx:pt idx="771">5.5061999999999998</cx:pt>
          <cx:pt idx="772">5.89949999999999</cx:pt>
          <cx:pt idx="773">10.973099999999999</cx:pt>
          <cx:pt idx="774">12.036</cx:pt>
          <cx:pt idx="775">4.2305999999999999</cx:pt>
          <cx:pt idx="776">45.4102999999999</cx:pt>
          <cx:pt idx="777">6.4239000000000006</cx:pt>
          <cx:pt idx="778">17.533199999999997</cx:pt>
          <cx:pt idx="779">11.328000000000001</cx:pt>
          <cx:pt idx="780">35.468400000000003</cx:pt>
          <cx:pt idx="781">7.4359999999999999</cx:pt>
          <cx:pt idx="782">12.967500000000001</cx:pt>
          <cx:pt idx="783">5.6635200000000196</cx:pt>
          <cx:pt idx="784">8.0038400000000198</cx:pt>
          <cx:pt idx="785">10.4175</cx:pt>
          <cx:pt idx="786">47.022500000000001</cx:pt>
          <cx:pt idx="787">10.0008</cx:pt>
          <cx:pt idx="788">6.03059999999999</cx:pt>
          <cx:pt idx="789">7.7334400000000203</cx:pt>
          <cx:pt idx="790">17.840799999999902</cx:pt>
          <cx:pt idx="791">8.5175999999999998</cx:pt>
          <cx:pt idx="792">10.834199999999999</cx:pt>
          <cx:pt idx="793">10.4175</cx:pt>
          <cx:pt idx="794">7.9767999999999892</cx:pt>
          <cx:pt idx="795">8.9232000000000014</cx:pt>
          <cx:pt idx="796">1.80762</cx:pt>
          <cx:pt idx="797">15.771799999999999</cx:pt>
          <cx:pt idx="798">10.6952999999999</cx:pt>
          <cx:pt idx="799">38.424100000000003</cx:pt>
          <cx:pt idx="800">14.3154</cx:pt>
          <cx:pt idx="801">5.7683999999999997</cx:pt>
          <cx:pt idx="802">6.2927999999999997</cx:pt>
          <cx:pt idx="803">6.03059999999999</cx:pt>
          <cx:pt idx="804">6.03059999999999</cx:pt>
          <cx:pt idx="805">8.6527999999999992</cx:pt>
          <cx:pt idx="806">5.7683999999999997</cx:pt>
          <cx:pt idx="807">35.1997</cx:pt>
          <cx:pt idx="808">12.460799999999999</cx:pt>
          <cx:pt idx="809">1.80762</cx:pt>
          <cx:pt idx="810">65.616540000000001</cx:pt>
          <cx:pt idx="811">5.89949999999999</cx:pt>
          <cx:pt idx="812">5.89949999999999</cx:pt>
          <cx:pt idx="813">8.9232000000000014</cx:pt>
          <cx:pt idx="814">10.278600000000001</cx:pt>
          <cx:pt idx="815">10.278600000000001</cx:pt>
          <cx:pt idx="816">16.93338</cx:pt>
          <cx:pt idx="817">14.3154</cx:pt>
          <cx:pt idx="818">14.1708</cx:pt>
          <cx:pt idx="819">5.89949999999999</cx:pt>
          <cx:pt idx="820">53.766869999999997</cx:pt>
          <cx:pt idx="821">11.894399999999999</cx:pt>
          <cx:pt idx="822">13.447799999999999</cx:pt>
          <cx:pt idx="823">17.2256</cx:pt>
          <cx:pt idx="824">3.5895999999999999</cx:pt>
          <cx:pt idx="825">7.4359999999999999</cx:pt>
          <cx:pt idx="826">4.7433999999999994</cx:pt>
          <cx:pt idx="827">11.611199999999899</cx:pt>
          <cx:pt idx="828">10.834199999999999</cx:pt>
          <cx:pt idx="829">11.328000000000001</cx:pt>
          <cx:pt idx="830">47.291200000000003</cx:pt>
          <cx:pt idx="831">2.8203999999999998</cx:pt>
          <cx:pt idx="832">19.378799999999998</cx:pt>
          <cx:pt idx="833">13.447799999999999</cx:pt>
          <cx:pt idx="834">17.394779999999898</cx:pt>
          <cx:pt idx="835">14.74</cx:pt>
          <cx:pt idx="836">7.4359999999999999</cx:pt>
          <cx:pt idx="837">8.7880000000000003</cx:pt>
          <cx:pt idx="838">13.31766</cx:pt>
          <cx:pt idx="839">6.03059999999999</cx:pt>
          <cx:pt idx="840">12.602399999999999</cx:pt>
          <cx:pt idx="841">2.6922000000000001</cx:pt>
          <cx:pt idx="842">10.7091899999999</cx:pt>
          <cx:pt idx="843">10.848089999999901</cx:pt>
          <cx:pt idx="844">5.7683999999999997</cx:pt>
          <cx:pt idx="845">7.4359999999999999</cx:pt>
          <cx:pt idx="846">9.722999999999999</cx:pt>
          <cx:pt idx="847">4.4870000000000001</cx:pt>
          <cx:pt idx="848">5.5061999999999998</cx:pt>
          <cx:pt idx="849">10.0008</cx:pt>
          <cx:pt idx="850">6.5549999999999997</cx:pt>
          <cx:pt idx="851">5.89949999999999</cx:pt>
          <cx:pt idx="852">12.967500000000001</cx:pt>
          <cx:pt idx="853">15.182200000000002</cx:pt>
          <cx:pt idx="854">39.230199999999897</cx:pt>
          <cx:pt idx="855">1.80762</cx:pt>
          <cx:pt idx="856">38.961499999999901</cx:pt>
          <cx:pt idx="857">7.3008000000000006</cx:pt>
          <cx:pt idx="858">19.409559999999999</cx:pt>
          <cx:pt idx="859">18.009979999999899</cx:pt>
          <cx:pt idx="860">15.04954</cx:pt>
          <cx:pt idx="861">5.7683999999999997</cx:pt>
          <cx:pt idx="862">13.5924</cx:pt>
          <cx:pt idx="863">10.5564</cx:pt>
          <cx:pt idx="864">10.4175</cx:pt>
          <cx:pt idx="865">6.8171999999999997</cx:pt>
          <cx:pt idx="866">45.141599999999997</cx:pt>
          <cx:pt idx="867">10.5564</cx:pt>
          <cx:pt idx="868">11.328000000000001</cx:pt>
          <cx:pt idx="869">8.3823999999999987</cx:pt>
          <cx:pt idx="870">7.8686400000000196</cx:pt>
          <cx:pt idx="871">12.825000000000001</cx:pt>
          <cx:pt idx="872">9.722999999999999</cx:pt>
          <cx:pt idx="873">11.625360000000001</cx:pt>
          <cx:pt idx="874">9.4451999999999998</cx:pt>
          <cx:pt idx="875">14.74</cx:pt>
          <cx:pt idx="876">39.498899999999999</cx:pt>
          <cx:pt idx="877">10.5564</cx:pt>
          <cx:pt idx="878">38.988370000000003</cx:pt>
          <cx:pt idx="879">8.7880000000000003</cx:pt>
          <cx:pt idx="880">6.2927999999999997</cx:pt>
          <cx:pt idx="881">3.7306199999999996</cx:pt>
          <cx:pt idx="882">6.5549999999999997</cx:pt>
          <cx:pt idx="883">5.7683999999999997</cx:pt>
          <cx:pt idx="884">8.1120000000000001</cx:pt>
          <cx:pt idx="885">13.5924</cx:pt>
          <cx:pt idx="886">12.711</cx:pt>
          <cx:pt idx="887">4.8715999999999999</cx:pt>
          <cx:pt idx="888">35.468400000000003</cx:pt>
          <cx:pt idx="889">11.766959999999999</cx:pt>
          <cx:pt idx="890">11.328000000000001</cx:pt>
          <cx:pt idx="891">8.1120000000000001</cx:pt>
          <cx:pt idx="892">7.7063999999999995</cx:pt>
          <cx:pt idx="893">10.4175</cx:pt>
          <cx:pt idx="894">10.6952999999999</cx:pt>
          <cx:pt idx="895">7.9767999999999892</cx:pt>
          <cx:pt idx="896">7.3008000000000006</cx:pt>
          <cx:pt idx="897">7.3278400000000206</cx:pt>
          <cx:pt idx="898">4.4870000000000001</cx:pt>
          <cx:pt idx="899">15.771799999999999</cx:pt>
          <cx:pt idx="900">6.6860999999999908</cx:pt>
          <cx:pt idx="901">9.4451999999999998</cx:pt>
          <cx:pt idx="902">14.74</cx:pt>
          <cx:pt idx="903">12.036</cx:pt>
          <cx:pt idx="904">12.177599999999899</cx:pt>
          <cx:pt idx="905">4.4870000000000001</cx:pt>
          <cx:pt idx="906">10.0008</cx:pt>
          <cx:pt idx="907">15.06428</cx:pt>
          <cx:pt idx="908">6.8171999999999997</cx:pt>
          <cx:pt idx="909">10.4175</cx:pt>
          <cx:pt idx="910">7.8415999999999997</cx:pt>
          <cx:pt idx="911">9.3201899999999895</cx:pt>
          <cx:pt idx="912">3.9741999999999997</cx:pt>
          <cx:pt idx="913">11.4696</cx:pt>
          <cx:pt idx="914">56.964399999999905</cx:pt>
          <cx:pt idx="915">3.8460000000000001</cx:pt>
          <cx:pt idx="916">6.4239000000000006</cx:pt>
          <cx:pt idx="917">12.967500000000001</cx:pt>
          <cx:pt idx="918">10.0008</cx:pt>
          <cx:pt idx="919">5.89949999999999</cx:pt>
          <cx:pt idx="920">8.7880000000000003</cx:pt>
          <cx:pt idx="921">4.8715999999999999</cx:pt>
          <cx:pt idx="922">10.4175</cx:pt>
          <cx:pt idx="923">9.4451999999999998</cx:pt>
          <cx:pt idx="924">5.89949999999999</cx:pt>
          <cx:pt idx="925">12.177599999999899</cx:pt>
          <cx:pt idx="926">3.4613999999999998</cx:pt>
          <cx:pt idx="927">37.080599999999905</cx:pt>
          <cx:pt idx="928">13.5924</cx:pt>
          <cx:pt idx="929">14.0261999999999</cx:pt>
          <cx:pt idx="930">4.4870000000000001</cx:pt>
          <cx:pt idx="931">72.871439999999993</cx:pt>
          <cx:pt idx="932">6.03059999999999</cx:pt>
          <cx:pt idx="933">4.7562199999999999</cx:pt>
          <cx:pt idx="934">10.0008</cx:pt>
          <cx:pt idx="935">10.181369999999999</cx:pt>
          <cx:pt idx="936">6.4239000000000006</cx:pt>
          <cx:pt idx="937">10.4175</cx:pt>
          <cx:pt idx="938">11.4696</cx:pt>
          <cx:pt idx="939">2.4358</cx:pt>
          <cx:pt idx="940">12.05016</cx:pt>
          <cx:pt idx="941">12.05016</cx:pt>
          <cx:pt idx="942">12.319199999999899</cx:pt>
          <cx:pt idx="943">5.89949999999999</cx:pt>
          <cx:pt idx="944">10.6952999999999</cx:pt>
          <cx:pt idx="945">16.764200000000002</cx:pt>
          <cx:pt idx="946">7.7063999999999995</cx:pt>
          <cx:pt idx="947">3.8460000000000001</cx:pt>
          <cx:pt idx="948">36.811899999999895</cx:pt>
          <cx:pt idx="949">4.8715999999999999</cx:pt>
          <cx:pt idx="950">6.1616999999999997</cx:pt>
          <cx:pt idx="951">12.460799999999999</cx:pt>
          <cx:pt idx="952">8.5175999999999998</cx:pt>
          <cx:pt idx="953">8.6527999999999992</cx:pt>
          <cx:pt idx="954">7.4359999999999999</cx:pt>
          <cx:pt idx="955">19.255759999999999</cx:pt>
          <cx:pt idx="956">5.7683999999999997</cx:pt>
          <cx:pt idx="957">40.036300000000004</cx:pt>
          <cx:pt idx="958">36.543199999999999</cx:pt>
          <cx:pt idx="959">3.9741999999999997</cx:pt>
          <cx:pt idx="960">5.5061999999999998</cx:pt>
          <cx:pt idx="961">5.7683999999999997</cx:pt>
          <cx:pt idx="962">15.329599999999999</cx:pt>
          <cx:pt idx="963">63.950600000000001</cx:pt>
          <cx:pt idx="964">5.7815099999999902</cx:pt>
          <cx:pt idx="965">8.6527999999999992</cx:pt>
          <cx:pt idx="966">4.1023999999999994</cx:pt>
          <cx:pt idx="967">12.177599999999899</cx:pt>
          <cx:pt idx="968">13.736999999999998</cx:pt>
          <cx:pt idx="969">6.4239000000000006</cx:pt>
          <cx:pt idx="970">4.9998000000000005</cx:pt>
          <cx:pt idx="971">4.8715999999999999</cx:pt>
          <cx:pt idx="972">13.109999999999999</cx:pt>
          <cx:pt idx="973">15.476999999999999</cx:pt>
          <cx:pt idx="974">12.460799999999999</cx:pt>
          <cx:pt idx="975">3.9870200000000002</cx:pt>
          <cx:pt idx="976">19.378799999999998</cx:pt>
          <cx:pt idx="977">6.5549999999999997</cx:pt>
          <cx:pt idx="978">8.9232000000000014</cx:pt>
          <cx:pt idx="979">7.8415999999999997</cx:pt>
          <cx:pt idx="980">7.8415999999999997</cx:pt>
          <cx:pt idx="981">17.0718</cx:pt>
          <cx:pt idx="982">8.1120000000000001</cx:pt>
          <cx:pt idx="983">10.973099999999999</cx:pt>
          <cx:pt idx="984">17.687000000000001</cx:pt>
          <cx:pt idx="985">5.89949999999999</cx:pt>
          <cx:pt idx="986">6.5549999999999997</cx:pt>
          <cx:pt idx="987">11.611199999999899</cx:pt>
          <cx:pt idx="988">8.7880000000000003</cx:pt>
          <cx:pt idx="989">6.5549999999999997</cx:pt>
          <cx:pt idx="990">6.1616999999999997</cx:pt>
          <cx:pt idx="991">12.98175</cx:pt>
          <cx:pt idx="992">10.431389999999901</cx:pt>
          <cx:pt idx="993">12.036</cx:pt>
          <cx:pt idx="994">8.1120000000000001</cx:pt>
          <cx:pt idx="995">8.1120000000000001</cx:pt>
          <cx:pt idx="996">10.6952999999999</cx:pt>
          <cx:pt idx="997">14.8873999999999</cx:pt>
          <cx:pt idx="998">2.8332199999999998</cx:pt>
          <cx:pt idx="999">7.1655999999999995</cx:pt>
          <cx:pt idx="1000">6.4239000000000006</cx:pt>
          <cx:pt idx="1001">4.3716200000000001</cx:pt>
          <cx:pt idx="1002">6.1879200000000196</cx:pt>
          <cx:pt idx="1003">12.319199999999899</cx:pt>
          <cx:pt idx="1004">8.3823999999999987</cx:pt>
          <cx:pt idx="1005">8.6527999999999992</cx:pt>
          <cx:pt idx="1006">10.4175</cx:pt>
          <cx:pt idx="1007">8.2472000000000012</cx:pt>
          <cx:pt idx="1008">10.973099999999999</cx:pt>
          <cx:pt idx="1009">17.994599999999998</cx:pt>
          <cx:pt idx="1010">10.278600000000001</cx:pt>
          <cx:pt idx="1011">7.8415999999999997</cx:pt>
          <cx:pt idx="1012">7.4359999999999999</cx:pt>
          <cx:pt idx="1013">8.67984000000002</cx:pt>
          <cx:pt idx="1014">17.994599999999998</cx:pt>
          <cx:pt idx="1015">4.9998000000000005</cx:pt>
          <cx:pt idx="1016">8.1120000000000001</cx:pt>
          <cx:pt idx="1017">17.687000000000001</cx:pt>
          <cx:pt idx="1018">10.5564</cx:pt>
          <cx:pt idx="1019">55.352199999999698</cx:pt>
          <cx:pt idx="1020">10.139699999999999</cx:pt>
          <cx:pt idx="1021">5.9126099999999893</cx:pt>
          <cx:pt idx="1022">8.1120000000000001</cx:pt>
          <cx:pt idx="1023">11.4696</cx:pt>
          <cx:pt idx="1024">10.973099999999999</cx:pt>
          <cx:pt idx="1025">5.5061999999999998</cx:pt>
          <cx:pt idx="1026">12.825000000000001</cx:pt>
          <cx:pt idx="1027">10.0008</cx:pt>
          <cx:pt idx="1028">44.335500000000003</cx:pt>
          <cx:pt idx="1029">11.328000000000001</cx:pt>
          <cx:pt idx="1030">2.5639999999999898</cx:pt>
          <cx:pt idx="1031">14.1708</cx:pt>
          <cx:pt idx="1032">16.917999999999999</cx:pt>
          <cx:pt idx="1033">8.1120000000000001</cx:pt>
          <cx:pt idx="1034">13.896059999999999</cx:pt>
          <cx:pt idx="1035">7.3008000000000006</cx:pt>
          <cx:pt idx="1036">8.2742400000000202</cx:pt>
          <cx:pt idx="1037">6.5549999999999997</cx:pt>
          <cx:pt idx="1038">10.973099999999999</cx:pt>
          <cx:pt idx="1039">10.4175</cx:pt>
          <cx:pt idx="1040">18.948160000000001</cx:pt>
          <cx:pt idx="1041">10.44528</cx:pt>
          <cx:pt idx="1042">3.9741999999999997</cx:pt>
          <cx:pt idx="1043">37.3492999999999</cx:pt>
          <cx:pt idx="1044">9.722999999999999</cx:pt>
          <cx:pt idx="1045">11.611199999999899</cx:pt>
          <cx:pt idx="1046">15.771799999999999</cx:pt>
          <cx:pt idx="1047">6.1616999999999997</cx:pt>
          <cx:pt idx="1048">8.6527999999999992</cx:pt>
          <cx:pt idx="1049">2.5639999999999898</cx:pt>
          <cx:pt idx="1050">5.7683999999999997</cx:pt>
          <cx:pt idx="1051">18.7636</cx:pt>
          <cx:pt idx="1052">12.036</cx:pt>
          <cx:pt idx="1053">14.1708</cx:pt>
          <cx:pt idx="1054">17.994599999999998</cx:pt>
          <cx:pt idx="1055">10.5564</cx:pt>
          <cx:pt idx="1056">9.0583999999999989</cx:pt>
          <cx:pt idx="1057">8.1120000000000001</cx:pt>
          <cx:pt idx="1058">35.468400000000003</cx:pt>
          <cx:pt idx="1059">11.752799999999999</cx:pt>
          <cx:pt idx="1060">3.9741999999999997</cx:pt>
          <cx:pt idx="1061">7.3143200000000004</cx:pt>
          <cx:pt idx="1062">13.606860000000001</cx:pt>
          <cx:pt idx="1063">5.1279999999999903</cx:pt>
          <cx:pt idx="1064">10.6952999999999</cx:pt>
          <cx:pt idx="1065">15.771799999999999</cx:pt>
          <cx:pt idx="1066">7.7063999999999995</cx:pt>
          <cx:pt idx="1067">13.447799999999999</cx:pt>
          <cx:pt idx="1068">8.6527999999999992</cx:pt>
          <cx:pt idx="1069">7.5712000000000002</cx:pt>
          <cx:pt idx="1070">10.0008</cx:pt>
          <cx:pt idx="1071">34.662300000000002</cx:pt>
          <cx:pt idx="1072">8.5175999999999998</cx:pt>
          <cx:pt idx="1073">4.8715999999999999</cx:pt>
          <cx:pt idx="1074">6.1616999999999997</cx:pt>
          <cx:pt idx="1075">8.5311199999999907</cx:pt>
          <cx:pt idx="1076">10.973099999999999</cx:pt>
          <cx:pt idx="1077">7.7063999999999995</cx:pt>
          <cx:pt idx="1078">8.2472000000000012</cx:pt>
          <cx:pt idx="1079">9.5840999999999994</cx:pt>
          <cx:pt idx="1080">15.329599999999999</cx:pt>
          <cx:pt idx="1081">12.460799999999999</cx:pt>
          <cx:pt idx="1082">17.994599999999998</cx:pt>
          <cx:pt idx="1083">8.9232000000000014</cx:pt>
          <cx:pt idx="1084">8.2472000000000012</cx:pt>
          <cx:pt idx="1085">10.4175</cx:pt>
          <cx:pt idx="1086">10.834199999999999</cx:pt>
          <cx:pt idx="1087">11.328000000000001</cx:pt>
          <cx:pt idx="1088">8.2472000000000012</cx:pt>
          <cx:pt idx="1089">4.1152199999999999</cx:pt>
          <cx:pt idx="1090">8.1120000000000001</cx:pt>
          <cx:pt idx="1091">63.681899999999899</cx:pt>
          <cx:pt idx="1092">15.476999999999999</cx:pt>
          <cx:pt idx="1093">37.886699999999998</cx:pt>
          <cx:pt idx="1094">3.4613999999999998</cx:pt>
          <cx:pt idx="1095">35.1997</cx:pt>
          <cx:pt idx="1096">7.4495199999999997</cx:pt>
          <cx:pt idx="1097">13.736999999999998</cx:pt>
          <cx:pt idx="1098">12.036</cx:pt>
          <cx:pt idx="1099">10.72308</cx:pt>
          <cx:pt idx="1100">37.886699999999998</cx:pt>
          <cx:pt idx="1101">11.4696</cx:pt>
          <cx:pt idx="1102">13.109999999999999</cx:pt>
          <cx:pt idx="1103">17.994599999999998</cx:pt>
          <cx:pt idx="1104">6.2927999999999997</cx:pt>
          <cx:pt idx="1105">6.5549999999999997</cx:pt>
          <cx:pt idx="1106">7.8415999999999997</cx:pt>
          <cx:pt idx="1107">15.771799999999999</cx:pt>
          <cx:pt idx="1108">10.153589999999999</cx:pt>
          <cx:pt idx="1109">7.8415999999999997</cx:pt>
          <cx:pt idx="1110">10.0008</cx:pt>
          <cx:pt idx="1111">15.329599999999999</cx:pt>
          <cx:pt idx="1112">10.4175</cx:pt>
          <cx:pt idx="1113">8.7880000000000003</cx:pt>
          <cx:pt idx="1114">49.172099999999702</cx:pt>
          <cx:pt idx="1115">12.825000000000001</cx:pt>
          <cx:pt idx="1116">5.7683999999999997</cx:pt>
          <cx:pt idx="1117">16.93338</cx:pt>
          <cx:pt idx="1118">6.03059999999999</cx:pt>
          <cx:pt idx="1119">12.177599999999899</cx:pt>
          <cx:pt idx="1120">12.319199999999899</cx:pt>
          <cx:pt idx="1121">7.7063999999999995</cx:pt>
          <cx:pt idx="1122">11.611199999999899</cx:pt>
          <cx:pt idx="1123">11.639520000000001</cx:pt>
          <cx:pt idx="1124">6.1616999999999997</cx:pt>
          <cx:pt idx="1125">4.4870000000000001</cx:pt>
          <cx:pt idx="1126">13.447799999999999</cx:pt>
          <cx:pt idx="1127">4.9998000000000005</cx:pt>
          <cx:pt idx="1128">7.1655999999999995</cx:pt>
          <cx:pt idx="1129">11.752799999999999</cx:pt>
          <cx:pt idx="1130">11.894399999999999</cx:pt>
          <cx:pt idx="1131">18.302199999999999</cx:pt>
          <cx:pt idx="1132">13.736999999999998</cx:pt>
          <cx:pt idx="1133">12.319199999999899</cx:pt>
          <cx:pt idx="1134">15.359080000000001</cx:pt>
          <cx:pt idx="1135">10.834199999999999</cx:pt>
          <cx:pt idx="1136">10.6952999999999</cx:pt>
          <cx:pt idx="1137">48.097299999999898</cx:pt>
          <cx:pt idx="1138">8.5175999999999998</cx:pt>
          <cx:pt idx="1139">10.139699999999999</cx:pt>
          <cx:pt idx="1140">34.662300000000002</cx:pt>
          <cx:pt idx="1141">11.752799999999999</cx:pt>
          <cx:pt idx="1142">12.319199999999899</cx:pt>
          <cx:pt idx="1143">10.834199999999999</cx:pt>
          <cx:pt idx="1144">15.6244</cx:pt>
          <cx:pt idx="1145">49.1721</cx:pt>
          <cx:pt idx="1146">14.8873999999999</cx:pt>
          <cx:pt idx="1147">8.6527999999999992</cx:pt>
          <cx:pt idx="1148">10.973099999999999</cx:pt>
          <cx:pt idx="1149">12.602399999999999</cx:pt>
          <cx:pt idx="1150">45.678999999999995</cx:pt>
          <cx:pt idx="1151">11.752799999999999</cx:pt>
          <cx:pt idx="1152">14.62208</cx:pt>
          <cx:pt idx="1153">7.7063999999999995</cx:pt>
          <cx:pt idx="1154">12.825000000000001</cx:pt>
          <cx:pt idx="1155">5.7683999999999997</cx:pt>
          <cx:pt idx="1156">6.6860999999999908</cx:pt>
          <cx:pt idx="1157">8.2472000000000012</cx:pt>
          <cx:pt idx="1158">1.42302</cx:pt>
          <cx:pt idx="1159">10.139699999999999</cx:pt>
          <cx:pt idx="1160">8.6527999999999992</cx:pt>
          <cx:pt idx="1161">12.036</cx:pt>
          <cx:pt idx="1162">8.2472000000000012</cx:pt>
          <cx:pt idx="1163">14.1708</cx:pt>
          <cx:pt idx="1164">8.7880000000000003</cx:pt>
          <cx:pt idx="1165">43.556270000000005</cx:pt>
          <cx:pt idx="1166">8.6527999999999992</cx:pt>
          <cx:pt idx="1167">5.63729999999999</cx:pt>
          <cx:pt idx="1168">2.1794000000000002</cx:pt>
          <cx:pt idx="1169">9.722999999999999</cx:pt>
          <cx:pt idx="1170">6.5549999999999997</cx:pt>
          <cx:pt idx="1171">12.83925</cx:pt>
          <cx:pt idx="1172">10.139699999999999</cx:pt>
          <cx:pt idx="1173">12.967500000000001</cx:pt>
          <cx:pt idx="1174">15.786539999999999</cx:pt>
          <cx:pt idx="1175">7.463040000000019</cx:pt>
          <cx:pt idx="1176">10.4175</cx:pt>
          <cx:pt idx="1177">8.7880000000000003</cx:pt>
          <cx:pt idx="1178">11.497920000000001</cx:pt>
          <cx:pt idx="1179">4.1023999999999994</cx:pt>
          <cx:pt idx="1180">10.5564</cx:pt>
          <cx:pt idx="1181">54.546099999999996</cx:pt>
          <cx:pt idx="1182">14.74</cx:pt>
          <cx:pt idx="1183">5.5061999999999998</cx:pt>
          <cx:pt idx="1184">10.0008</cx:pt>
          <cx:pt idx="1185">15.9192</cx:pt>
          <cx:pt idx="1186">10.153589999999999</cx:pt>
          <cx:pt idx="1187">11.611199999999899</cx:pt>
          <cx:pt idx="1188">6.5549999999999997</cx:pt>
          <cx:pt idx="1189">6.2927999999999997</cx:pt>
          <cx:pt idx="1190">7.7063999999999995</cx:pt>
          <cx:pt idx="1191">7.5712000000000002</cx:pt>
          <cx:pt idx="1192">5.5193099999999999</cx:pt>
          <cx:pt idx="1193">15.771799999999999</cx:pt>
          <cx:pt idx="1194">35.1997</cx:pt>
          <cx:pt idx="1195">12.460799999999999</cx:pt>
          <cx:pt idx="1196">10.4175</cx:pt>
          <cx:pt idx="1197">8.9502400000000204</cx:pt>
          <cx:pt idx="1198">6.6860999999999908</cx:pt>
          <cx:pt idx="1199">9.5840999999999994</cx:pt>
          <cx:pt idx="1200">10.0146899999999</cx:pt>
          <cx:pt idx="1201">15.476999999999999</cx:pt>
          <cx:pt idx="1202">9.722999999999999</cx:pt>
          <cx:pt idx="1203">7.9767999999999892</cx:pt>
          <cx:pt idx="1204">8.80152</cx:pt>
          <cx:pt idx="1205">11.92272</cx:pt>
          <cx:pt idx="1206">6.8171999999999997</cx:pt>
          <cx:pt idx="1207">17.994599999999998</cx:pt>
          <cx:pt idx="1208">4.3588000000000005</cx:pt>
          <cx:pt idx="1209">9.4729800000000193</cx:pt>
          <cx:pt idx="1210">7.9767999999999892</cx:pt>
          <cx:pt idx="1211">5.5061999999999998</cx:pt>
          <cx:pt idx="1212">38.424100000000003</cx:pt>
          <cx:pt idx="1213">6.03059999999999</cx:pt>
          <cx:pt idx="1214">10.4175</cx:pt>
          <cx:pt idx="1215">12.036</cx:pt>
          <cx:pt idx="1216">39.230199999999897</cx:pt>
          <cx:pt idx="1217">10.278600000000001</cx:pt>
          <cx:pt idx="1218">7.1655999999999995</cx:pt>
          <cx:pt idx="1219">8.7880000000000003</cx:pt>
          <cx:pt idx="1220">3.4613999999999998</cx:pt>
          <cx:pt idx="1221">42.454599999999999</cx:pt>
          <cx:pt idx="1222">7.3008000000000006</cx:pt>
          <cx:pt idx="1223">5.89949999999999</cx:pt>
          <cx:pt idx="1224">36.543199999999999</cx:pt>
          <cx:pt idx="1225">18.148399999999899</cx:pt>
          <cx:pt idx="1226">15.182200000000002</cx:pt>
          <cx:pt idx="1227">11.611199999999899</cx:pt>
          <cx:pt idx="1228">4.1023999999999994</cx:pt>
          <cx:pt idx="1229">42.723299999999995</cx:pt>
          <cx:pt idx="1230">12.347519999999999</cx:pt>
          <cx:pt idx="1231">18.17916</cx:pt>
          <cx:pt idx="1232">70.18443999999991</cx:pt>
          <cx:pt idx="1233">13.447799999999999</cx:pt>
          <cx:pt idx="1234">4.9998000000000005</cx:pt>
          <cx:pt idx="1235">5.63729999999999</cx:pt>
          <cx:pt idx="1236">8.2472000000000012</cx:pt>
          <cx:pt idx="1237">7.1655999999999995</cx:pt>
          <cx:pt idx="1238">8.1120000000000001</cx:pt>
          <cx:pt idx="1239">3.7178000000000004</cx:pt>
          <cx:pt idx="1240">35.737099999999998</cx:pt>
          <cx:pt idx="1241">5.89949999999999</cx:pt>
          <cx:pt idx="1242">5.89949999999999</cx:pt>
          <cx:pt idx="1243">7.4359999999999999</cx:pt>
          <cx:pt idx="1244">15.04954</cx:pt>
          <cx:pt idx="1245">7.3008000000000006</cx:pt>
          <cx:pt idx="1246">5.7683999999999997</cx:pt>
          <cx:pt idx="1247">5.2561999999999998</cx:pt>
          <cx:pt idx="1248">6.1616999999999997</cx:pt>
          <cx:pt idx="1249">9.4451999999999998</cx:pt>
          <cx:pt idx="1250">9.8619000000000003</cx:pt>
          <cx:pt idx="1251">8.2472000000000012</cx:pt>
          <cx:pt idx="1252">13.447799999999999</cx:pt>
          <cx:pt idx="1253">15.034799999999901</cx:pt>
          <cx:pt idx="1254">7.5712000000000002</cx:pt>
          <cx:pt idx="1255">8.2472000000000012</cx:pt>
          <cx:pt idx="1256">41.702240000000003</cx:pt>
          <cx:pt idx="1257">8.2742400000000202</cx:pt>
          <cx:pt idx="1258">18.009979999999899</cx:pt>
          <cx:pt idx="1259">9.722999999999999</cx:pt>
          <cx:pt idx="1260">5.89949999999999</cx:pt>
          <cx:pt idx="1261">6.1616999999999997</cx:pt>
          <cx:pt idx="1262">10.5564</cx:pt>
          <cx:pt idx="1263">8.3823999999999987</cx:pt>
          <cx:pt idx="1264">6.8171999999999997</cx:pt>
          <cx:pt idx="1265">4.8715999999999999</cx:pt>
          <cx:pt idx="1266">8.2472000000000012</cx:pt>
          <cx:pt idx="1267">10.973099999999999</cx:pt>
          <cx:pt idx="1268">6.1616999999999997</cx:pt>
          <cx:pt idx="1269">11.328000000000001</cx:pt>
          <cx:pt idx="1270">15.04954</cx:pt>
          <cx:pt idx="1271">40.036300000000004</cx:pt>
          <cx:pt idx="1272">6.8171999999999997</cx:pt>
          <cx:pt idx="1273">12.967500000000001</cx:pt>
          <cx:pt idx="1274">7.5712000000000002</cx:pt>
          <cx:pt idx="1275">4.7433999999999994</cx:pt>
          <cx:pt idx="1276">12.319199999999899</cx:pt>
          <cx:pt idx="1277">12.825000000000001</cx:pt>
          <cx:pt idx="1278">8.6527999999999992</cx:pt>
          <cx:pt idx="1279">12.8535</cx:pt>
          <cx:pt idx="1280">11.611199999999899</cx:pt>
          <cx:pt idx="1281">13.447799999999999</cx:pt>
          <cx:pt idx="1282">7.8415999999999997</cx:pt>
          <cx:pt idx="1283">8.5175999999999998</cx:pt>
          <cx:pt idx="1284">11.328000000000001</cx:pt>
          <cx:pt idx="1285">12.036</cx:pt>
          <cx:pt idx="1286">12.319199999999899</cx:pt>
          <cx:pt idx="1287">6.03059999999999</cx:pt>
          <cx:pt idx="1288">6.5549999999999997</cx:pt>
          <cx:pt idx="1289">13.736999999999998</cx:pt>
          <cx:pt idx="1290">18.917400000000001</cx:pt>
          <cx:pt idx="1291">10.834199999999999</cx:pt>
          <cx:pt idx="1292">13.881599999999999</cx:pt>
          <cx:pt idx="1293">12.319199999999899</cx:pt>
          <cx:pt idx="1294">7.4359999999999999</cx:pt>
          <cx:pt idx="1295">9.4451999999999998</cx:pt>
          <cx:pt idx="1296">3.08962</cx:pt>
          <cx:pt idx="1297">15.653880000000001</cx:pt>
          <cx:pt idx="1298">5.5061999999999998</cx:pt>
          <cx:pt idx="1299">12.825000000000001</cx:pt>
          <cx:pt idx="1300">4.9998000000000005</cx:pt>
          <cx:pt idx="1301">8.2472000000000012</cx:pt>
          <cx:pt idx="1302">37.886699999999998</cx:pt>
          <cx:pt idx="1303">12.48912</cx:pt>
          <cx:pt idx="1304">4.9998000000000005</cx:pt>
          <cx:pt idx="1305">9.8619000000000003</cx:pt>
          <cx:pt idx="1306">10.139699999999999</cx:pt>
          <cx:pt idx="1307">4.6151999999999997</cx:pt>
          <cx:pt idx="1308">9.7368899999999989</cx:pt>
          <cx:pt idx="1309">4.4998199999999899</cx:pt>
          <cx:pt idx="1310">3.2050000000000001</cx:pt>
          <cx:pt idx="1311">12.460799999999999</cx:pt>
          <cx:pt idx="1312">13.736999999999998</cx:pt>
          <cx:pt idx="1313">10.0008</cx:pt>
          <cx:pt idx="1314">6.2927999999999997</cx:pt>
          <cx:pt idx="1315">11.4696</cx:pt>
          <cx:pt idx="1316">10.2924899999999</cx:pt>
          <cx:pt idx="1317">11.894399999999999</cx:pt>
          <cx:pt idx="1318">4.8715999999999999</cx:pt>
          <cx:pt idx="1319">10.5564</cx:pt>
          <cx:pt idx="1320">40.358739999999997</cx:pt>
          <cx:pt idx="1321">3.4742199999999896</cx:pt>
          <cx:pt idx="1322">8.5175999999999998</cx:pt>
          <cx:pt idx="1323">10.278600000000001</cx:pt>
          <cx:pt idx="1324">13.881599999999999</cx:pt>
          <cx:pt idx="1325">17.0718</cx:pt>
          <cx:pt idx="1326">5.2561999999999998</cx:pt>
          <cx:pt idx="1327">42.992000000000004</cx:pt>
          <cx:pt idx="1328">50.515599999999907</cx:pt>
          <cx:pt idx="1329">5.89949999999999</cx:pt>
          <cx:pt idx="1330">7.4359999999999999</cx:pt>
          <cx:pt idx="1331">17.3794</cx:pt>
          <cx:pt idx="1332">5.89949999999999</cx:pt>
          <cx:pt idx="1333">15.034799999999901</cx:pt>
          <cx:pt idx="1334">3.8460000000000001</cx:pt>
          <cx:pt idx="1335">1.9358199999999999</cx:pt>
          <cx:pt idx="1336">8.5175999999999998</cx:pt>
          <cx:pt idx="1337">13.5924</cx:pt>
          <cx:pt idx="1338">6.03059999999999</cx:pt>
          <cx:pt idx="1339">10.5564</cx:pt>
          <cx:pt idx="1340">6.2927999999999997</cx:pt>
          <cx:pt idx="1341">5.89949999999999</cx:pt>
          <cx:pt idx="1342">7.4359999999999999</cx:pt>
          <cx:pt idx="1343">11.752799999999999</cx:pt>
          <cx:pt idx="1344">9.722999999999999</cx:pt>
          <cx:pt idx="1345">56.453869999999995</cx:pt>
          <cx:pt idx="1346">6.5549999999999997</cx:pt>
          <cx:pt idx="1347">6.4239000000000006</cx:pt>
          <cx:pt idx="1348">4.7562199999999999</cx:pt>
          <cx:pt idx="1349">7.4359999999999999</cx:pt>
          <cx:pt idx="1350">7.3008000000000006</cx:pt>
          <cx:pt idx="1351">6.03059999999999</cx:pt>
          <cx:pt idx="1352">8.3823999999999987</cx:pt>
          <cx:pt idx="1353">10.5564</cx:pt>
          <cx:pt idx="1354">8.1120000000000001</cx:pt>
          <cx:pt idx="1355">9.4451999999999998</cx:pt>
          <cx:pt idx="1356">11.611199999999899</cx:pt>
          <cx:pt idx="1357">6.8171999999999997</cx:pt>
          <cx:pt idx="1358">13.109999999999999</cx:pt>
          <cx:pt idx="1359">9.8619000000000003</cx:pt>
          <cx:pt idx="1360">11.752799999999999</cx:pt>
          <cx:pt idx="1361">12.460799999999999</cx:pt>
          <cx:pt idx="1362">7.1655999999999995</cx:pt>
          <cx:pt idx="1363">11.894399999999999</cx:pt>
          <cx:pt idx="1364">7.1655999999999995</cx:pt>
          <cx:pt idx="1365">9.722999999999999</cx:pt>
          <cx:pt idx="1366">6.03059999999999</cx:pt>
          <cx:pt idx="1367">3.7178000000000004</cx:pt>
          <cx:pt idx="1368">16.779579999999999</cx:pt>
          <cx:pt idx="1369">10.4175</cx:pt>
          <cx:pt idx="1370">6.5549999999999997</cx:pt>
          <cx:pt idx="1371">47.586769999999902</cx:pt>
          <cx:pt idx="1372">9.4451999999999998</cx:pt>
          <cx:pt idx="1373">46.216399999999901</cx:pt>
          <cx:pt idx="1374">12.19176</cx:pt>
          <cx:pt idx="1375">19.563359999999999</cx:pt>
          <cx:pt idx="1376">13.881599999999999</cx:pt>
          <cx:pt idx="1377">10.278600000000001</cx:pt>
          <cx:pt idx="1378">6.6860999999999908</cx:pt>
          <cx:pt idx="1379">6.2927999999999997</cx:pt>
          <cx:pt idx="1380">6.03059999999999</cx:pt>
          <cx:pt idx="1381">6.6992099999999999</cx:pt>
          <cx:pt idx="1382">10.5564</cx:pt>
          <cx:pt idx="1383">37.618000000000002</cx:pt>
          <cx:pt idx="1384">17.994599999999998</cx:pt>
          <cx:pt idx="1385">10.5564</cx:pt>
          <cx:pt idx="1386">9.0583999999999989</cx:pt>
          <cx:pt idx="1387">10.4175</cx:pt>
          <cx:pt idx="1388">7.4359999999999999</cx:pt>
          <cx:pt idx="1389">10.848089999999901</cx:pt>
          <cx:pt idx="1390">6.5549999999999997</cx:pt>
          <cx:pt idx="1391">62.607100000000003</cx:pt>
          <cx:pt idx="1392">11.4696</cx:pt>
          <cx:pt idx="1393">10.5564</cx:pt>
          <cx:pt idx="1394">11.752799999999999</cx:pt>
          <cx:pt idx="1395">6.03059999999999</cx:pt>
          <cx:pt idx="1396">7.4359999999999999</cx:pt>
          <cx:pt idx="1397">13.881599999999999</cx:pt>
          <cx:pt idx="1398">12.460799999999999</cx:pt>
          <cx:pt idx="1399">12.460799999999999</cx:pt>
          <cx:pt idx="1400">10.973099999999999</cx:pt>
          <cx:pt idx="1401">8.3823999999999987</cx:pt>
          <cx:pt idx="1402">11.894399999999999</cx:pt>
          <cx:pt idx="1403">5.63729999999999</cx:pt>
          <cx:pt idx="1404">15.476999999999999</cx:pt>
          <cx:pt idx="1405">12.036</cx:pt>
          <cx:pt idx="1406">10.5564</cx:pt>
          <cx:pt idx="1407">5.5061999999999998</cx:pt>
          <cx:pt idx="1408">17.563960000000002</cx:pt>
          <cx:pt idx="1409">10.139699999999999</cx:pt>
          <cx:pt idx="1410">40.305</cx:pt>
          <cx:pt idx="1411">8.2472000000000012</cx:pt>
          <cx:pt idx="1412">12.602399999999999</cx:pt>
          <cx:pt idx="1413">8.2472000000000012</cx:pt>
          <cx:pt idx="1414">17.994599999999998</cx:pt>
          <cx:pt idx="1415">6.1616999999999997</cx:pt>
          <cx:pt idx="1416">54.546099999999996</cx:pt>
          <cx:pt idx="1417">10.5564</cx:pt>
          <cx:pt idx="1418">45.141599999999997</cx:pt>
          <cx:pt idx="1419">14.0261999999999</cx:pt>
          <cx:pt idx="1420">36.543199999999999</cx:pt>
          <cx:pt idx="1421">10.0008</cx:pt>
          <cx:pt idx="1422">12.825000000000001</cx:pt>
          <cx:pt idx="1423">8.2472000000000012</cx:pt>
          <cx:pt idx="1424">5.89949999999999</cx:pt>
          <cx:pt idx="1425">10.4175</cx:pt>
          <cx:pt idx="1426">59.3827</cx:pt>
          <cx:pt idx="1427">6.1616999999999997</cx:pt>
          <cx:pt idx="1428">11.894399999999999</cx:pt>
          <cx:pt idx="1429">5.2561999999999998</cx:pt>
          <cx:pt idx="1430">7.7199199999999992</cx:pt>
          <cx:pt idx="1431">11.894399999999999</cx:pt>
          <cx:pt idx="1432">5.7683999999999997</cx:pt>
          <cx:pt idx="1433">7.5712000000000002</cx:pt>
          <cx:pt idx="1434">2.9485999999999999</cx:pt>
          <cx:pt idx="1435">9.8619000000000003</cx:pt>
          <cx:pt idx="1436">8.7880000000000003</cx:pt>
          <cx:pt idx="1437">39.257069999999999</cx:pt>
          <cx:pt idx="1438">19.240380000000002</cx:pt>
          <cx:pt idx="1439">11.497920000000001</cx:pt>
          <cx:pt idx="1440">13.109999999999999</cx:pt>
          <cx:pt idx="1441">17.533199999999997</cx:pt>
          <cx:pt idx="1442">36.811899999999895</cx:pt>
          <cx:pt idx="1443">12.177599999999899</cx:pt>
          <cx:pt idx="1444">6.4239000000000006</cx:pt>
          <cx:pt idx="1445">17.3794</cx:pt>
          <cx:pt idx="1446">17.840799999999902</cx:pt>
          <cx:pt idx="1447">9.5840999999999994</cx:pt>
          <cx:pt idx="1448">6.6860999999999908</cx:pt>
          <cx:pt idx="1449">9.722999999999999</cx:pt>
          <cx:pt idx="1450">14.74</cx:pt>
          <cx:pt idx="1451">40.842399999999998</cx:pt>
          <cx:pt idx="1452">16.917999999999999</cx:pt>
          <cx:pt idx="1453">7.3008000000000006</cx:pt>
          <cx:pt idx="1454">5.9126099999999893</cx:pt>
          <cx:pt idx="1455">17.0718</cx:pt>
          <cx:pt idx="1456">7.9767999999999892</cx:pt>
          <cx:pt idx="1457">10.6952999999999</cx:pt>
          <cx:pt idx="1458">14.315399999999901</cx:pt>
          <cx:pt idx="1459">15.476999999999999</cx:pt>
          <cx:pt idx="1460">36.005800000000001</cx:pt>
          <cx:pt idx="1461">13.765920000000001</cx:pt>
          <cx:pt idx="1462">10.5564</cx:pt>
          <cx:pt idx="1463">11.611199999999899</cx:pt>
          <cx:pt idx="1464">9.5840999999999994</cx:pt>
          <cx:pt idx="1465">40.305</cx:pt>
          <cx:pt idx="1466">52.127799999999901</cx:pt>
          <cx:pt idx="1467">11.48376</cx:pt>
          <cx:pt idx="1468">8.6527999999999992</cx:pt>
          <cx:pt idx="1469">13.736999999999998</cx:pt>
          <cx:pt idx="1470">5.7683999999999997</cx:pt>
          <cx:pt idx="1471">8.7880000000000003</cx:pt>
          <cx:pt idx="1472">5.7683999999999997</cx:pt>
          <cx:pt idx="1473">11.4696</cx:pt>
          <cx:pt idx="1474">4.1023999999999994</cx:pt>
          <cx:pt idx="1475">36.005800000000001</cx:pt>
          <cx:pt idx="1476">8.2472000000000012</cx:pt>
          <cx:pt idx="1477">4.6151999999999997</cx:pt>
          <cx:pt idx="1478">7.7199199999999992</cx:pt>
          <cx:pt idx="1479">10.278600000000001</cx:pt>
          <cx:pt idx="1480">18.302199999999999</cx:pt>
          <cx:pt idx="1481">12.8535</cx:pt>
          <cx:pt idx="1482">15.329599999999999</cx:pt>
          <cx:pt idx="1483">5.7683999999999997</cx:pt>
          <cx:pt idx="1484">13.109999999999999</cx:pt>
          <cx:pt idx="1485">54.2774</cx:pt>
          <cx:pt idx="1486">8.8150400000000193</cx:pt>
          <cx:pt idx="1487">10.5564</cx:pt>
          <cx:pt idx="1488">16.764200000000002</cx:pt>
          <cx:pt idx="1489">10.0008</cx:pt>
          <cx:pt idx="1490">10.4175</cx:pt>
          <cx:pt idx="1491">7.3008000000000006</cx:pt>
          <cx:pt idx="1492">10.4175</cx:pt>
          <cx:pt idx="1493">6.3190200000000196</cx:pt>
          <cx:pt idx="1494">10.4175</cx:pt>
          <cx:pt idx="1495">11.328000000000001</cx:pt>
          <cx:pt idx="1496">9.5979900000000011</cx:pt>
          <cx:pt idx="1497">10.5564</cx:pt>
          <cx:pt idx="1498">13.447799999999999</cx:pt>
          <cx:pt idx="1499">7.1655999999999995</cx:pt>
          <cx:pt idx="1500">12.83925</cx:pt>
          <cx:pt idx="1501">5.7683999999999997</cx:pt>
          <cx:pt idx="1502">8.9232000000000014</cx:pt>
          <cx:pt idx="1503">3.8460000000000001</cx:pt>
          <cx:pt idx="1504">11.4696</cx:pt>
          <cx:pt idx="1505">8.9232000000000014</cx:pt>
          <cx:pt idx="1506">9.0583999999999989</cx:pt>
          <cx:pt idx="1507">7.5712000000000002</cx:pt>
          <cx:pt idx="1508">18.456</cx:pt>
          <cx:pt idx="1509">6.6860999999999908</cx:pt>
          <cx:pt idx="1510">7.0439199999999991</cx:pt>
          <cx:pt idx="1511">18.302199999999999</cx:pt>
          <cx:pt idx="1512">3.7178000000000004</cx:pt>
          <cx:pt idx="1513">38.692799999999998</cx:pt>
          <cx:pt idx="1514">18.6098</cx:pt>
          <cx:pt idx="1515">5.1279999999999903</cx:pt>
          <cx:pt idx="1516">7.8415999999999997</cx:pt>
          <cx:pt idx="1517">34.662300000000002</cx:pt>
          <cx:pt idx="1518">10.4175</cx:pt>
          <cx:pt idx="1519">8.3823999999999987</cx:pt>
          <cx:pt idx="1520">3.0768</cx:pt>
          <cx:pt idx="1521">12.602399999999999</cx:pt>
          <cx:pt idx="1522">11.4696</cx:pt>
          <cx:pt idx="1523">13.736999999999998</cx:pt>
          <cx:pt idx="1524">12.602399999999999</cx:pt>
          <cx:pt idx="1525">11.894399999999999</cx:pt>
          <cx:pt idx="1526">3.5895999999999999</cx:pt>
          <cx:pt idx="1527">3.3332000000000002</cx:pt>
          <cx:pt idx="1528">15.04954</cx:pt>
          <cx:pt idx="1529">8.6527999999999992</cx:pt>
          <cx:pt idx="1530">6.6992099999999999</cx:pt>
          <cx:pt idx="1531">35.1997</cx:pt>
          <cx:pt idx="1532">4.3588000000000005</cx:pt>
          <cx:pt idx="1533">6.5549999999999997</cx:pt>
          <cx:pt idx="1534">5.89949999999999</cx:pt>
          <cx:pt idx="1535">4.9998000000000005</cx:pt>
          <cx:pt idx="1536">12.19176</cx:pt>
          <cx:pt idx="1537">4.9998000000000005</cx:pt>
          <cx:pt idx="1538">7.3008000000000006</cx:pt>
          <cx:pt idx="1539">6.4239000000000006</cx:pt>
          <cx:pt idx="1540">10.4175</cx:pt>
          <cx:pt idx="1541">13.5924</cx:pt>
          <cx:pt idx="1542">10.5564</cx:pt>
          <cx:pt idx="1543">6.4239000000000006</cx:pt>
          <cx:pt idx="1544">8.80152</cx:pt>
          <cx:pt idx="1545">6.5549999999999997</cx:pt>
          <cx:pt idx="1546">34.930999999999997</cx:pt>
          <cx:pt idx="1547">12.967500000000001</cx:pt>
          <cx:pt idx="1548">9.8619000000000003</cx:pt>
          <cx:pt idx="1549">8.9232000000000014</cx:pt>
          <cx:pt idx="1550">7.8415999999999997</cx:pt>
          <cx:pt idx="1551">10.6952999999999</cx:pt>
          <cx:pt idx="1552">6.2927999999999997</cx:pt>
          <cx:pt idx="1553">2.8203999999999998</cx:pt>
          <cx:pt idx="1554">5.89949999999999</cx:pt>
          <cx:pt idx="1555">5.6504099999999999</cx:pt>
          <cx:pt idx="1556">9.8619000000000003</cx:pt>
          <cx:pt idx="1557">6.6860999999999908</cx:pt>
          <cx:pt idx="1558">10.834199999999999</cx:pt>
          <cx:pt idx="1559">10.292490000000001</cx:pt>
          <cx:pt idx="1560">4.8715999999999999</cx:pt>
          <cx:pt idx="1561">6.6860999999999908</cx:pt>
          <cx:pt idx="1562">10.306379999999999</cx:pt>
          <cx:pt idx="1563">10.278600000000001</cx:pt>
          <cx:pt idx="1564">10.278600000000001</cx:pt>
          <cx:pt idx="1565">37.618000000000002</cx:pt>
          <cx:pt idx="1566">47.559899999999999</cx:pt>
          <cx:pt idx="1567">3.7306199999999996</cx:pt>
          <cx:pt idx="1568">6.6860999999999908</cx:pt>
          <cx:pt idx="1569">8.6527999999999992</cx:pt>
          <cx:pt idx="1570">11.4696</cx:pt>
          <cx:pt idx="1571">8.3823999999999987</cx:pt>
          <cx:pt idx="1572">9.4451999999999998</cx:pt>
          <cx:pt idx="1573">5.5061999999999998</cx:pt>
          <cx:pt idx="1574">10.6952999999999</cx:pt>
          <cx:pt idx="1575">10.167479999999999</cx:pt>
          <cx:pt idx="1576">10.0008</cx:pt>
          <cx:pt idx="1577">12.967500000000001</cx:pt>
          <cx:pt idx="1578">7.5712000000000002</cx:pt>
          <cx:pt idx="1579">4.7433999999999994</cx:pt>
          <cx:pt idx="1580">8.3959200000000003</cx:pt>
          <cx:pt idx="1581">13.447799999999999</cx:pt>
          <cx:pt idx="1582">8.1120000000000001</cx:pt>
          <cx:pt idx="1583">59.113999999999699</cx:pt>
          <cx:pt idx="1584">5.7683999999999997</cx:pt>
          <cx:pt idx="1585">8.3823999999999987</cx:pt>
          <cx:pt idx="1586">18.794359999999998</cx:pt>
          <cx:pt idx="1587">6.2927999999999997</cx:pt>
          <cx:pt idx="1588">6.03059999999999</cx:pt>
          <cx:pt idx="1589">16.764200000000002</cx:pt>
          <cx:pt idx="1590">7.7199199999999992</cx:pt>
          <cx:pt idx="1591">3.4742199999999896</cx:pt>
          <cx:pt idx="1592">9.0583999999999989</cx:pt>
          <cx:pt idx="1593">6.2927999999999997</cx:pt>
          <cx:pt idx="1594">11.4696</cx:pt>
          <cx:pt idx="1595">7.7063999999999995</cx:pt>
          <cx:pt idx="1596">6.1616999999999997</cx:pt>
          <cx:pt idx="1597">12.036</cx:pt>
          <cx:pt idx="1598">10.973099999999999</cx:pt>
          <cx:pt idx="1599">15.182200000000002</cx:pt>
          <cx:pt idx="1600">5.7683999999999997</cx:pt>
          <cx:pt idx="1601">18.917400000000001</cx:pt>
          <cx:pt idx="1602">8.9232000000000014</cx:pt>
          <cx:pt idx="1603">6.2927999999999997</cx:pt>
          <cx:pt idx="1604">7.8415999999999997</cx:pt>
          <cx:pt idx="1605">7.9767999999999892</cx:pt>
          <cx:pt idx="1606">11.752799999999999</cx:pt>
          <cx:pt idx="1607">8.2472000000000012</cx:pt>
          <cx:pt idx="1608">2.8332199999999998</cx:pt>
          <cx:pt idx="1609">11.611199999999899</cx:pt>
          <cx:pt idx="1610">11.328000000000001</cx:pt>
          <cx:pt idx="1611">12.825000000000001</cx:pt>
          <cx:pt idx="1612">10.139699999999999</cx:pt>
          <cx:pt idx="1613">8.5175999999999998</cx:pt>
          <cx:pt idx="1614">17.533199999999997</cx:pt>
          <cx:pt idx="1615">12.036</cx:pt>
          <cx:pt idx="1616">15.034799999999901</cx:pt>
          <cx:pt idx="1617">16.917999999999999</cx:pt>
          <cx:pt idx="1618">10.7091899999999</cx:pt>
          <cx:pt idx="1619">12.319199999999899</cx:pt>
          <cx:pt idx="1620">7.9767999999999892</cx:pt>
          <cx:pt idx="1621">11.894399999999999</cx:pt>
          <cx:pt idx="1622">12.319199999999899</cx:pt>
          <cx:pt idx="1623">12.967500000000001</cx:pt>
          <cx:pt idx="1624">16.764200000000002</cx:pt>
          <cx:pt idx="1625">36.838769999999997</cx:pt>
          <cx:pt idx="1626">11.894399999999999</cx:pt>
          <cx:pt idx="1627">40.305</cx:pt>
          <cx:pt idx="1628">10.278600000000001</cx:pt>
          <cx:pt idx="1629">8.3823999999999987</cx:pt>
          <cx:pt idx="1630">14.1708</cx:pt>
          <cx:pt idx="1631">13.109999999999999</cx:pt>
          <cx:pt idx="1632">11.894399999999999</cx:pt>
          <cx:pt idx="1633">8.2472000000000012</cx:pt>
          <cx:pt idx="1634">14.1708</cx:pt>
          <cx:pt idx="1635">18.456</cx:pt>
          <cx:pt idx="1636">6.8171999999999997</cx:pt>
          <cx:pt idx="1637">7.4359999999999999</cx:pt>
          <cx:pt idx="1638">17.0718</cx:pt>
          <cx:pt idx="1639">5.6504099999999999</cx:pt>
          <cx:pt idx="1640">12.319199999999899</cx:pt>
          <cx:pt idx="1641">46.216399999999901</cx:pt>
          <cx:pt idx="1642">6.4239000000000006</cx:pt>
          <cx:pt idx="1643">10.834199999999999</cx:pt>
          <cx:pt idx="1644">4.3588000000000005</cx:pt>
          <cx:pt idx="1645">41.648499999999999</cx:pt>
          <cx:pt idx="1646">6.03059999999999</cx:pt>
          <cx:pt idx="1647">37.618000000000002</cx:pt>
          <cx:pt idx="1648">14.8873999999999</cx:pt>
          <cx:pt idx="1649">35.549009999999996</cx:pt>
          <cx:pt idx="1650">42.185899999999997</cx:pt>
          <cx:pt idx="1651">13.881599999999999</cx:pt>
          <cx:pt idx="1652">19.225000000000001</cx:pt>
          <cx:pt idx="1653">18.778979999999901</cx:pt>
          <cx:pt idx="1654">11.611199999999899</cx:pt>
          <cx:pt idx="1655">10.0008</cx:pt>
          <cx:pt idx="1656">8.2472000000000012</cx:pt>
          <cx:pt idx="1657">14.3154</cx:pt>
          <cx:pt idx="1658">7.8415999999999997</cx:pt>
          <cx:pt idx="1659">9.722999999999999</cx:pt>
          <cx:pt idx="1660">12.602399999999999</cx:pt>
          <cx:pt idx="1661">12.825000000000001</cx:pt>
          <cx:pt idx="1662">34.662300000000002</cx:pt>
          <cx:pt idx="1663">12.460799999999999</cx:pt>
          <cx:pt idx="1664">11.752799999999999</cx:pt>
          <cx:pt idx="1665">17.994599999999998</cx:pt>
          <cx:pt idx="1666">8.7880000000000003</cx:pt>
          <cx:pt idx="1667">10.0008</cx:pt>
          <cx:pt idx="1668">8.6527999999999992</cx:pt>
          <cx:pt idx="1669">5.7683999999999997</cx:pt>
          <cx:pt idx="1670">11.611199999999899</cx:pt>
          <cx:pt idx="1671">8.6527999999999992</cx:pt>
          <cx:pt idx="1672">9.8619000000000003</cx:pt>
          <cx:pt idx="1673">4.1023999999999994</cx:pt>
          <cx:pt idx="1674">14.3154</cx:pt>
          <cx:pt idx="1675">17.994599999999998</cx:pt>
          <cx:pt idx="1676">12.319199999999899</cx:pt>
          <cx:pt idx="1677">36.865639999999999</cx:pt>
          <cx:pt idx="1678">15.034799999999901</cx:pt>
          <cx:pt idx="1679">11.328000000000001</cx:pt>
          <cx:pt idx="1680">6.03059999999999</cx:pt>
          <cx:pt idx="1681">11.894399999999999</cx:pt>
          <cx:pt idx="1682">41.433540000000001</cx:pt>
          <cx:pt idx="1683">5.0254400000000201</cx:pt>
          <cx:pt idx="1684">10.4175</cx:pt>
          <cx:pt idx="1685">8.2472000000000012</cx:pt>
          <cx:pt idx="1686">12.967500000000001</cx:pt>
          <cx:pt idx="1687">10.4175</cx:pt>
          <cx:pt idx="1688">10.973099999999999</cx:pt>
          <cx:pt idx="1689">5.2561999999999998</cx:pt>
          <cx:pt idx="1690">10.139699999999999</cx:pt>
          <cx:pt idx="1691">12.036</cx:pt>
          <cx:pt idx="1692">9.722999999999999</cx:pt>
          <cx:pt idx="1693">11.611199999999899</cx:pt>
          <cx:pt idx="1694">7.7063999999999995</cx:pt>
          <cx:pt idx="1695">46.216399999999901</cx:pt>
          <cx:pt idx="1696">6.2927999999999997</cx:pt>
          <cx:pt idx="1697">5.5061999999999998</cx:pt>
          <cx:pt idx="1698">7.7063999999999995</cx:pt>
          <cx:pt idx="1699">12.83925</cx:pt>
          <cx:pt idx="1700">9.722999999999999</cx:pt>
          <cx:pt idx="1701">16.764200000000002</cx:pt>
          <cx:pt idx="1702">79.535199999999989</cx:pt>
          <cx:pt idx="1703">17.533199999999997</cx:pt>
          <cx:pt idx="1704">4.1152199999999999</cx:pt>
          <cx:pt idx="1705">10.01469</cx:pt>
          <cx:pt idx="1706">15.034799999999901</cx:pt>
          <cx:pt idx="1707">47.291200000000003</cx:pt>
          <cx:pt idx="1708">10.973099999999999</cx:pt>
          <cx:pt idx="1709">12.4607999999999</cx:pt>
          <cx:pt idx="1710">5.7683999999999997</cx:pt>
          <cx:pt idx="1711">5.7683999999999997</cx:pt>
          <cx:pt idx="1712">18.778979999999901</cx:pt>
          <cx:pt idx="1713">3.2178199999999997</cx:pt>
          <cx:pt idx="1714">11.752799999999999</cx:pt>
          <cx:pt idx="1715">13.109999999999999</cx:pt>
          <cx:pt idx="1716">10.5564</cx:pt>
          <cx:pt idx="1717">4.6151999999999997</cx:pt>
          <cx:pt idx="1718">12.967500000000001</cx:pt>
          <cx:pt idx="1719">8.5446400000000207</cx:pt>
          <cx:pt idx="1720">8.9232000000000014</cx:pt>
          <cx:pt idx="1721">6.4239000000000006</cx:pt>
          <cx:pt idx="1722">12.036</cx:pt>
          <cx:pt idx="1723">6.5549999999999997</cx:pt>
          <cx:pt idx="1724">38.1554</cx:pt>
          <cx:pt idx="1725">18.7636</cx:pt>
          <cx:pt idx="1726">13.447799999999999</cx:pt>
          <cx:pt idx="1727">10.4175</cx:pt>
          <cx:pt idx="1728">5.0126199999999894</cx:pt>
          <cx:pt idx="1729">6.4239000000000006</cx:pt>
          <cx:pt idx="1730">11.894399999999999</cx:pt>
          <cx:pt idx="1731">3.60242</cx:pt>
          <cx:pt idx="1732">3.5895999999999999</cx:pt>
          <cx:pt idx="1733">18.917400000000001</cx:pt>
          <cx:pt idx="1734">38.1554</cx:pt>
          <cx:pt idx="1735">13.736999999999998</cx:pt>
          <cx:pt idx="1736">10.5564</cx:pt>
          <cx:pt idx="1737">10.139699999999999</cx:pt>
          <cx:pt idx="1738">10.973099999999999</cx:pt>
          <cx:pt idx="1739">5.89949999999999</cx:pt>
          <cx:pt idx="1740">19.532599999999999</cx:pt>
          <cx:pt idx="1741">37.080599999999905</cx:pt>
          <cx:pt idx="1742">10.834199999999999</cx:pt>
          <cx:pt idx="1743">11.48376</cx:pt>
          <cx:pt idx="1744">38.182270000000003</cx:pt>
          <cx:pt idx="1745">12.460799999999999</cx:pt>
          <cx:pt idx="1746">14.3154</cx:pt>
          <cx:pt idx="1747">19.409559999999999</cx:pt>
          <cx:pt idx="1748">7.5712000000000002</cx:pt>
          <cx:pt idx="1749">15.034799999999901</cx:pt>
          <cx:pt idx="1750">12.967500000000001</cx:pt>
          <cx:pt idx="1751">8.9232000000000014</cx:pt>
          <cx:pt idx="1752">4.1023999999999994</cx:pt>
          <cx:pt idx="1753">11.894399999999999</cx:pt>
          <cx:pt idx="1754">14.055119999999999</cx:pt>
          <cx:pt idx="1755">37.618000000000002</cx:pt>
          <cx:pt idx="1756">8.6527999999999992</cx:pt>
          <cx:pt idx="1757">6.5549999999999997</cx:pt>
          <cx:pt idx="1758">6.03059999999999</cx:pt>
          <cx:pt idx="1759">14.0261999999999</cx:pt>
          <cx:pt idx="1760">19.101960000000002</cx:pt>
          <cx:pt idx="1761">8.5175999999999998</cx:pt>
          <cx:pt idx="1762">14.0261999999999</cx:pt>
          <cx:pt idx="1763">9.4729800000000193</cx:pt>
          <cx:pt idx="1764">4.8844199999999995</cx:pt>
          <cx:pt idx="1765">53.4712999999999</cx:pt>
          <cx:pt idx="1766">7.1655999999999995</cx:pt>
          <cx:pt idx="1767">13.736999999999998</cx:pt>
          <cx:pt idx="1768">2.5639999999999898</cx:pt>
          <cx:pt idx="1769">9.5840999999999994</cx:pt>
          <cx:pt idx="1770">6.4239000000000006</cx:pt>
          <cx:pt idx="1771">9.722999999999999</cx:pt>
          <cx:pt idx="1772">11.4696</cx:pt>
          <cx:pt idx="1773">37.080599999999905</cx:pt>
          <cx:pt idx="1774">60.188799999999901</cx:pt>
          <cx:pt idx="1775">3.3332000000000002</cx:pt>
          <cx:pt idx="1776">5.89949999999999</cx:pt>
          <cx:pt idx="1777">10.973099999999999</cx:pt>
          <cx:pt idx="1778">13.447799999999999</cx:pt>
          <cx:pt idx="1779">7.1655999999999995</cx:pt>
          <cx:pt idx="1780">13.606860000000001</cx:pt>
          <cx:pt idx="1781">10.4175</cx:pt>
          <cx:pt idx="1782">13.47672</cx:pt>
          <cx:pt idx="1783">11.328000000000001</cx:pt>
          <cx:pt idx="1784">8.9232000000000014</cx:pt>
          <cx:pt idx="1785">8.1120000000000001</cx:pt>
          <cx:pt idx="1786">8.9232000000000014</cx:pt>
          <cx:pt idx="1787">7.4359999999999999</cx:pt>
          <cx:pt idx="1788">3.8588200000000001</cx:pt>
          <cx:pt idx="1789">12.319199999999899</cx:pt>
          <cx:pt idx="1790">12.460799999999999</cx:pt>
          <cx:pt idx="1791">4.9998000000000005</cx:pt>
          <cx:pt idx="1792">10.4175</cx:pt>
          <cx:pt idx="1793">12.825000000000001</cx:pt>
          <cx:pt idx="1794">10.278600000000001</cx:pt>
          <cx:pt idx="1795">6.03059999999999</cx:pt>
          <cx:pt idx="1796">10.973099999999999</cx:pt>
          <cx:pt idx="1797">12.460799999999999</cx:pt>
          <cx:pt idx="1798">11.4696</cx:pt>
          <cx:pt idx="1799">7.7063999999999995</cx:pt>
          <cx:pt idx="1800">4.8715999999999999</cx:pt>
          <cx:pt idx="1801">12.3333599999999</cx:pt>
          <cx:pt idx="1802">9.7368899999999989</cx:pt>
          <cx:pt idx="1803">7.8415999999999997</cx:pt>
          <cx:pt idx="1804">17.0718</cx:pt>
          <cx:pt idx="1805">10.4175</cx:pt>
          <cx:pt idx="1806">4.3588000000000005</cx:pt>
          <cx:pt idx="1807">7.1655999999999995</cx:pt>
          <cx:pt idx="1808">12.460799999999999</cx:pt>
          <cx:pt idx="1809">10.7091899999999</cx:pt>
          <cx:pt idx="1810">7.3008000000000006</cx:pt>
          <cx:pt idx="1811">11.752799999999999</cx:pt>
          <cx:pt idx="1812">10.278600000000001</cx:pt>
          <cx:pt idx="1813">7.3008000000000006</cx:pt>
          <cx:pt idx="1814">10.72308</cx:pt>
          <cx:pt idx="1815">10.4175</cx:pt>
          <cx:pt idx="1816">14.1708</cx:pt>
          <cx:pt idx="1817">14.1708</cx:pt>
          <cx:pt idx="1818">11.752799999999999</cx:pt>
          <cx:pt idx="1819">4.6151999999999997</cx:pt>
          <cx:pt idx="1820">18.302199999999999</cx:pt>
          <cx:pt idx="1821">12.460799999999999</cx:pt>
          <cx:pt idx="1822">8.9232000000000014</cx:pt>
          <cx:pt idx="1823">5.89949999999999</cx:pt>
          <cx:pt idx="1824">12.967500000000001</cx:pt>
          <cx:pt idx="1825">7.1655999999999995</cx:pt>
          <cx:pt idx="1826">8.1120000000000001</cx:pt>
          <cx:pt idx="1827">13.736999999999998</cx:pt>
          <cx:pt idx="1828">5.6504099999999999</cx:pt>
          <cx:pt idx="1829">8.1120000000000001</cx:pt>
          <cx:pt idx="1830">4.9998000000000005</cx:pt>
          <cx:pt idx="1831">13.462260000000001</cx:pt>
          <cx:pt idx="1832">7.4359999999999999</cx:pt>
          <cx:pt idx="1833">10.973099999999999</cx:pt>
          <cx:pt idx="1834">9.8619000000000003</cx:pt>
          <cx:pt idx="1835">10.167479999999999</cx:pt>
          <cx:pt idx="1836">14.1708</cx:pt>
          <cx:pt idx="1837">39.230199999999897</cx:pt>
          <cx:pt idx="1838">7.5712000000000002</cx:pt>
          <cx:pt idx="1839">12.319199999999899</cx:pt>
          <cx:pt idx="1840">11.328000000000001</cx:pt>
          <cx:pt idx="1841">47.559899999999701</cx:pt>
          <cx:pt idx="1842">2.5768200000000001</cx:pt>
          <cx:pt idx="1843">6.6860999999999908</cx:pt>
          <cx:pt idx="1844">17.840799999999902</cx:pt>
          <cx:pt idx="1845">51.348569999999903</cx:pt>
          <cx:pt idx="1846">10.01469</cx:pt>
          <cx:pt idx="1847">9.8757900000000003</cx:pt>
          <cx:pt idx="1848">4.8715999999999999</cx:pt>
          <cx:pt idx="1849">37.886699999999998</cx:pt>
          <cx:pt idx="1850">7.7063999999999995</cx:pt>
          <cx:pt idx="1851">11.894399999999999</cx:pt>
          <cx:pt idx="1852">4.4870000000000001</cx:pt>
          <cx:pt idx="1853">9.8619000000000003</cx:pt>
          <cx:pt idx="1854">15.771799999999999</cx:pt>
          <cx:pt idx="1855">5.7683999999999997</cx:pt>
          <cx:pt idx="1856">7.5712000000000002</cx:pt>
          <cx:pt idx="1857">12.825000000000001</cx:pt>
          <cx:pt idx="1858">15.034799999999901</cx:pt>
          <cx:pt idx="1859">18.778979999999901</cx:pt>
          <cx:pt idx="1860">9.722999999999999</cx:pt>
          <cx:pt idx="1861">9.8619000000000003</cx:pt>
          <cx:pt idx="1862">9.722999999999999</cx:pt>
          <cx:pt idx="1863">19.225000000000001</cx:pt>
          <cx:pt idx="1864">38.1554</cx:pt>
          <cx:pt idx="1865">2.0640200000000002</cx:pt>
          <cx:pt idx="1866">12.319199999999899</cx:pt>
          <cx:pt idx="1867">39.498899999999999</cx:pt>
          <cx:pt idx="1868">4.9998000000000005</cx:pt>
          <cx:pt idx="1869">17.0718</cx:pt>
          <cx:pt idx="1870">10.973099999999999</cx:pt>
          <cx:pt idx="1871">7.8415999999999997</cx:pt>
          <cx:pt idx="1872">3.4613999999999998</cx:pt>
          <cx:pt idx="1873">11.752799999999999</cx:pt>
          <cx:pt idx="1874">8.3823999999999987</cx:pt>
          <cx:pt idx="1875">16.917999999999999</cx:pt>
          <cx:pt idx="1876">8.9232000000000014</cx:pt>
          <cx:pt idx="1877">7.5712000000000002</cx:pt>
          <cx:pt idx="1878">46.753799999999998</cx:pt>
          <cx:pt idx="1879">13.447799999999999</cx:pt>
          <cx:pt idx="1880">6.0437099999999999</cx:pt>
          <cx:pt idx="1881">10.7091899999999</cx:pt>
          <cx:pt idx="1882">5.63729999999999</cx:pt>
          <cx:pt idx="1883">18.456</cx:pt>
          <cx:pt idx="1884">10.4175</cx:pt>
          <cx:pt idx="1885">10.834199999999999</cx:pt>
          <cx:pt idx="1886">5.1279999999999903</cx:pt>
          <cx:pt idx="1887">3.4742199999999896</cx:pt>
          <cx:pt idx="1888">10.0008</cx:pt>
          <cx:pt idx="1889">12.3333599999999</cx:pt>
          <cx:pt idx="1890">16.764200000000002</cx:pt>
          <cx:pt idx="1891">39.767599999999995</cx:pt>
          <cx:pt idx="1892">5.89949999999999</cx:pt>
          <cx:pt idx="1893">14.1708</cx:pt>
          <cx:pt idx="1894">11.4696</cx:pt>
          <cx:pt idx="1895">11.752799999999999</cx:pt>
          <cx:pt idx="1896">6.4239000000000006</cx:pt>
          <cx:pt idx="1897">6.5549999999999997</cx:pt>
          <cx:pt idx="1898">7.4495199999999997</cx:pt>
          <cx:pt idx="1899">72.817699999999689</cx:pt>
          <cx:pt idx="1900">4.6151999999999997</cx:pt>
          <cx:pt idx="1901">9.4451999999999998</cx:pt>
          <cx:pt idx="1902">7.5712000000000002</cx:pt>
          <cx:pt idx="1903">14.8873999999999</cx:pt>
          <cx:pt idx="1904">6.1748099999999999</cx:pt>
          <cx:pt idx="1905">7.7063999999999995</cx:pt>
          <cx:pt idx="1906">10.4175</cx:pt>
          <cx:pt idx="1907">13.881599999999999</cx:pt>
          <cx:pt idx="1908">17.840799999999902</cx:pt>
          <cx:pt idx="1909">8.1120000000000001</cx:pt>
          <cx:pt idx="1910">6.8171999999999997</cx:pt>
          <cx:pt idx="1911">8.1120000000000001</cx:pt>
          <cx:pt idx="1912">11.894399999999999</cx:pt>
          <cx:pt idx="1913">7.9767999999999892</cx:pt>
          <cx:pt idx="1914">4.6151999999999997</cx:pt>
          <cx:pt idx="1915">18.456</cx:pt>
          <cx:pt idx="1916">34.930999999999997</cx:pt>
          <cx:pt idx="1917">36.543199999999999</cx:pt>
          <cx:pt idx="1918">12.602399999999999</cx:pt>
          <cx:pt idx="1919">10.7091899999999</cx:pt>
          <cx:pt idx="1920">14.74</cx:pt>
          <cx:pt idx="1921">12.825000000000001</cx:pt>
          <cx:pt idx="1922">12.825000000000001</cx:pt>
          <cx:pt idx="1923">42.454599999999999</cx:pt>
          <cx:pt idx="1924">4.1023999999999994</cx:pt>
          <cx:pt idx="1925">18.6098</cx:pt>
          <cx:pt idx="1926">8.5175999999999998</cx:pt>
          <cx:pt idx="1927">7.9767999999999892</cx:pt>
          <cx:pt idx="1928">9.4451999999999998</cx:pt>
          <cx:pt idx="1929">6.4239000000000006</cx:pt>
          <cx:pt idx="1930">10.139699999999999</cx:pt>
          <cx:pt idx="1931">4.6280199999999905</cx:pt>
          <cx:pt idx="1932">12.967500000000001</cx:pt>
          <cx:pt idx="1933">6.3059099999999892</cx:pt>
          <cx:pt idx="1934">14.0261999999999</cx:pt>
          <cx:pt idx="1935">10.4175</cx:pt>
          <cx:pt idx="1936">10.4175</cx:pt>
          <cx:pt idx="1937">7.4495199999999997</cx:pt>
          <cx:pt idx="1938">5.7683999999999997</cx:pt>
          <cx:pt idx="1939">11.611199999999899</cx:pt>
          <cx:pt idx="1940">10.431389999999901</cx:pt>
          <cx:pt idx="1941">37.107469999999999</cx:pt>
          <cx:pt idx="1942">11.611199999999899</cx:pt>
          <cx:pt idx="1943">10.278600000000001</cx:pt>
          <cx:pt idx="1944">11.328000000000001</cx:pt>
          <cx:pt idx="1945">7.9767999999999892</cx:pt>
          <cx:pt idx="1946">11.328000000000001</cx:pt>
          <cx:pt idx="1947">15.359080000000001</cx:pt>
          <cx:pt idx="1948">9.4451999999999998</cx:pt>
          <cx:pt idx="1949">8.6527999999999992</cx:pt>
          <cx:pt idx="1950">6.2927999999999997</cx:pt>
          <cx:pt idx="1951">17.840799999999902</cx:pt>
          <cx:pt idx="1952">17.994599999999998</cx:pt>
          <cx:pt idx="1953">17.0718</cx:pt>
          <cx:pt idx="1954">3.34601999999999</cx:pt>
          <cx:pt idx="1955">12.995999999999999</cx:pt>
          <cx:pt idx="1956">13.5924</cx:pt>
          <cx:pt idx="1957">5.2561999999999998</cx:pt>
          <cx:pt idx="1958">10.4175</cx:pt>
          <cx:pt idx="1959">37.618000000000002</cx:pt>
          <cx:pt idx="1960">7.9767999999999892</cx:pt>
          <cx:pt idx="1961">5.7683999999999997</cx:pt>
          <cx:pt idx="1962">15.476999999999999</cx:pt>
          <cx:pt idx="1963">15.06428</cx:pt>
          <cx:pt idx="1964">13.736999999999998</cx:pt>
          <cx:pt idx="1965">4.6151999999999997</cx:pt>
          <cx:pt idx="1966">10.0008</cx:pt>
          <cx:pt idx="1967">9.722999999999999</cx:pt>
          <cx:pt idx="1968">7.3008000000000006</cx:pt>
          <cx:pt idx="1969">46.485100000000003</cx:pt>
          <cx:pt idx="1970">12.177599999999899</cx:pt>
          <cx:pt idx="1971">8.3959200000000003</cx:pt>
          <cx:pt idx="1972">5.63729999999999</cx:pt>
          <cx:pt idx="1973">11.766959999999999</cx:pt>
          <cx:pt idx="1974">10.4175</cx:pt>
          <cx:pt idx="1975">5.89949999999999</cx:pt>
          <cx:pt idx="1976">13.736999999999998</cx:pt>
          <cx:pt idx="1977">10.5564</cx:pt>
          <cx:pt idx="1978">10.4175</cx:pt>
          <cx:pt idx="1979">19.225000000000001</cx:pt>
          <cx:pt idx="1980">10.0008</cx:pt>
          <cx:pt idx="1981">12.319199999999899</cx:pt>
          <cx:pt idx="1982">5.9257200000000196</cx:pt>
          <cx:pt idx="1983">6.8171999999999997</cx:pt>
          <cx:pt idx="1984">6.03059999999999</cx:pt>
          <cx:pt idx="1985">6.03059999999999</cx:pt>
          <cx:pt idx="1986">10.834199999999999</cx:pt>
          <cx:pt idx="1987">13.5924</cx:pt>
          <cx:pt idx="1988">11.328000000000001</cx:pt>
          <cx:pt idx="1989">9.722999999999999</cx:pt>
          <cx:pt idx="1990">8.6527999999999992</cx:pt>
          <cx:pt idx="1991">10.139699999999999</cx:pt>
          <cx:pt idx="1992">10.5564</cx:pt>
          <cx:pt idx="1993">12.825000000000001</cx:pt>
          <cx:pt idx="1994">15.329599999999999</cx:pt>
          <cx:pt idx="1995">41.648499999999999</cx:pt>
          <cx:pt idx="1996">3.8460000000000001</cx:pt>
          <cx:pt idx="1997">6.6860999999999908</cx:pt>
          <cx:pt idx="1998">11.625360000000001</cx:pt>
          <cx:pt idx="1999">3.3588400000000198</cx:pt>
          <cx:pt idx="2000">16.764200000000002</cx:pt>
          <cx:pt idx="2001">7.3008000000000006</cx:pt>
          <cx:pt idx="2002">17.533199999999997</cx:pt>
          <cx:pt idx="2003">4.2305999999999999</cx:pt>
          <cx:pt idx="2004">14.74</cx:pt>
          <cx:pt idx="2005">17.994599999999998</cx:pt>
          <cx:pt idx="2006">18.148399999999899</cx:pt>
          <cx:pt idx="2007">12.602399999999999</cx:pt>
          <cx:pt idx="2008">7.5712000000000002</cx:pt>
          <cx:pt idx="2009">12.036</cx:pt>
          <cx:pt idx="2010">17.2256</cx:pt>
          <cx:pt idx="2011">8.1120000000000001</cx:pt>
          <cx:pt idx="2012">13.33212</cx:pt>
          <cx:pt idx="2013">18.456</cx:pt>
          <cx:pt idx="2014">37.3492999999999</cx:pt>
          <cx:pt idx="2015">7.8415999999999997</cx:pt>
          <cx:pt idx="2016">14.1708</cx:pt>
          <cx:pt idx="2017">42.750169999999898</cx:pt>
          <cx:pt idx="2018">8.2472000000000012</cx:pt>
          <cx:pt idx="2019">5.7683999999999997</cx:pt>
          <cx:pt idx="2020">6.03059999999999</cx:pt>
          <cx:pt idx="2021">4.3588000000000005</cx:pt>
          <cx:pt idx="2022">4.3588000000000005</cx:pt>
          <cx:pt idx="2023">6.5549999999999997</cx:pt>
          <cx:pt idx="2024">17.256359999999901</cx:pt>
          <cx:pt idx="2025">15.476999999999999</cx:pt>
          <cx:pt idx="2026">5.7683999999999997</cx:pt>
          <cx:pt idx="2027">10.72308</cx:pt>
          <cx:pt idx="2028">15.182200000000002</cx:pt>
          <cx:pt idx="2029">4.4870000000000001</cx:pt>
          <cx:pt idx="2030">8.9367199999999993</cx:pt>
          <cx:pt idx="2031">10.5564</cx:pt>
          <cx:pt idx="2032">10.834199999999999</cx:pt>
          <cx:pt idx="2033">39.525770000000001</cx:pt>
          <cx:pt idx="2034">52.665199999999999</cx:pt>
          <cx:pt idx="2035">3.9741999999999997</cx:pt>
          <cx:pt idx="2036">11.4696</cx:pt>
          <cx:pt idx="2037">6.0437099999999999</cx:pt>
          <cx:pt idx="2038">13.109999999999999</cx:pt>
          <cx:pt idx="2039">9.0583999999999989</cx:pt>
          <cx:pt idx="2040">6.1748099999999999</cx:pt>
          <cx:pt idx="2041">18.4713799999999</cx:pt>
          <cx:pt idx="2042">6.5549999999999997</cx:pt>
          <cx:pt idx="2043">8.9232000000000014</cx:pt>
          <cx:pt idx="2044">17.3794</cx:pt>
          <cx:pt idx="2045">12.460799999999999</cx:pt>
          <cx:pt idx="2046">6.1748099999999999</cx:pt>
          <cx:pt idx="2047">2.4358</cx:pt>
          <cx:pt idx="2048">15.329599999999999</cx:pt>
          <cx:pt idx="2049">9.8619000000000003</cx:pt>
          <cx:pt idx="2050">8.5175999999999998</cx:pt>
          <cx:pt idx="2051">7.3008000000000006</cx:pt>
          <cx:pt idx="2052">13.5924</cx:pt>
          <cx:pt idx="2053">8.3823999999999987</cx:pt>
          <cx:pt idx="2054">14.0261999999999</cx:pt>
          <cx:pt idx="2055">15.034799999999901</cx:pt>
          <cx:pt idx="2056">3.2050000000000001</cx:pt>
          <cx:pt idx="2057">17.3794</cx:pt>
          <cx:pt idx="2058">15.034799999999901</cx:pt>
          <cx:pt idx="2059">4.8844199999999995</cx:pt>
          <cx:pt idx="2060">9.722999999999999</cx:pt>
          <cx:pt idx="2061">7.4359999999999999</cx:pt>
          <cx:pt idx="2062">7.1655999999999995</cx:pt>
          <cx:pt idx="2063">9.8619000000000003</cx:pt>
          <cx:pt idx="2064">2.9485999999999999</cx:pt>
          <cx:pt idx="2065">11.611199999999899</cx:pt>
          <cx:pt idx="2066">12.036</cx:pt>
          <cx:pt idx="2067">19.225000000000001</cx:pt>
          <cx:pt idx="2068">15.034799999999901</cx:pt>
          <cx:pt idx="2069">8.5175999999999998</cx:pt>
          <cx:pt idx="2070">7.5712000000000002</cx:pt>
          <cx:pt idx="2071">37.080599999999905</cx:pt>
          <cx:pt idx="2072">44.604199999999999</cx:pt>
          <cx:pt idx="2073">7.1655999999999995</cx:pt>
          <cx:pt idx="2074">10.153589999999999</cx:pt>
          <cx:pt idx="2075">2.1922199999999998</cx:pt>
          <cx:pt idx="2076">10.0008</cx:pt>
          <cx:pt idx="2077">9.722999999999999</cx:pt>
          <cx:pt idx="2078">12.036</cx:pt>
          <cx:pt idx="2079">9.4451999999999998</cx:pt>
          <cx:pt idx="2080">10.5564</cx:pt>
          <cx:pt idx="2081">11.752799999999999</cx:pt>
          <cx:pt idx="2082">8.2472000000000012</cx:pt>
          <cx:pt idx="2083">7.8415999999999997</cx:pt>
          <cx:pt idx="2084">6.1616999999999997</cx:pt>
          <cx:pt idx="2085">46.485100000000003</cx:pt>
          <cx:pt idx="2086">8.3823999999999987</cx:pt>
          <cx:pt idx="2087">18.009979999999899</cx:pt>
          <cx:pt idx="2088">3.7178000000000004</cx:pt>
          <cx:pt idx="2089">9.8619000000000003</cx:pt>
          <cx:pt idx="2090">8.5175999999999998</cx:pt>
          <cx:pt idx="2091">10.4175</cx:pt>
          <cx:pt idx="2092">5.89949999999999</cx:pt>
          <cx:pt idx="2093">10.834199999999999</cx:pt>
          <cx:pt idx="2094">10.7091899999999</cx:pt>
          <cx:pt idx="2095">7.4359999999999999</cx:pt>
          <cx:pt idx="2096">46.485100000000003</cx:pt>
          <cx:pt idx="2097">7.8415999999999997</cx:pt>
          <cx:pt idx="2098">9.8619000000000003</cx:pt>
          <cx:pt idx="2099">37.403039999999898</cx:pt>
          <cx:pt idx="2100">6.5549999999999997</cx:pt>
          <cx:pt idx="2101">5.5061999999999998</cx:pt>
          <cx:pt idx="2102">10.5564</cx:pt>
          <cx:pt idx="2103">7.1655999999999995</cx:pt>
          <cx:pt idx="2104">2.5639999999999898</cx:pt>
          <cx:pt idx="2105">11.4696</cx:pt>
          <cx:pt idx="2106">10.0008</cx:pt>
          <cx:pt idx="2107">15.329599999999999</cx:pt>
          <cx:pt idx="2108">16.917999999999999</cx:pt>
          <cx:pt idx="2109">10.973099999999999</cx:pt>
          <cx:pt idx="2110">7.8415999999999997</cx:pt>
          <cx:pt idx="2111">53.4712999999999</cx:pt>
          <cx:pt idx="2112">15.476999999999999</cx:pt>
          <cx:pt idx="2113">13.881599999999999</cx:pt>
          <cx:pt idx="2114">5.63729999999999</cx:pt>
          <cx:pt idx="2115">7.4359999999999999</cx:pt>
          <cx:pt idx="2116">3.4742199999999896</cx:pt>
          <cx:pt idx="2117">19.071199999999997</cx:pt>
          <cx:pt idx="2118">5.7683999999999997</cx:pt>
          <cx:pt idx="2119">4.4870000000000001</cx:pt>
          <cx:pt idx="2120">15.6244</cx:pt>
          <cx:pt idx="2121">6.8171999999999997</cx:pt>
          <cx:pt idx="2122">7.7334400000000203</cx:pt>
          <cx:pt idx="2123">8.2472000000000012</cx:pt>
          <cx:pt idx="2124">35.468400000000003</cx:pt>
          <cx:pt idx="2125">12.460799999999999</cx:pt>
          <cx:pt idx="2126">19.686400000000003</cx:pt>
          <cx:pt idx="2127">7.8415999999999997</cx:pt>
          <cx:pt idx="2128">36.301369999999999</cx:pt>
          <cx:pt idx="2129">13.5924</cx:pt>
          <cx:pt idx="2130">12.177599999999899</cx:pt>
          <cx:pt idx="2131">11.4696</cx:pt>
          <cx:pt idx="2132">14.74</cx:pt>
          <cx:pt idx="2133">7.1655999999999995</cx:pt>
          <cx:pt idx="2134">5.1279999999999903</cx:pt>
          <cx:pt idx="2135">11.4696</cx:pt>
          <cx:pt idx="2136">7.7063999999999995</cx:pt>
          <cx:pt idx="2137">10.6952999999999</cx:pt>
          <cx:pt idx="2138">7.1655999999999995</cx:pt>
          <cx:pt idx="2139">4.8715999999999999</cx:pt>
          <cx:pt idx="2140">4.4998199999999899</cx:pt>
          <cx:pt idx="2141">7.4359999999999999</cx:pt>
          <cx:pt idx="2142">46.834409999999998</cx:pt>
          <cx:pt idx="2143">9.4451999999999998</cx:pt>
          <cx:pt idx="2144">47.828600000000002</cx:pt>
          <cx:pt idx="2145">3.9741999999999997</cx:pt>
          <cx:pt idx="2146">5.7683999999999997</cx:pt>
          <cx:pt idx="2147">8.1120000000000001</cx:pt>
          <cx:pt idx="2148">17.533199999999997</cx:pt>
          <cx:pt idx="2149">10.6952999999999</cx:pt>
          <cx:pt idx="2150">12.602399999999999</cx:pt>
          <cx:pt idx="2151">17.0718</cx:pt>
          <cx:pt idx="2152">9.4729800000000193</cx:pt>
          <cx:pt idx="2153">5.1279999999999903</cx:pt>
          <cx:pt idx="2154">9.5840999999999994</cx:pt>
          <cx:pt idx="2155">9.5840999999999994</cx:pt>
          <cx:pt idx="2156">10.278600000000001</cx:pt>
          <cx:pt idx="2157">18.7636</cx:pt>
          <cx:pt idx="2158">4.6151999999999997</cx:pt>
          <cx:pt idx="2159">5.89949999999999</cx:pt>
          <cx:pt idx="2160">4.4998199999999899</cx:pt>
          <cx:pt idx="2161">5.5061999999999998</cx:pt>
          <cx:pt idx="2162">12.825000000000001</cx:pt>
          <cx:pt idx="2163">10.5564</cx:pt>
          <cx:pt idx="2164">6.2927999999999997</cx:pt>
          <cx:pt idx="2165">8.1120000000000001</cx:pt>
          <cx:pt idx="2166">15.6244</cx:pt>
          <cx:pt idx="2167">9.8619000000000003</cx:pt>
          <cx:pt idx="2168">5.1279999999999903</cx:pt>
          <cx:pt idx="2169">13.109999999999999</cx:pt>
          <cx:pt idx="2170">12.602399999999999</cx:pt>
          <cx:pt idx="2171">10.834199999999999</cx:pt>
          <cx:pt idx="2172">6.5549999999999997</cx:pt>
          <cx:pt idx="2173">17.2256</cx:pt>
          <cx:pt idx="2174">10.5564</cx:pt>
          <cx:pt idx="2175">17.702379999999902</cx:pt>
          <cx:pt idx="2176">56.722569999999891</cx:pt>
          <cx:pt idx="2177">35.468400000000003</cx:pt>
          <cx:pt idx="2178">50.246899999999904</cx:pt>
          <cx:pt idx="2179">4.3588000000000005</cx:pt>
          <cx:pt idx="2180">17.994599999999998</cx:pt>
          <cx:pt idx="2181">59.382699999999701</cx:pt>
          <cx:pt idx="2182">14.1708</cx:pt>
          <cx:pt idx="2183">6.1616999999999997</cx:pt>
          <cx:pt idx="2184">12.602399999999999</cx:pt>
          <cx:pt idx="2185">5.1279999999999903</cx:pt>
          <cx:pt idx="2186">10.139699999999999</cx:pt>
          <cx:pt idx="2187">5.5061999999999998</cx:pt>
          <cx:pt idx="2188">8.1120000000000001</cx:pt>
          <cx:pt idx="2189">7.4359999999999999</cx:pt>
          <cx:pt idx="2190">19.378799999999998</cx:pt>
          <cx:pt idx="2191">11.4696</cx:pt>
          <cx:pt idx="2192">13.736999999999998</cx:pt>
          <cx:pt idx="2193">8.5311199999999907</cx:pt>
          <cx:pt idx="2194">4.6151999999999997</cx:pt>
          <cx:pt idx="2195">10.278600000000001</cx:pt>
          <cx:pt idx="2196">9.4451999999999998</cx:pt>
          <cx:pt idx="2197">12.460799999999999</cx:pt>
          <cx:pt idx="2198">13.5924</cx:pt>
          <cx:pt idx="2199">40.036300000000004</cx:pt>
          <cx:pt idx="2200">5.7683999999999997</cx:pt>
          <cx:pt idx="2201">7.4359999999999999</cx:pt>
          <cx:pt idx="2202">7.5712000000000002</cx:pt>
          <cx:pt idx="2203">50.784299999999902</cx:pt>
          <cx:pt idx="2204">11.4696</cx:pt>
          <cx:pt idx="2205">7.1655999999999995</cx:pt>
          <cx:pt idx="2206">8.9232000000000014</cx:pt>
          <cx:pt idx="2207">80.072599999999909</cx:pt>
          <cx:pt idx="2208">5.5061999999999998</cx:pt>
          <cx:pt idx="2209">5.89949999999999</cx:pt>
          <cx:pt idx="2210">35.1997</cx:pt>
          <cx:pt idx="2211">8.3823999999999987</cx:pt>
          <cx:pt idx="2212">9.5840999999999994</cx:pt>
          <cx:pt idx="2213">14.8873999999999</cx:pt>
          <cx:pt idx="2214">35.1997</cx:pt>
          <cx:pt idx="2215">6.8171999999999997</cx:pt>
          <cx:pt idx="2216">5.2561999999999998</cx:pt>
          <cx:pt idx="2217">9.4451999999999998</cx:pt>
          <cx:pt idx="2218">11.328000000000001</cx:pt>
          <cx:pt idx="2219">8.6527999999999992</cx:pt>
          <cx:pt idx="2220">9.5979900000000011</cx:pt>
          <cx:pt idx="2221">7.3008000000000006</cx:pt>
          <cx:pt idx="2222">10.0008</cx:pt>
          <cx:pt idx="2223">3.7306199999999996</cx:pt>
          <cx:pt idx="2224">17.2256</cx:pt>
          <cx:pt idx="2225">4.7433999999999994</cx:pt>
          <cx:pt idx="2226">16.764200000000002</cx:pt>
          <cx:pt idx="2227">9.8757900000000003</cx:pt>
          <cx:pt idx="2228">8.7880000000000003</cx:pt>
          <cx:pt idx="2229">11.752799999999999</cx:pt>
          <cx:pt idx="2230">10.4175</cx:pt>
          <cx:pt idx="2231">10.139699999999999</cx:pt>
          <cx:pt idx="2232">10.834199999999999</cx:pt>
          <cx:pt idx="2233">7.3008000000000006</cx:pt>
          <cx:pt idx="2234">11.611199999999899</cx:pt>
          <cx:pt idx="2235">15.182200000000002</cx:pt>
          <cx:pt idx="2236">10.5564</cx:pt>
          <cx:pt idx="2237">10.5564</cx:pt>
          <cx:pt idx="2238">13.109999999999999</cx:pt>
          <cx:pt idx="2239">11.752799999999999</cx:pt>
          <cx:pt idx="2240">44.899769999999997</cx:pt>
          <cx:pt idx="2241">7.4359999999999999</cx:pt>
          <cx:pt idx="2242">12.83925</cx:pt>
          <cx:pt idx="2243">5.5061999999999998</cx:pt>
          <cx:pt idx="2244">14.8873999999999</cx:pt>
          <cx:pt idx="2245">5.1279999999999903</cx:pt>
          <cx:pt idx="2246">9.5840999999999994</cx:pt>
          <cx:pt idx="2247">7.5712000000000002</cx:pt>
          <cx:pt idx="2248">8.7880000000000003</cx:pt>
          <cx:pt idx="2249">11.894399999999999</cx:pt>
          <cx:pt idx="2250">15.182200000000002</cx:pt>
          <cx:pt idx="2251">9.722999999999999</cx:pt>
          <cx:pt idx="2252">9.722999999999999</cx:pt>
          <cx:pt idx="2253">8.6527999999999992</cx:pt>
          <cx:pt idx="2254">42.992000000000004</cx:pt>
          <cx:pt idx="2255">10.6952999999999</cx:pt>
          <cx:pt idx="2256">8.6527999999999992</cx:pt>
          <cx:pt idx="2257">8.0038400000000198</cx:pt>
          <cx:pt idx="2258">17.0718</cx:pt>
          <cx:pt idx="2259">17.994599999999998</cx:pt>
          <cx:pt idx="2260">15.329599999999999</cx:pt>
          <cx:pt idx="2261">5.1279999999999903</cx:pt>
          <cx:pt idx="2262">14.74</cx:pt>
          <cx:pt idx="2263">17.840799999999902</cx:pt>
          <cx:pt idx="2264">6.03059999999999</cx:pt>
          <cx:pt idx="2265">8.2472000000000012</cx:pt>
          <cx:pt idx="2266">3.5895999999999999</cx:pt>
          <cx:pt idx="2267">8.1120000000000001</cx:pt>
          <cx:pt idx="2268">12.177599999999899</cx:pt>
          <cx:pt idx="2269">5.5193099999999999</cx:pt>
          <cx:pt idx="2270">12.19176</cx:pt>
          <cx:pt idx="2271">4.7433999999999994</cx:pt>
          <cx:pt idx="2272">8.2472000000000012</cx:pt>
          <cx:pt idx="2273">6.8171999999999997</cx:pt>
          <cx:pt idx="2274">3.60242</cx:pt>
          <cx:pt idx="2275">10.6952999999999</cx:pt>
          <cx:pt idx="2276">11.752799999999999</cx:pt>
          <cx:pt idx="2277">18.302199999999999</cx:pt>
          <cx:pt idx="2278">6.8171999999999997</cx:pt>
          <cx:pt idx="2279">11.611199999999899</cx:pt>
          <cx:pt idx="2280">10.139699999999999</cx:pt>
          <cx:pt idx="2281">10.5564</cx:pt>
          <cx:pt idx="2282">18.456</cx:pt>
          <cx:pt idx="2283">6.6860999999999908</cx:pt>
          <cx:pt idx="2284">10.834199999999999</cx:pt>
          <cx:pt idx="2285">10.2924899999999</cx:pt>
          <cx:pt idx="2286">15.06428</cx:pt>
          <cx:pt idx="2287">5.5061999999999998</cx:pt>
          <cx:pt idx="2288">10.4175</cx:pt>
          <cx:pt idx="2289">15.476999999999999</cx:pt>
          <cx:pt idx="2290">19.378799999999998</cx:pt>
          <cx:pt idx="2291">5.89949999999999</cx:pt>
          <cx:pt idx="2292">18.148399999999899</cx:pt>
          <cx:pt idx="2293">7.1655999999999995</cx:pt>
          <cx:pt idx="2294">41.379800000000003</cx:pt>
          <cx:pt idx="2295">13.5924</cx:pt>
          <cx:pt idx="2296">11.328000000000001</cx:pt>
          <cx:pt idx="2297">7.4495199999999997</cx:pt>
          <cx:pt idx="2298">50.246899999999904</cx:pt>
          <cx:pt idx="2299">3.8460000000000001</cx:pt>
          <cx:pt idx="2300">14.0261999999999</cx:pt>
          <cx:pt idx="2301">51.375439999999898</cx:pt>
          <cx:pt idx="2302">42.723299999999995</cx:pt>
          <cx:pt idx="2303">10.5564</cx:pt>
          <cx:pt idx="2304">6.5549999999999997</cx:pt>
          <cx:pt idx="2305">17.994599999999998</cx:pt>
          <cx:pt idx="2306">35.1997</cx:pt>
          <cx:pt idx="2307">4.1023999999999994</cx:pt>
          <cx:pt idx="2308">14.8873999999999</cx:pt>
          <cx:pt idx="2309">13.109999999999999</cx:pt>
          <cx:pt idx="2310">8.7880000000000003</cx:pt>
          <cx:pt idx="2311">18.917400000000001</cx:pt>
          <cx:pt idx="2312">17.702379999999902</cx:pt>
          <cx:pt idx="2313">4.6151999999999997</cx:pt>
          <cx:pt idx="2314">11.781120000000001</cx:pt>
          <cx:pt idx="2315">7.5847200000000008</cx:pt>
          <cx:pt idx="2316">14.739999999999901</cx:pt>
          <cx:pt idx="2317">8.5311199999999907</cx:pt>
          <cx:pt idx="2318">12.333360000000001</cx:pt>
          <cx:pt idx="2319">10.6952999999999</cx:pt>
          <cx:pt idx="2320">12.825000000000001</cx:pt>
          <cx:pt idx="2321">8.1120000000000001</cx:pt>
          <cx:pt idx="2322">2.5639999999999898</cx:pt>
          <cx:pt idx="2323">7.7063999999999995</cx:pt>
          <cx:pt idx="2324">11.894399999999999</cx:pt>
          <cx:pt idx="2325">7.3008000000000006</cx:pt>
          <cx:pt idx="2326">9.0583999999999989</cx:pt>
          <cx:pt idx="2327">5.89949999999999</cx:pt>
          <cx:pt idx="2328">10.834199999999999</cx:pt>
          <cx:pt idx="2329">4.4870000000000001</cx:pt>
          <cx:pt idx="2330">4.5126400000000197</cx:pt>
          <cx:pt idx="2331">8.9232000000000014</cx:pt>
          <cx:pt idx="2332">8.2472000000000012</cx:pt>
          <cx:pt idx="2333">8.2472000000000012</cx:pt>
          <cx:pt idx="2334">3.5895999999999999</cx:pt>
          <cx:pt idx="2335">10.4175</cx:pt>
          <cx:pt idx="2336">10.5564</cx:pt>
          <cx:pt idx="2337">7.9767999999999892</cx:pt>
          <cx:pt idx="2338">6.03059999999999</cx:pt>
          <cx:pt idx="2339">18.009979999999899</cx:pt>
          <cx:pt idx="2340">10.6952999999999</cx:pt>
          <cx:pt idx="2341">36.543199999999999</cx:pt>
          <cx:pt idx="2342">18.6098</cx:pt>
          <cx:pt idx="2343">13.736999999999998</cx:pt>
          <cx:pt idx="2344">8.1120000000000001</cx:pt>
          <cx:pt idx="2345">5.5061999999999998</cx:pt>
          <cx:pt idx="2346">3.0768</cx:pt>
          <cx:pt idx="2347">17.533199999999997</cx:pt>
          <cx:pt idx="2348">62.338399999999908</cx:pt>
          <cx:pt idx="2349">13.109999999999999</cx:pt>
          <cx:pt idx="2350">37.618000000000002</cx:pt>
          <cx:pt idx="2351">48.903400000000005</cx:pt>
          <cx:pt idx="2352">6.1748099999999999</cx:pt>
          <cx:pt idx="2353">18.6098</cx:pt>
          <cx:pt idx="2354">8.9232000000000014</cx:pt>
          <cx:pt idx="2355">6.1616999999999997</cx:pt>
          <cx:pt idx="2356">42.723299999999995</cx:pt>
          <cx:pt idx="2357">18.456</cx:pt>
          <cx:pt idx="2358">13.881599999999999</cx:pt>
          <cx:pt idx="2359">11.752799999999999</cx:pt>
          <cx:pt idx="2360">15.6244</cx:pt>
          <cx:pt idx="2361">19.071199999999997</cx:pt>
          <cx:pt idx="2362">12.967500000000001</cx:pt>
          <cx:pt idx="2363">13.736999999999998</cx:pt>
          <cx:pt idx="2364">8.2472000000000012</cx:pt>
          <cx:pt idx="2365">9.8619000000000003</cx:pt>
          <cx:pt idx="2366">9.5840999999999994</cx:pt>
          <cx:pt idx="2367">9.722999999999999</cx:pt>
          <cx:pt idx="2368">15.9192</cx:pt>
          <cx:pt idx="2369">7.1655999999999995</cx:pt>
          <cx:pt idx="2370">10.973099999999999</cx:pt>
          <cx:pt idx="2371">15.6244</cx:pt>
          <cx:pt idx="2372">6.1748099999999999</cx:pt>
          <cx:pt idx="2373">54.814799999999998</cx:pt>
          <cx:pt idx="2374">8.1120000000000001</cx:pt>
          <cx:pt idx="2375">6.2927999999999997</cx:pt>
          <cx:pt idx="2376">7.8415999999999997</cx:pt>
          <cx:pt idx="2377">8.2472000000000012</cx:pt>
          <cx:pt idx="2378">8.1255199999999999</cx:pt>
          <cx:pt idx="2379">9.4451999999999998</cx:pt>
          <cx:pt idx="2380">5.5061999999999998</cx:pt>
          <cx:pt idx="2381">15.771799999999999</cx:pt>
          <cx:pt idx="2382">10.973099999999999</cx:pt>
          <cx:pt idx="2383">10.6952999999999</cx:pt>
          <cx:pt idx="2384">9.722999999999999</cx:pt>
          <cx:pt idx="2385">10.0008</cx:pt>
          <cx:pt idx="2386">41.970939999999999</cx:pt>
          <cx:pt idx="2387">14.3154</cx:pt>
          <cx:pt idx="2388">14.3154</cx:pt>
          <cx:pt idx="2389">4.8715999999999999</cx:pt>
          <cx:pt idx="2390">6.8171999999999997</cx:pt>
          <cx:pt idx="2391">10.72308</cx:pt>
          <cx:pt idx="2392">7.8415999999999997</cx:pt>
          <cx:pt idx="2393">10.58418</cx:pt>
          <cx:pt idx="2394">35.468400000000003</cx:pt>
          <cx:pt idx="2395">6.5549999999999997</cx:pt>
          <cx:pt idx="2396">7.1655999999999995</cx:pt>
          <cx:pt idx="2397">38.961499999999901</cx:pt>
          <cx:pt idx="2398">63.950600000000001</cx:pt>
          <cx:pt idx="2399">14.1708</cx:pt>
          <cx:pt idx="2400">15.9192</cx:pt>
          <cx:pt idx="2401">7.8415999999999997</cx:pt>
          <cx:pt idx="2402">17.24098</cx:pt>
          <cx:pt idx="2403">10.278600000000001</cx:pt>
          <cx:pt idx="2404">15.034799999999901</cx:pt>
          <cx:pt idx="2405">10.5564</cx:pt>
          <cx:pt idx="2406">10.278600000000001</cx:pt>
          <cx:pt idx="2407">9.722999999999999</cx:pt>
          <cx:pt idx="2408">56.426999999999907</cx:pt>
          <cx:pt idx="2409">6.4239000000000006</cx:pt>
          <cx:pt idx="2410">18.7636</cx:pt>
          <cx:pt idx="2411">9.8757900000000003</cx:pt>
          <cx:pt idx="2412">10.5564</cx:pt>
          <cx:pt idx="2413">5.63729999999999</cx:pt>
          <cx:pt idx="2414">34.689170000000004</cx:pt>
          <cx:pt idx="2415">3.3332000000000002</cx:pt>
          <cx:pt idx="2416">13.447799999999999</cx:pt>
          <cx:pt idx="2417">41.379800000000003</cx:pt>
          <cx:pt idx="2418">9.722999999999999</cx:pt>
          <cx:pt idx="2419">15.771799999999999</cx:pt>
          <cx:pt idx="2420">6.8171999999999997</cx:pt>
          <cx:pt idx="2421">10.834199999999999</cx:pt>
          <cx:pt idx="2422">7.1655999999999995</cx:pt>
          <cx:pt idx="2423">6.03059999999999</cx:pt>
          <cx:pt idx="2424">6.03059999999999</cx:pt>
          <cx:pt idx="2425">8.80152</cx:pt>
          <cx:pt idx="2426">9.8619000000000003</cx:pt>
          <cx:pt idx="2427">6.8171999999999997</cx:pt>
          <cx:pt idx="2428">12.036</cx:pt>
          <cx:pt idx="2429">6.2927999999999997</cx:pt>
          <cx:pt idx="2430">9.722999999999999</cx:pt>
          <cx:pt idx="2431">14.3154</cx:pt>
          <cx:pt idx="2432">35.1997</cx:pt>
          <cx:pt idx="2433">10.278600000000001</cx:pt>
          <cx:pt idx="2434">38.1554</cx:pt>
          <cx:pt idx="2435">4.6151999999999997</cx:pt>
          <cx:pt idx="2436">8.3823999999999987</cx:pt>
          <cx:pt idx="2437">4.6151999999999997</cx:pt>
          <cx:pt idx="2438">11.328000000000001</cx:pt>
          <cx:pt idx="2439">8.3823999999999987</cx:pt>
          <cx:pt idx="2440">8.2472000000000012</cx:pt>
          <cx:pt idx="2441">8.3823999999999987</cx:pt>
          <cx:pt idx="2442">12.19176</cx:pt>
          <cx:pt idx="2443">5.63729999999999</cx:pt>
          <cx:pt idx="2444">10.5564</cx:pt>
          <cx:pt idx="2445">7.5712000000000002</cx:pt>
          <cx:pt idx="2446">7.3008000000000006</cx:pt>
          <cx:pt idx="2447">14.916879999999999</cx:pt>
          <cx:pt idx="2448">7.7063999999999995</cx:pt>
          <cx:pt idx="2449">11.752799999999999</cx:pt>
          <cx:pt idx="2450">11.894399999999999</cx:pt>
          <cx:pt idx="2451">6.6860999999999908</cx:pt>
          <cx:pt idx="2452">17.533199999999997</cx:pt>
          <cx:pt idx="2453">10.834199999999999</cx:pt>
          <cx:pt idx="2454">5.7683999999999997</cx:pt>
          <cx:pt idx="2455">10.973099999999999</cx:pt>
          <cx:pt idx="2456">12.06432</cx:pt>
          <cx:pt idx="2457">12.177599999999899</cx:pt>
          <cx:pt idx="2458">5.89949999999999</cx:pt>
          <cx:pt idx="2459">7.7063999999999995</cx:pt>
          <cx:pt idx="2460">12.825000000000001</cx:pt>
          <cx:pt idx="2461">6.2927999999999997</cx:pt>
          <cx:pt idx="2462">6.03059999999999</cx:pt>
          <cx:pt idx="2463">4.7433999999999994</cx:pt>
          <cx:pt idx="2464">40.573700000000002</cx:pt>
          <cx:pt idx="2465">4.3588000000000005</cx:pt>
          <cx:pt idx="2466">7.8415999999999997</cx:pt>
          <cx:pt idx="2467">7.9767999999999892</cx:pt>
          <cx:pt idx="2468">7.7334400000000203</cx:pt>
          <cx:pt idx="2469">10.4175</cx:pt>
          <cx:pt idx="2470">40.305</cx:pt>
          <cx:pt idx="2471">6.6860999999999908</cx:pt>
          <cx:pt idx="2472">4.4998199999999899</cx:pt>
          <cx:pt idx="2473">14.916879999999999</cx:pt>
          <cx:pt idx="2474">10.4175</cx:pt>
          <cx:pt idx="2475">11.4696</cx:pt>
          <cx:pt idx="2476">10.4175</cx:pt>
          <cx:pt idx="2477">8.6527999999999992</cx:pt>
          <cx:pt idx="2478">8.1120000000000001</cx:pt>
          <cx:pt idx="2479">6.03059999999999</cx:pt>
          <cx:pt idx="2480">10.6952999999999</cx:pt>
          <cx:pt idx="2481">7.1655999999999995</cx:pt>
          <cx:pt idx="2482">41.917200000000001</cx:pt>
          <cx:pt idx="2483">15.771799999999999</cx:pt>
          <cx:pt idx="2484">7.8415999999999997</cx:pt>
          <cx:pt idx="2485">7.1655999999999995</cx:pt>
          <cx:pt idx="2486">17.3794</cx:pt>
          <cx:pt idx="2487">11.328000000000001</cx:pt>
          <cx:pt idx="2488">8.1255199999999999</cx:pt>
          <cx:pt idx="2489">13.5924</cx:pt>
          <cx:pt idx="2490">3.2050000000000001</cx:pt>
          <cx:pt idx="2491">10.4175</cx:pt>
          <cx:pt idx="2492">5.63729999999999</cx:pt>
          <cx:pt idx="2493">13.5924</cx:pt>
          <cx:pt idx="2494">4.4998199999999899</cx:pt>
          <cx:pt idx="2495">13.896059999999999</cx:pt>
          <cx:pt idx="2496">6.1616999999999997</cx:pt>
          <cx:pt idx="2497">7.1655999999999995</cx:pt>
          <cx:pt idx="2498">9.722999999999999</cx:pt>
          <cx:pt idx="2499">5.6504099999999999</cx:pt>
          <cx:pt idx="2500">13.447799999999999</cx:pt>
          <cx:pt idx="2501">5.89949999999999</cx:pt>
          <cx:pt idx="2502">9.722999999999999</cx:pt>
          <cx:pt idx="2503">8.6527999999999992</cx:pt>
          <cx:pt idx="2504">11.4696</cx:pt>
          <cx:pt idx="2505">14.1708</cx:pt>
          <cx:pt idx="2506">4.8715999999999999</cx:pt>
          <cx:pt idx="2507">6.5549999999999997</cx:pt>
          <cx:pt idx="2508">13.736999999999998</cx:pt>
          <cx:pt idx="2509">3.9741999999999997</cx:pt>
          <cx:pt idx="2510">5.7683999999999997</cx:pt>
          <cx:pt idx="2511">14.055119999999999</cx:pt>
          <cx:pt idx="2512">12.19176</cx:pt>
          <cx:pt idx="2513">10.834199999999999</cx:pt>
          <cx:pt idx="2514">6.1616999999999997</cx:pt>
          <cx:pt idx="2515">4.3588000000000005</cx:pt>
          <cx:pt idx="2516">40.654310000000002</cx:pt>
          <cx:pt idx="2517">4.4870000000000001</cx:pt>
          <cx:pt idx="2518">10.292490000000001</cx:pt>
          <cx:pt idx="2519">12.036</cx:pt>
          <cx:pt idx="2520">11.894399999999999</cx:pt>
          <cx:pt idx="2521">4.4870000000000001</cx:pt>
          <cx:pt idx="2522">41.1111</cx:pt>
          <cx:pt idx="2523">3.8460000000000001</cx:pt>
          <cx:pt idx="2524">61.263599999999698</cx:pt>
          <cx:pt idx="2525">12.460799999999999</cx:pt>
          <cx:pt idx="2526">7.7063999999999995</cx:pt>
          <cx:pt idx="2527">45.947700000000005</cx:pt>
          <cx:pt idx="2528">39.498899999999999</cx:pt>
          <cx:pt idx="2529">11.611199999999899</cx:pt>
          <cx:pt idx="2530">46.485100000000003</cx:pt>
          <cx:pt idx="2531">7.8415999999999997</cx:pt>
          <cx:pt idx="2532">6.03059999999999</cx:pt>
          <cx:pt idx="2533">17.533199999999997</cx:pt>
          <cx:pt idx="2534">64.27303999999971</cx:pt>
          <cx:pt idx="2535">11.894399999999999</cx:pt>
          <cx:pt idx="2536">7.8415999999999997</cx:pt>
          <cx:pt idx="2537">10.5564</cx:pt>
          <cx:pt idx="2538">40.036300000000004</cx:pt>
          <cx:pt idx="2539">4.8844199999999995</cx:pt>
          <cx:pt idx="2540">8.1120000000000001</cx:pt>
          <cx:pt idx="2541">18.302199999999999</cx:pt>
          <cx:pt idx="2542">10.44528</cx:pt>
          <cx:pt idx="2543">37.3492999999999</cx:pt>
          <cx:pt idx="2544">3.5895999999999999</cx:pt>
          <cx:pt idx="2545">10.834199999999999</cx:pt>
          <cx:pt idx="2546">10.278600000000001</cx:pt>
          <cx:pt idx="2547">9.722999999999999</cx:pt>
          <cx:pt idx="2548">10.6952999999999</cx:pt>
          <cx:pt idx="2549">44.604199999999999</cx:pt>
          <cx:pt idx="2550">36.274499999999996</cx:pt>
          <cx:pt idx="2551">38.961499999999901</cx:pt>
          <cx:pt idx="2552">8.9232000000000014</cx:pt>
          <cx:pt idx="2553">11.328000000000001</cx:pt>
          <cx:pt idx="2554">5.89949999999999</cx:pt>
          <cx:pt idx="2555">11.752799999999999</cx:pt>
          <cx:pt idx="2556">16.764200000000002</cx:pt>
          <cx:pt idx="2557">5.63729999999999</cx:pt>
          <cx:pt idx="2558">9.4451999999999998</cx:pt>
          <cx:pt idx="2559">12.967500000000001</cx:pt>
          <cx:pt idx="2560">7.4359999999999999</cx:pt>
          <cx:pt idx="2561">8.9232000000000014</cx:pt>
          <cx:pt idx="2562">14.0261999999999</cx:pt>
          <cx:pt idx="2563">6.0437099999999999</cx:pt>
          <cx:pt idx="2564">40.573700000000002</cx:pt>
          <cx:pt idx="2565">11.34216</cx:pt>
          <cx:pt idx="2566">10.5564</cx:pt>
          <cx:pt idx="2567">17.0718</cx:pt>
          <cx:pt idx="2568">4.6151999999999997</cx:pt>
          <cx:pt idx="2569">8.5175999999999998</cx:pt>
          <cx:pt idx="2570">11.894399999999999</cx:pt>
          <cx:pt idx="2571">4.9998000000000005</cx:pt>
          <cx:pt idx="2572">48.097299999999898</cx:pt>
          <cx:pt idx="2573">8.9232000000000014</cx:pt>
          <cx:pt idx="2574">12.460799999999999</cx:pt>
          <cx:pt idx="2575">7.3008000000000006</cx:pt>
          <cx:pt idx="2576">19.225000000000001</cx:pt>
          <cx:pt idx="2577">3.8460000000000001</cx:pt>
          <cx:pt idx="2578">13.33212</cx:pt>
          <cx:pt idx="2579">8.9232000000000014</cx:pt>
          <cx:pt idx="2580">9.8757900000000003</cx:pt>
          <cx:pt idx="2581">14.8873999999999</cx:pt>
          <cx:pt idx="2582">14.74</cx:pt>
          <cx:pt idx="2583">5.5061999999999998</cx:pt>
          <cx:pt idx="2584">14.0261999999999</cx:pt>
          <cx:pt idx="2585">13.447799999999999</cx:pt>
          <cx:pt idx="2586">39.498899999999999</cx:pt>
          <cx:pt idx="2587">12.036</cx:pt>
          <cx:pt idx="2588">11.328000000000001</cx:pt>
          <cx:pt idx="2589">7.5712000000000002</cx:pt>
          <cx:pt idx="2590">4.8715999999999999</cx:pt>
          <cx:pt idx="2591">9.4451999999999998</cx:pt>
          <cx:pt idx="2592">4.4870000000000001</cx:pt>
          <cx:pt idx="2593">8.5446400000000207</cx:pt>
          <cx:pt idx="2594">36.838769999999997</cx:pt>
          <cx:pt idx="2595">10.4175</cx:pt>
          <cx:pt idx="2596">14.3154</cx:pt>
          <cx:pt idx="2597">37.403039999999898</cx:pt>
          <cx:pt idx="2598">19.532599999999999</cx:pt>
          <cx:pt idx="2599">18.456</cx:pt>
          <cx:pt idx="2600">4.1023999999999994</cx:pt>
          <cx:pt idx="2601">9.8619000000000003</cx:pt>
          <cx:pt idx="2602">10.431389999999901</cx:pt>
          <cx:pt idx="2603">5.7683999999999997</cx:pt>
          <cx:pt idx="2604">15.771799999999999</cx:pt>
          <cx:pt idx="2605">10.6952999999999</cx:pt>
          <cx:pt idx="2606">52.933899999999902</cx:pt>
          <cx:pt idx="2607">17.24098</cx:pt>
          <cx:pt idx="2608">7.3008000000000006</cx:pt>
          <cx:pt idx="2609">8.1120000000000001</cx:pt>
          <cx:pt idx="2610">10.834199999999999</cx:pt>
          <cx:pt idx="2611">11.4696</cx:pt>
          <cx:pt idx="2612">10.973099999999999</cx:pt>
          <cx:pt idx="2613">16.764200000000002</cx:pt>
          <cx:pt idx="2614">8.2742400000000202</cx:pt>
          <cx:pt idx="2615">6.1879200000000196</cx:pt>
          <cx:pt idx="2616">7.8415999999999997</cx:pt>
          <cx:pt idx="2617">10.6952999999999</cx:pt>
          <cx:pt idx="2618">12.602399999999999</cx:pt>
          <cx:pt idx="2619">14.769479999999998</cx:pt>
          <cx:pt idx="2620">9.4451999999999998</cx:pt>
          <cx:pt idx="2621">40.331869999999995</cx:pt>
          <cx:pt idx="2622">11.752799999999999</cx:pt>
          <cx:pt idx="2623">16.917999999999999</cx:pt>
          <cx:pt idx="2624">10.834199999999999</cx:pt>
          <cx:pt idx="2625">7.8415999999999997</cx:pt>
          <cx:pt idx="2626">7.9767999999999892</cx:pt>
          <cx:pt idx="2627">5.2561999999999998</cx:pt>
          <cx:pt idx="2628">8.5175999999999998</cx:pt>
          <cx:pt idx="2629">19.563359999999999</cx:pt>
          <cx:pt idx="2630">8.6527999999999992</cx:pt>
          <cx:pt idx="2631">7.9767999999999892</cx:pt>
          <cx:pt idx="2632">4.6151999999999997</cx:pt>
          <cx:pt idx="2633">11.752799999999999</cx:pt>
          <cx:pt idx="2634">4.8715999999999999</cx:pt>
          <cx:pt idx="2635">17.24098</cx:pt>
          <cx:pt idx="2636">6.03059999999999</cx:pt>
          <cx:pt idx="2637">49.709499999999998</cx:pt>
          <cx:pt idx="2638">3.60242</cx:pt>
          <cx:pt idx="2639">4.6151999999999997</cx:pt>
          <cx:pt idx="2640">11.4696</cx:pt>
          <cx:pt idx="2641">10.5564</cx:pt>
          <cx:pt idx="2642">6.8171999999999997</cx:pt>
          <cx:pt idx="2643">5.2561999999999998</cx:pt>
          <cx:pt idx="2644">14.0261999999999</cx:pt>
          <cx:pt idx="2645">12.602399999999999</cx:pt>
          <cx:pt idx="2646">12.967500000000001</cx:pt>
          <cx:pt idx="2647">6.4239000000000006</cx:pt>
          <cx:pt idx="2648">12.347519999999999</cx:pt>
          <cx:pt idx="2649">12.825000000000001</cx:pt>
          <cx:pt idx="2650">12.177599999999899</cx:pt>
          <cx:pt idx="2651">2.4358</cx:pt>
          <cx:pt idx="2652">10.5564</cx:pt>
          <cx:pt idx="2653">8.3823999999999987</cx:pt>
          <cx:pt idx="2654">3.9741999999999997</cx:pt>
          <cx:pt idx="2655">12.967500000000001</cx:pt>
          <cx:pt idx="2656">6.2927999999999997</cx:pt>
          <cx:pt idx="2657">35.1997</cx:pt>
          <cx:pt idx="2658">13.447799999999999</cx:pt>
          <cx:pt idx="2659">12.602399999999999</cx:pt>
          <cx:pt idx="2660">6.03059999999999</cx:pt>
          <cx:pt idx="2661">14.199719999999999</cx:pt>
          <cx:pt idx="2662">13.736999999999998</cx:pt>
          <cx:pt idx="2663">12.19176</cx:pt>
          <cx:pt idx="2664">6.5549999999999997</cx:pt>
          <cx:pt idx="2665">15.476999999999999</cx:pt>
          <cx:pt idx="2666">10.139699999999999</cx:pt>
          <cx:pt idx="2667">4.4870000000000001</cx:pt>
          <cx:pt idx="2668">11.611199999999899</cx:pt>
          <cx:pt idx="2669">11.328000000000001</cx:pt>
          <cx:pt idx="2670">8.6527999999999992</cx:pt>
          <cx:pt idx="2671">66.153939999999693</cx:pt>
          <cx:pt idx="2672">5.9126099999999893</cx:pt>
          <cx:pt idx="2673">10.4175</cx:pt>
          <cx:pt idx="2674">3.8460000000000001</cx:pt>
          <cx:pt idx="2675">6.03059999999999</cx:pt>
          <cx:pt idx="2676">11.639520000000001</cx:pt>
          <cx:pt idx="2677">10.278600000000001</cx:pt>
          <cx:pt idx="2678">2.3075999999999999</cx:pt>
          <cx:pt idx="2679">10.5564</cx:pt>
          <cx:pt idx="2680">5.5061999999999998</cx:pt>
          <cx:pt idx="2681">5.7683999999999997</cx:pt>
          <cx:pt idx="2682">12.036</cx:pt>
          <cx:pt idx="2683">9.8619000000000003</cx:pt>
          <cx:pt idx="2684">14.607339999999899</cx:pt>
          <cx:pt idx="2685">6.4239000000000006</cx:pt>
          <cx:pt idx="2686">9.0583999999999989</cx:pt>
          <cx:pt idx="2687">12.711</cx:pt>
          <cx:pt idx="2688">12.177599999999899</cx:pt>
          <cx:pt idx="2689">36.005800000000001</cx:pt>
          <cx:pt idx="2690">4.7433999999999994</cx:pt>
          <cx:pt idx="2691">6.5549999999999997</cx:pt>
          <cx:pt idx="2692">5.1408199999999997</cx:pt>
          <cx:pt idx="2693">57.770499999999899</cx:pt>
          <cx:pt idx="2694">10.5564</cx:pt>
          <cx:pt idx="2695">7.7063999999999995</cx:pt>
          <cx:pt idx="2696">12.825000000000001</cx:pt>
          <cx:pt idx="2697">16.764200000000002</cx:pt>
          <cx:pt idx="2698">7.7063999999999995</cx:pt>
          <cx:pt idx="2699">10.4175</cx:pt>
          <cx:pt idx="2700">4.7433999999999994</cx:pt>
          <cx:pt idx="2701">4.9998000000000005</cx:pt>
          <cx:pt idx="2702">5.7683999999999997</cx:pt>
          <cx:pt idx="2703">6.8171999999999997</cx:pt>
          <cx:pt idx="2704">5.5061999999999998</cx:pt>
          <cx:pt idx="2705">9.5840999999999994</cx:pt>
          <cx:pt idx="2706">16.764200000000002</cx:pt>
          <cx:pt idx="2707">7.5712000000000002</cx:pt>
          <cx:pt idx="2708">11.4696</cx:pt>
          <cx:pt idx="2709">17.24098</cx:pt>
          <cx:pt idx="2710">10.834199999999999</cx:pt>
          <cx:pt idx="2711">11.611199999999899</cx:pt>
          <cx:pt idx="2712">4.8715999999999999</cx:pt>
          <cx:pt idx="2713">11.752799999999999</cx:pt>
          <cx:pt idx="2714">11.4696</cx:pt>
          <cx:pt idx="2715">12.825000000000001</cx:pt>
          <cx:pt idx="2716">12.460799999999999</cx:pt>
          <cx:pt idx="2717">5.2561999999999998</cx:pt>
          <cx:pt idx="2718">8.6527999999999992</cx:pt>
          <cx:pt idx="2719">8.9232000000000014</cx:pt>
          <cx:pt idx="2720">7.3008000000000006</cx:pt>
          <cx:pt idx="2721">7.4359999999999999</cx:pt>
          <cx:pt idx="2722">12.177599999999899</cx:pt>
          <cx:pt idx="2723">5.63729999999999</cx:pt>
          <cx:pt idx="2724">11.328000000000001</cx:pt>
          <cx:pt idx="2725">36.005800000000001</cx:pt>
          <cx:pt idx="2726">3.9741999999999997</cx:pt>
          <cx:pt idx="2727">14.74</cx:pt>
          <cx:pt idx="2728">9.0583999999999989</cx:pt>
          <cx:pt idx="2729">17.533199999999997</cx:pt>
          <cx:pt idx="2730">13.736999999999998</cx:pt>
          <cx:pt idx="2731">15.771799999999999</cx:pt>
          <cx:pt idx="2732">11.4696</cx:pt>
          <cx:pt idx="2733">12.460799999999999</cx:pt>
          <cx:pt idx="2734">10.0008</cx:pt>
          <cx:pt idx="2735">5.5061999999999998</cx:pt>
          <cx:pt idx="2736">42.481469999999902</cx:pt>
          <cx:pt idx="2737">12.05016</cx:pt>
          <cx:pt idx="2738">34.662300000000002</cx:pt>
          <cx:pt idx="2739">8.7880000000000003</cx:pt>
          <cx:pt idx="2740">7.3008000000000006</cx:pt>
          <cx:pt idx="2741">4.9998000000000005</cx:pt>
          <cx:pt idx="2742">5.63729999999999</cx:pt>
          <cx:pt idx="2743">6.5549999999999997</cx:pt>
          <cx:pt idx="2744">9.8619000000000003</cx:pt>
          <cx:pt idx="2745">6.03059999999999</cx:pt>
          <cx:pt idx="2746">12.036</cx:pt>
          <cx:pt idx="2747">18.456</cx:pt>
          <cx:pt idx="2748">6.4239000000000006</cx:pt>
          <cx:pt idx="2749">12.967500000000001</cx:pt>
          <cx:pt idx="2750">13.447799999999999</cx:pt>
          <cx:pt idx="2751">39.230199999999897</cx:pt>
          <cx:pt idx="2752">11.611199999999899</cx:pt>
          <cx:pt idx="2753">13.5924</cx:pt>
          <cx:pt idx="2754">12.036</cx:pt>
          <cx:pt idx="2755">6.6860999999999908</cx:pt>
          <cx:pt idx="2756">14.0261999999999</cx:pt>
          <cx:pt idx="2757">6.4239000000000006</cx:pt>
          <cx:pt idx="2758">10.4175</cx:pt>
          <cx:pt idx="2759">12.177599999999899</cx:pt>
          <cx:pt idx="2760">9.8619000000000003</cx:pt>
          <cx:pt idx="2761">8.3959200000000003</cx:pt>
          <cx:pt idx="2762">7.1655999999999995</cx:pt>
          <cx:pt idx="2763">38.1554</cx:pt>
          <cx:pt idx="2764">5.7683999999999997</cx:pt>
          <cx:pt idx="2765">6.03059999999999</cx:pt>
          <cx:pt idx="2766">8.6527999999999992</cx:pt>
          <cx:pt idx="2767">14.1708</cx:pt>
          <cx:pt idx="2768">34.984739999999995</cx:pt>
          <cx:pt idx="2769">5.89949999999999</cx:pt>
          <cx:pt idx="2770">7.8415999999999997</cx:pt>
          <cx:pt idx="2771">7.7063999999999995</cx:pt>
          <cx:pt idx="2772">11.4696</cx:pt>
          <cx:pt idx="2773">3.8460000000000001</cx:pt>
          <cx:pt idx="2774">36.005800000000001</cx:pt>
          <cx:pt idx="2775">11.752799999999999</cx:pt>
          <cx:pt idx="2776">10.6952999999999</cx:pt>
          <cx:pt idx="2777">6.4239000000000006</cx:pt>
          <cx:pt idx="2778">17.563960000000002</cx:pt>
          <cx:pt idx="2779">8.1120000000000001</cx:pt>
          <cx:pt idx="2780">10.834199999999999</cx:pt>
          <cx:pt idx="2781">43.2607</cx:pt>
          <cx:pt idx="2782">13.881599999999999</cx:pt>
          <cx:pt idx="2783">17.687000000000001</cx:pt>
          <cx:pt idx="2784">5.89949999999999</cx:pt>
          <cx:pt idx="2785">47.559899999999999</cx:pt>
          <cx:pt idx="2786">15.786539999999999</cx:pt>
          <cx:pt idx="2787">16.625780000000002</cx:pt>
          <cx:pt idx="2788">6.6860999999999908</cx:pt>
          <cx:pt idx="2789">19.532599999999999</cx:pt>
          <cx:pt idx="2790">8.1525600000000189</cx:pt>
          <cx:pt idx="2791">7.1655999999999995</cx:pt>
          <cx:pt idx="2792">8.1255199999999999</cx:pt>
          <cx:pt idx="2793">8.9232000000000014</cx:pt>
          <cx:pt idx="2794">43.529399999999903</cx:pt>
          <cx:pt idx="2795">19.225000000000001</cx:pt>
          <cx:pt idx="2796">7.9767999999999892</cx:pt>
          <cx:pt idx="2797">9.5840999999999994</cx:pt>
          <cx:pt idx="2798">34.447339999999997</cx:pt>
          <cx:pt idx="2799">6.03059999999999</cx:pt>
          <cx:pt idx="2800">10.973099999999999</cx:pt>
          <cx:pt idx="2801">10.139699999999999</cx:pt>
          <cx:pt idx="2802">15.653880000000001</cx:pt>
          <cx:pt idx="2803">5.7683999999999997</cx:pt>
          <cx:pt idx="2804">6.0437099999999999</cx:pt>
          <cx:pt idx="2805">15.329599999999999</cx:pt>
          <cx:pt idx="2806">16.764200000000002</cx:pt>
          <cx:pt idx="2807">15.476999999999999</cx:pt>
          <cx:pt idx="2808">10.278600000000001</cx:pt>
          <cx:pt idx="2809">14.1852599999999</cx:pt>
          <cx:pt idx="2810">17.0718</cx:pt>
          <cx:pt idx="2811">10.01469</cx:pt>
          <cx:pt idx="2812">4.9998000000000005</cx:pt>
          <cx:pt idx="2813">12.177599999999899</cx:pt>
          <cx:pt idx="2814">59.3827</cx:pt>
          <cx:pt idx="2815">7.3008000000000006</cx:pt>
          <cx:pt idx="2816">12.177599999999899</cx:pt>
          <cx:pt idx="2817">7.9767999999999892</cx:pt>
          <cx:pt idx="2818">4.6151999999999997</cx:pt>
          <cx:pt idx="2819">8.2472000000000012</cx:pt>
          <cx:pt idx="2820">8.9232000000000014</cx:pt>
          <cx:pt idx="2821">5.6504099999999999</cx:pt>
          <cx:pt idx="2822">10.5564</cx:pt>
          <cx:pt idx="2823">6.4239000000000006</cx:pt>
          <cx:pt idx="2824">41.648499999999999</cx:pt>
          <cx:pt idx="2825">11.894399999999999</cx:pt>
          <cx:pt idx="2826">12.602399999999999</cx:pt>
          <cx:pt idx="2827">8.1120000000000001</cx:pt>
          <cx:pt idx="2828">6.8171999999999997</cx:pt>
          <cx:pt idx="2829">10.278600000000001</cx:pt>
          <cx:pt idx="2830">6.6860999999999908</cx:pt>
          <cx:pt idx="2831">12.177599999999899</cx:pt>
          <cx:pt idx="2832">7.7063999999999995</cx:pt>
          <cx:pt idx="2833">6.03059999999999</cx:pt>
          <cx:pt idx="2834">13.751459999999899</cx:pt>
          <cx:pt idx="2835">18.33296</cx:pt>
          <cx:pt idx="2836">8.2472000000000012</cx:pt>
          <cx:pt idx="2837">7.7063999999999995</cx:pt>
          <cx:pt idx="2838">8.5175999999999998</cx:pt>
          <cx:pt idx="2839">11.497920000000001</cx:pt>
          <cx:pt idx="2840">10.6952999999999</cx:pt>
          <cx:pt idx="2841">2.1922199999999998</cx:pt>
          <cx:pt idx="2842">7.3008000000000006</cx:pt>
          <cx:pt idx="2843">6.8171999999999997</cx:pt>
          <cx:pt idx="2844">10.6952999999999</cx:pt>
          <cx:pt idx="2845">8.9232000000000014</cx:pt>
          <cx:pt idx="2846">11.90856</cx:pt>
          <cx:pt idx="2847">10.0008</cx:pt>
          <cx:pt idx="2848">8.3823999999999987</cx:pt>
          <cx:pt idx="2849">5.1279999999999903</cx:pt>
          <cx:pt idx="2850">7.9767999999999892</cx:pt>
          <cx:pt idx="2851">12.036</cx:pt>
          <cx:pt idx="2852">8.3823999999999987</cx:pt>
          <cx:pt idx="2853">4.1023999999999994</cx:pt>
          <cx:pt idx="2854">62.069699999999905</cx:pt>
          <cx:pt idx="2855">9.722999999999999</cx:pt>
          <cx:pt idx="2856">12.3333599999999</cx:pt>
          <cx:pt idx="2857">10.4175</cx:pt>
          <cx:pt idx="2858">4.3588000000000005</cx:pt>
          <cx:pt idx="2859">15.182200000000002</cx:pt>
          <cx:pt idx="2860">59.973840000000003</cx:pt>
          <cx:pt idx="2861">10.139699999999999</cx:pt>
          <cx:pt idx="2862">17.0718</cx:pt>
          <cx:pt idx="2863">10.973099999999999</cx:pt>
          <cx:pt idx="2864">7.4359999999999999</cx:pt>
          <cx:pt idx="2865">17.10256</cx:pt>
          <cx:pt idx="2866">8.6527999999999992</cx:pt>
          <cx:pt idx="2867">10.139699999999999</cx:pt>
          <cx:pt idx="2868">19.378799999999998</cx:pt>
          <cx:pt idx="2869">5.63729999999999</cx:pt>
          <cx:pt idx="2870">42.992000000000004</cx:pt>
          <cx:pt idx="2871">15.182200000000002</cx:pt>
          <cx:pt idx="2872">4.4870000000000001</cx:pt>
          <cx:pt idx="2873">11.328000000000001</cx:pt>
          <cx:pt idx="2874">5.5061999999999998</cx:pt>
          <cx:pt idx="2875">13.447799999999999</cx:pt>
          <cx:pt idx="2876">18.456</cx:pt>
          <cx:pt idx="2877">15.476999999999999</cx:pt>
          <cx:pt idx="2878">15.476999999999999</cx:pt>
          <cx:pt idx="2879">9.0583999999999989</cx:pt>
          <cx:pt idx="2880">11.328000000000001</cx:pt>
          <cx:pt idx="2881">17.533199999999997</cx:pt>
          <cx:pt idx="2882">4.4870000000000001</cx:pt>
          <cx:pt idx="2883">6.8171999999999997</cx:pt>
          <cx:pt idx="2884">5.89949999999999</cx:pt>
          <cx:pt idx="2885">6.1748099999999999</cx:pt>
          <cx:pt idx="2886">12.333360000000001</cx:pt>
          <cx:pt idx="2887">4.8715999999999999</cx:pt>
          <cx:pt idx="2888">8.3823999999999987</cx:pt>
          <cx:pt idx="2889">5.6504099999999999</cx:pt>
          <cx:pt idx="2890">15.476999999999999</cx:pt>
          <cx:pt idx="2891">8.7880000000000003</cx:pt>
          <cx:pt idx="2892">4.2305999999999999</cx:pt>
          <cx:pt idx="2893">2.4358</cx:pt>
          <cx:pt idx="2894">7.1655999999999995</cx:pt>
          <cx:pt idx="2895">14.3154</cx:pt>
          <cx:pt idx="2896">11.611199999999899</cx:pt>
          <cx:pt idx="2897">7.4359999999999999</cx:pt>
          <cx:pt idx="2898">11.328000000000001</cx:pt>
          <cx:pt idx="2899">6.3059099999999892</cx:pt>
          <cx:pt idx="2900">6.2927999999999997</cx:pt>
          <cx:pt idx="2901">11.894399999999999</cx:pt>
          <cx:pt idx="2902">13.447799999999999</cx:pt>
          <cx:pt idx="2903">10.4175</cx:pt>
          <cx:pt idx="2904">10.0008</cx:pt>
          <cx:pt idx="2905">12.177599999999899</cx:pt>
          <cx:pt idx="2906">4.8715999999999999</cx:pt>
          <cx:pt idx="2907">8.7880000000000003</cx:pt>
          <cx:pt idx="2908">34.662300000000002</cx:pt>
          <cx:pt idx="2909">6.1748099999999999</cx:pt>
          <cx:pt idx="2910">9.3340800000000197</cx:pt>
          <cx:pt idx="2911">8.8150400000000193</cx:pt>
          <cx:pt idx="2912">16.764200000000002</cx:pt>
          <cx:pt idx="2913">8.3823999999999987</cx:pt>
          <cx:pt idx="2914">3.5895999999999999</cx:pt>
          <cx:pt idx="2915">14.1708</cx:pt>
          <cx:pt idx="2916">38.961499999999901</cx:pt>
          <cx:pt idx="2917">12.825000000000001</cx:pt>
          <cx:pt idx="2918">6.6860999999999908</cx:pt>
          <cx:pt idx="2919">10.5564</cx:pt>
          <cx:pt idx="2920">15.04954</cx:pt>
          <cx:pt idx="2921">5.89949999999999</cx:pt>
          <cx:pt idx="2922">12.967500000000001</cx:pt>
          <cx:pt idx="2923">9.722999999999999</cx:pt>
          <cx:pt idx="2924">45.678999999999995</cx:pt>
          <cx:pt idx="2925">11.328000000000001</cx:pt>
          <cx:pt idx="2926">17.994599999999998</cx:pt>
          <cx:pt idx="2927">11.328000000000001</cx:pt>
          <cx:pt idx="2928">79.588939999999695</cx:pt>
          <cx:pt idx="2929">8.1120000000000001</cx:pt>
          <cx:pt idx="2930">10.5702899999999</cx:pt>
          <cx:pt idx="2931">10.973099999999999</cx:pt>
          <cx:pt idx="2932">7.3008000000000006</cx:pt>
          <cx:pt idx="2933">11.894399999999999</cx:pt>
          <cx:pt idx="2934">8.80152</cx:pt>
          <cx:pt idx="2935">8.2472000000000012</cx:pt>
          <cx:pt idx="2936">10.973099999999999</cx:pt>
          <cx:pt idx="2937">3.34601999999999</cx:pt>
          <cx:pt idx="2938">35.1997</cx:pt>
          <cx:pt idx="2939">9.4451999999999998</cx:pt>
          <cx:pt idx="2940">15.329599999999999</cx:pt>
          <cx:pt idx="2941">7.8551199999999906</cx:pt>
          <cx:pt idx="2942">7.7063999999999995</cx:pt>
          <cx:pt idx="2943">3.5895999999999999</cx:pt>
          <cx:pt idx="2944">5.5193099999999999</cx:pt>
          <cx:pt idx="2945">9.722999999999999</cx:pt>
          <cx:pt idx="2946">10.278600000000001</cx:pt>
          <cx:pt idx="2947">12.036</cx:pt>
          <cx:pt idx="2948">7.3008000000000006</cx:pt>
          <cx:pt idx="2949">45.947700000000005</cx:pt>
          <cx:pt idx="2950">42.750169999999898</cx:pt>
          <cx:pt idx="2951">3.60242</cx:pt>
          <cx:pt idx="2952">5.7683999999999997</cx:pt>
          <cx:pt idx="2953">60.726199999999999</cx:pt>
          <cx:pt idx="2954">14.607339999999899</cx:pt>
          <cx:pt idx="2955">7.1655999999999995</cx:pt>
          <cx:pt idx="2956">16.764200000000002</cx:pt>
          <cx:pt idx="2957">10.834199999999999</cx:pt>
          <cx:pt idx="2958">8.3823999999999987</cx:pt>
          <cx:pt idx="2959">14.1708</cx:pt>
          <cx:pt idx="2960">12.460799999999999</cx:pt>
          <cx:pt idx="2961">7.3008000000000006</cx:pt>
          <cx:pt idx="2962">11.611199999999899</cx:pt>
          <cx:pt idx="2963">13.447799999999999</cx:pt>
          <cx:pt idx="2964">8.3823999999999987</cx:pt>
          <cx:pt idx="2965">10.0008</cx:pt>
          <cx:pt idx="2966">79.266499999999695</cx:pt>
          <cx:pt idx="2967">7.5712000000000002</cx:pt>
          <cx:pt idx="2968">15.6244</cx:pt>
          <cx:pt idx="2969">8.6527999999999992</cx:pt>
          <cx:pt idx="2970">8.9232000000000014</cx:pt>
          <cx:pt idx="2971">4.7562199999999999</cx:pt>
          <cx:pt idx="2972">18.6098</cx:pt>
          <cx:pt idx="2973">8.3823999999999987</cx:pt>
          <cx:pt idx="2974">6.3059099999999892</cx:pt>
          <cx:pt idx="2975">7.1655999999999995</cx:pt>
          <cx:pt idx="2976">14.1708</cx:pt>
          <cx:pt idx="2977">12.825000000000001</cx:pt>
          <cx:pt idx="2978">6.03059999999999</cx:pt>
          <cx:pt idx="2979">12.48912</cx:pt>
          <cx:pt idx="2980">14.3154</cx:pt>
          <cx:pt idx="2981">10.278600000000001</cx:pt>
          <cx:pt idx="2982">12.036</cx:pt>
          <cx:pt idx="2983">6.2927999999999997</cx:pt>
          <cx:pt idx="2984">7.1655999999999995</cx:pt>
          <cx:pt idx="2985">10.973099999999999</cx:pt>
          <cx:pt idx="2986">16.641159999999999</cx:pt>
          <cx:pt idx="2987">3.2178199999999997</cx:pt>
          <cx:pt idx="2988">36.274499999999996</cx:pt>
          <cx:pt idx="2989">7.4359999999999999</cx:pt>
          <cx:pt idx="2990">12.825000000000001</cx:pt>
          <cx:pt idx="2991">12.460799999999999</cx:pt>
          <cx:pt idx="2992">4.4870000000000001</cx:pt>
          <cx:pt idx="2993">8.2472000000000012</cx:pt>
          <cx:pt idx="2994">8.6527999999999992</cx:pt>
          <cx:pt idx="2995">47.828600000000002</cx:pt>
          <cx:pt idx="2996">61.048639999999999</cx:pt>
          <cx:pt idx="2997">11.894399999999999</cx:pt>
          <cx:pt idx="2998">37.3492999999999</cx:pt>
          <cx:pt idx="2999">7.5712000000000002</cx:pt>
          <cx:pt idx="3000">15.9192</cx:pt>
          <cx:pt idx="3001">5.1279999999999903</cx:pt>
          <cx:pt idx="3002">12.602399999999999</cx:pt>
          <cx:pt idx="3003">12.036</cx:pt>
          <cx:pt idx="3004">6.2927999999999997</cx:pt>
          <cx:pt idx="3005">5.5061999999999998</cx:pt>
          <cx:pt idx="3006">8.3959200000000003</cx:pt>
          <cx:pt idx="3007">12.177599999999899</cx:pt>
          <cx:pt idx="3008">10.0008</cx:pt>
          <cx:pt idx="3009">10.4175</cx:pt>
          <cx:pt idx="3010">5.7683999999999997</cx:pt>
          <cx:pt idx="3011">4.6151999999999997</cx:pt>
          <cx:pt idx="3012">18.794359999999998</cx:pt>
          <cx:pt idx="3013">6.03059999999999</cx:pt>
          <cx:pt idx="3014">9.722999999999999</cx:pt>
          <cx:pt idx="3015">11.894399999999999</cx:pt>
          <cx:pt idx="3016">4.3588000000000005</cx:pt>
          <cx:pt idx="3017">9.3340800000000197</cx:pt>
          <cx:pt idx="3018">12.967500000000001</cx:pt>
          <cx:pt idx="3019">5.2561999999999998</cx:pt>
          <cx:pt idx="3020">10.5564</cx:pt>
          <cx:pt idx="3021">8.7880000000000003</cx:pt>
          <cx:pt idx="3022">10.4175</cx:pt>
          <cx:pt idx="3023">3.2050000000000001</cx:pt>
          <cx:pt idx="3024">36.328240000000001</cx:pt>
          <cx:pt idx="3025">2.9614199999999999</cx:pt>
          <cx:pt idx="3026">12.036</cx:pt>
          <cx:pt idx="3027">13.109999999999999</cx:pt>
          <cx:pt idx="3028">7.8415999999999997</cx:pt>
          <cx:pt idx="3029">39.230199999999897</cx:pt>
          <cx:pt idx="3030">2.8203999999999998</cx:pt>
          <cx:pt idx="3031">7.9903199999999996</cx:pt>
          <cx:pt idx="3032">5.9126099999999893</cx:pt>
          <cx:pt idx="3033">7.0574400000000201</cx:pt>
          <cx:pt idx="3034">6.5812200000000196</cx:pt>
          <cx:pt idx="3035">8.1120000000000001</cx:pt>
          <cx:pt idx="3036">48.097299999999898</cx:pt>
          <cx:pt idx="3037">34.930999999999997</cx:pt>
          <cx:pt idx="3038">44.362369999999999</cx:pt>
          <cx:pt idx="3039">16.779579999999999</cx:pt>
          <cx:pt idx="3040">18.794359999999998</cx:pt>
          <cx:pt idx="3041">2.0511999999999997</cx:pt>
          <cx:pt idx="3042">9.8619000000000003</cx:pt>
          <cx:pt idx="3043">12.036</cx:pt>
          <cx:pt idx="3044">16.764200000000002</cx:pt>
          <cx:pt idx="3045">16.93338</cx:pt>
          <cx:pt idx="3046">35.737099999999998</cx:pt>
          <cx:pt idx="3047">7.5712000000000002</cx:pt>
          <cx:pt idx="3048">7.9767999999999892</cx:pt>
          <cx:pt idx="3049">6.1616999999999997</cx:pt>
          <cx:pt idx="3050">36.274499999999996</cx:pt>
          <cx:pt idx="3051">4.7433999999999994</cx:pt>
          <cx:pt idx="3052">6.2927999999999997</cx:pt>
          <cx:pt idx="3053">10.6952999999999</cx:pt>
          <cx:pt idx="3054">12.036</cx:pt>
          <cx:pt idx="3055">10.5564</cx:pt>
          <cx:pt idx="3056">19.225000000000001</cx:pt>
          <cx:pt idx="3057">7.4359999999999999</cx:pt>
          <cx:pt idx="3058">12.177599999999899</cx:pt>
          <cx:pt idx="3059">11.4696</cx:pt>
          <cx:pt idx="3060">7.7334400000000203</cx:pt>
          <cx:pt idx="3061">8.7880000000000003</cx:pt>
          <cx:pt idx="3062">15.182200000000002</cx:pt>
          <cx:pt idx="3063">12.05016</cx:pt>
          <cx:pt idx="3064">7.1655999999999995</cx:pt>
          <cx:pt idx="3065">4.8844199999999995</cx:pt>
          <cx:pt idx="3066">12.036</cx:pt>
          <cx:pt idx="3067">4.7433999999999994</cx:pt>
          <cx:pt idx="3068">14.74</cx:pt>
          <cx:pt idx="3069">7.9767999999999892</cx:pt>
          <cx:pt idx="3070">36.811899999999895</cx:pt>
          <cx:pt idx="3071">8.2472000000000012</cx:pt>
          <cx:pt idx="3072">4.9998000000000005</cx:pt>
          <cx:pt idx="3073">12.347519999999999</cx:pt>
          <cx:pt idx="3074">7.8551199999999906</cx:pt>
          <cx:pt idx="3075">8.9232000000000014</cx:pt>
          <cx:pt idx="3076">12.460799999999999</cx:pt>
          <cx:pt idx="3077">3.2178199999999997</cx:pt>
          <cx:pt idx="3078">6.6860999999999908</cx:pt>
          <cx:pt idx="3079">7.3008000000000006</cx:pt>
          <cx:pt idx="3080">5.5061999999999998</cx:pt>
          <cx:pt idx="3081">5.1279999999999903</cx:pt>
          <cx:pt idx="3082">36.543199999999999</cx:pt>
          <cx:pt idx="3083">41.917200000000001</cx:pt>
          <cx:pt idx="3084">6.03059999999999</cx:pt>
          <cx:pt idx="3085">17.0718</cx:pt>
          <cx:pt idx="3086">8.9232000000000014</cx:pt>
          <cx:pt idx="3087">5.63729999999999</cx:pt>
          <cx:pt idx="3088">6.03059999999999</cx:pt>
          <cx:pt idx="3089">8.7880000000000003</cx:pt>
          <cx:pt idx="3090">10.4175</cx:pt>
          <cx:pt idx="3091">10.153589999999999</cx:pt>
          <cx:pt idx="3092">10.5564</cx:pt>
          <cx:pt idx="3093">52.396499999999705</cx:pt>
          <cx:pt idx="3094">4.7433999999999994</cx:pt>
          <cx:pt idx="3095">8.1120000000000001</cx:pt>
          <cx:pt idx="3096">9.4451999999999998</cx:pt>
          <cx:pt idx="3097">16.625780000000002</cx:pt>
          <cx:pt idx="3098">46.485100000000003</cx:pt>
          <cx:pt idx="3099">3.8460000000000001</cx:pt>
          <cx:pt idx="3100">10.5564</cx:pt>
          <cx:pt idx="3101">10.306379999999999</cx:pt>
          <cx:pt idx="3102">12.460799999999999</cx:pt>
          <cx:pt idx="3103">10.834199999999999</cx:pt>
          <cx:pt idx="3104">5.89949999999999</cx:pt>
          <cx:pt idx="3105">7.9767999999999892</cx:pt>
          <cx:pt idx="3106">5.5061999999999998</cx:pt>
          <cx:pt idx="3107">5.5061999999999998</cx:pt>
          <cx:pt idx="3108">16.79496</cx:pt>
          <cx:pt idx="3109">9.4451999999999998</cx:pt>
          <cx:pt idx="3110">6.1748099999999999</cx:pt>
          <cx:pt idx="3111">10.986989999999899</cx:pt>
          <cx:pt idx="3112">10.4175</cx:pt>
          <cx:pt idx="3113">4.6151999999999997</cx:pt>
          <cx:pt idx="3114">19.532599999999999</cx:pt>
          <cx:pt idx="3115">12.036</cx:pt>
          <cx:pt idx="3116">17.0718</cx:pt>
          <cx:pt idx="3117">13.5924</cx:pt>
          <cx:pt idx="3118">6.6860999999999908</cx:pt>
          <cx:pt idx="3119">6.03059999999999</cx:pt>
          <cx:pt idx="3120">4.1023999999999994</cx:pt>
          <cx:pt idx="3121">11.4696</cx:pt>
          <cx:pt idx="3122">49.709499999999998</cx:pt>
          <cx:pt idx="3123">12.602399999999999</cx:pt>
          <cx:pt idx="3124">1.42302</cx:pt>
          <cx:pt idx="3125">12.319199999999899</cx:pt>
          <cx:pt idx="3126">9.7368899999999989</cx:pt>
          <cx:pt idx="3127">19.071199999999997</cx:pt>
          <cx:pt idx="3128">12.319199999999899</cx:pt>
          <cx:pt idx="3129">13.736999999999998</cx:pt>
          <cx:pt idx="3130">38.182270000000003</cx:pt>
          <cx:pt idx="3131">2.1922199999999998</cx:pt>
          <cx:pt idx="3132">11.328000000000001</cx:pt>
          <cx:pt idx="3133">8.7880000000000003</cx:pt>
          <cx:pt idx="3134">8.2472000000000012</cx:pt>
          <cx:pt idx="3135">12.036</cx:pt>
          <cx:pt idx="3136">8.2472000000000012</cx:pt>
          <cx:pt idx="3137">6.03059999999999</cx:pt>
          <cx:pt idx="3138">13.447799999999999</cx:pt>
          <cx:pt idx="3139">9.0583999999999989</cx:pt>
          <cx:pt idx="3140">8.2472000000000012</cx:pt>
          <cx:pt idx="3141">5.63729999999999</cx:pt>
          <cx:pt idx="3142">14.1708</cx:pt>
          <cx:pt idx="3143">15.034799999999901</cx:pt>
          <cx:pt idx="3144">10.139699999999999</cx:pt>
          <cx:pt idx="3145">9.0583999999999989</cx:pt>
          <cx:pt idx="3146">5.2561999999999998</cx:pt>
          <cx:pt idx="3147">7.1655999999999995</cx:pt>
          <cx:pt idx="3148">7.4495199999999997</cx:pt>
          <cx:pt idx="3149">8.2472000000000012</cx:pt>
          <cx:pt idx="3150">13.765920000000001</cx:pt>
          <cx:pt idx="3151">5.5061999999999998</cx:pt>
          <cx:pt idx="3152">14.62208</cx:pt>
          <cx:pt idx="3153">6.03059999999999</cx:pt>
          <cx:pt idx="3154">7.4359999999999999</cx:pt>
          <cx:pt idx="3155">17.2256</cx:pt>
          <cx:pt idx="3156">5.63729999999999</cx:pt>
          <cx:pt idx="3157">15.9192</cx:pt>
          <cx:pt idx="3158">44.120540000000005</cx:pt>
          <cx:pt idx="3159">2.1922199999999998</cx:pt>
          <cx:pt idx="3160">10.973099999999999</cx:pt>
          <cx:pt idx="3161">3.9741999999999997</cx:pt>
          <cx:pt idx="3162">11.4696</cx:pt>
          <cx:pt idx="3163">14.1708</cx:pt>
          <cx:pt idx="3164">7.5712000000000002</cx:pt>
          <cx:pt idx="3165">4.3588000000000005</cx:pt>
          <cx:pt idx="3166">7.8415999999999997</cx:pt>
          <cx:pt idx="3167">4.9998000000000005</cx:pt>
          <cx:pt idx="3168">7.5712000000000002</cx:pt>
          <cx:pt idx="3169">18.302199999999999</cx:pt>
          <cx:pt idx="3170">10.7091899999999</cx:pt>
          <cx:pt idx="3171">37.376169999999995</cx:pt>
          <cx:pt idx="3172">7.0574400000000201</cx:pt>
          <cx:pt idx="3173">14.8873999999999</cx:pt>
          <cx:pt idx="3174">10.0008</cx:pt>
          <cx:pt idx="3175">10.4175</cx:pt>
          <cx:pt idx="3176">9.722999999999999</cx:pt>
          <cx:pt idx="3177">6.5681099999999892</cx:pt>
          <cx:pt idx="3178">9.5840999999999994</cx:pt>
          <cx:pt idx="3179">50.515599999999907</cx:pt>
          <cx:pt idx="3180">15.182200000000002</cx:pt>
          <cx:pt idx="3181">6.5549999999999997</cx:pt>
          <cx:pt idx="3182">15.182200000000002</cx:pt>
          <cx:pt idx="3183">9.8619000000000003</cx:pt>
          <cx:pt idx="3184">5.89949999999999</cx:pt>
          <cx:pt idx="3185">7.9767999999999892</cx:pt>
          <cx:pt idx="3186">9.5840999999999994</cx:pt>
          <cx:pt idx="3187">6.4239000000000006</cx:pt>
          <cx:pt idx="3188">6.6860999999999908</cx:pt>
          <cx:pt idx="3189">9.722999999999999</cx:pt>
          <cx:pt idx="3190">8.3823999999999987</cx:pt>
          <cx:pt idx="3191">9.5840999999999994</cx:pt>
          <cx:pt idx="3192">6.3059099999999892</cx:pt>
          <cx:pt idx="3193">13.881599999999999</cx:pt>
          <cx:pt idx="3194">9.7368899999999989</cx:pt>
          <cx:pt idx="3195">17.3794</cx:pt>
          <cx:pt idx="3196">12.967500000000001</cx:pt>
          <cx:pt idx="3197">18.148399999999899</cx:pt>
          <cx:pt idx="3198">8.5175999999999998</cx:pt>
          <cx:pt idx="3199">5.5193099999999999</cx:pt>
          <cx:pt idx="3200">5.7683999999999997</cx:pt>
          <cx:pt idx="3201">73.355099999999695</cx:pt>
          <cx:pt idx="3202">44.872899999999902</cx:pt>
          <cx:pt idx="3203">37.886699999999998</cx:pt>
          <cx:pt idx="3204">11.611199999999899</cx:pt>
          <cx:pt idx="3205">6.03059999999999</cx:pt>
          <cx:pt idx="3206">8.7880000000000003</cx:pt>
          <cx:pt idx="3207">35.737099999999998</cx:pt>
          <cx:pt idx="3208">9.8619000000000003</cx:pt>
          <cx:pt idx="3209">5.63729999999999</cx:pt>
          <cx:pt idx="3210">7.9767999999999892</cx:pt>
          <cx:pt idx="3211">6.8171999999999997</cx:pt>
          <cx:pt idx="3212">4.6151999999999997</cx:pt>
          <cx:pt idx="3213">11.894399999999999</cx:pt>
          <cx:pt idx="3214">5.89949999999999</cx:pt>
          <cx:pt idx="3215">18.302199999999999</cx:pt>
          <cx:pt idx="3216">10.5564</cx:pt>
          <cx:pt idx="3217">19.686400000000003</cx:pt>
          <cx:pt idx="3218">10.5564</cx:pt>
          <cx:pt idx="3219">15.476999999999999</cx:pt>
          <cx:pt idx="3220">11.611199999999899</cx:pt>
          <cx:pt idx="3221">3.0768</cx:pt>
          <cx:pt idx="3222">15.6244</cx:pt>
          <cx:pt idx="3223">40.305</cx:pt>
          <cx:pt idx="3224">12.460799999999999</cx:pt>
          <cx:pt idx="3225">19.378799999999998</cx:pt>
          <cx:pt idx="3226">12.602399999999999</cx:pt>
          <cx:pt idx="3227">17.0718</cx:pt>
          <cx:pt idx="3228">44.3623699999997</cx:pt>
          <cx:pt idx="3229">8.5311199999999907</cx:pt>
          <cx:pt idx="3230">9.7368899999999989</cx:pt>
          <cx:pt idx="3231">11.4696</cx:pt>
          <cx:pt idx="3232">12.05016</cx:pt>
          <cx:pt idx="3233">10.834199999999999</cx:pt>
          <cx:pt idx="3234">11.611199999999899</cx:pt>
          <cx:pt idx="3235">8.1120000000000001</cx:pt>
          <cx:pt idx="3236">11.611199999999899</cx:pt>
          <cx:pt idx="3237">7.463040000000019</cx:pt>
          <cx:pt idx="3238">3.8460000000000001</cx:pt>
          <cx:pt idx="3239">2.7050200000000002</cx:pt>
          <cx:pt idx="3240">11.328000000000001</cx:pt>
          <cx:pt idx="3241">5.63729999999999</cx:pt>
          <cx:pt idx="3242">10.278600000000001</cx:pt>
          <cx:pt idx="3243">14.607339999999999</cx:pt>
          <cx:pt idx="3244">2.5639999999999898</cx:pt>
          <cx:pt idx="3245">10.278600000000001</cx:pt>
          <cx:pt idx="3246">10.0008</cx:pt>
          <cx:pt idx="3247">10.278600000000001</cx:pt>
          <cx:pt idx="3248">44.335500000000003</cx:pt>
          <cx:pt idx="3249">8.7880000000000003</cx:pt>
          <cx:pt idx="3250">9.8619000000000003</cx:pt>
          <cx:pt idx="3251">13.896059999999999</cx:pt>
          <cx:pt idx="3252">8.7880000000000003</cx:pt>
          <cx:pt idx="3253">12.05016</cx:pt>
          <cx:pt idx="3254">4.8715999999999999</cx:pt>
          <cx:pt idx="3255">5.63729999999999</cx:pt>
          <cx:pt idx="3256">7.1791200000000002</cx:pt>
          <cx:pt idx="3257">8.1120000000000001</cx:pt>
          <cx:pt idx="3258">5.1408199999999997</cx:pt>
          <cx:pt idx="3259">7.9767999999999892</cx:pt>
          <cx:pt idx="3260">10.278600000000001</cx:pt>
          <cx:pt idx="3261">18.302199999999999</cx:pt>
          <cx:pt idx="3262">18.6098</cx:pt>
          <cx:pt idx="3263">17.3794</cx:pt>
          <cx:pt idx="3264">15.771799999999999</cx:pt>
          <cx:pt idx="3265">5.4309900000000004</cx:pt>
          <cx:pt idx="3266">4.7455199999999902</cx:pt>
          <cx:pt idx="3267">3.08962</cx:pt>
          <cx:pt idx="3268">3.08962</cx:pt>
          <cx:pt idx="3269">8.5639399999999899</cx:pt>
          <cx:pt idx="3270">12.93458</cx:pt>
          <cx:pt idx="3271">1.42301999999999</cx:pt>
          <cx:pt idx="3272">12.16558</cx:pt>
          <cx:pt idx="3273">11.704180000000001</cx:pt>
          <cx:pt idx="3274">42.2127699999999</cx:pt>
          <cx:pt idx="3275">35.763969999999901</cx:pt>
          <cx:pt idx="3276">1.42301999999999</cx:pt>
          <cx:pt idx="3277">5.1511199999999997</cx:pt>
          <cx:pt idx="3278">31.464769999999998</cx:pt>
          <cx:pt idx="3279">6.8106600000000004</cx:pt>
          <cx:pt idx="3280">6.8106600000000004</cx:pt>
          <cx:pt idx="3281">2.7050200000000002</cx:pt>
          <cx:pt idx="3282">36.301369999999899</cx:pt>
          <cx:pt idx="3283">4.4751199999999898</cx:pt>
          <cx:pt idx="3284">6.4057800000000302</cx:pt>
          <cx:pt idx="3285">1.42301999999999</cx:pt>
          <cx:pt idx="3286">29.85257</cx:pt>
          <cx:pt idx="3287">12.473180000000001</cx:pt>
          <cx:pt idx="3288">6.5214599999999994</cx:pt>
          <cx:pt idx="3289">28.777769999999904</cx:pt>
          <cx:pt idx="3290">4.6103199999999998</cx:pt>
          <cx:pt idx="3291">7.6782600000000008</cx:pt>
          <cx:pt idx="3292">4.20472</cx:pt>
          <cx:pt idx="3293">33.883069999999996</cx:pt>
          <cx:pt idx="3294">29.583869999999902</cx:pt>
          <cx:pt idx="3295">2.9614199999999999</cx:pt>
          <cx:pt idx="3296">2.5768200000000001</cx:pt>
          <cx:pt idx="3297">2.5768200000000001</cx:pt>
          <cx:pt idx="3298">12.319379999999901</cx:pt>
          <cx:pt idx="3299">7.6782599999999892</cx:pt>
          <cx:pt idx="3300">9.1535399999999907</cx:pt>
          <cx:pt idx="3301">10.037939999999899</cx:pt>
          <cx:pt idx="3302">10.18534</cx:pt>
          <cx:pt idx="3303">14.472579999999999</cx:pt>
          <cx:pt idx="3304">7.8228599999999995</cx:pt>
          <cx:pt idx="3305">9.7431400000000004</cx:pt>
          <cx:pt idx="3306">11.704180000000001</cx:pt>
          <cx:pt idx="3307">5.6781600000000001</cx:pt>
          <cx:pt idx="3308">42.212769999999701</cx:pt>
          <cx:pt idx="3309">1.6794199999999999</cx:pt>
          <cx:pt idx="3310">1.80762</cx:pt>
        </cx:lvl>
      </cx:numDim>
    </cx:data>
    <cx:data id="2">
      <cx:numDim type="val">
        <cx:f>Sheet2!$C$2:$C$11265</cx:f>
        <cx:lvl ptCount="11264" formatCode="General">
          <cx:pt idx="0">55.620899999999992</cx:pt>
          <cx:pt idx="1">10.139699999999999</cx:pt>
          <cx:pt idx="2">14.1708</cx:pt>
          <cx:pt idx="3">7.3008000000000006</cx:pt>
          <cx:pt idx="4">10.834199999999999</cx:pt>
          <cx:pt idx="5">8.1120000000000001</cx:pt>
          <cx:pt idx="6">50.246899999999904</cx:pt>
          <cx:pt idx="7">18.778979999999901</cx:pt>
          <cx:pt idx="8">11.611199999999899</cx:pt>
          <cx:pt idx="9">13.47672</cx:pt>
          <cx:pt idx="10">40.842399999999998</cx:pt>
          <cx:pt idx="11">13.1242499999999</cx:pt>
          <cx:pt idx="12">41.379800000000003</cx:pt>
          <cx:pt idx="13">19.378799999999998</cx:pt>
          <cx:pt idx="14">17.533199999999997</cx:pt>
          <cx:pt idx="15">7.9767999999999892</cx:pt>
          <cx:pt idx="16">15.6244</cx:pt>
          <cx:pt idx="17">3.5895999999999999</cx:pt>
          <cx:pt idx="18">51.859100000000005</cx:pt>
          <cx:pt idx="19">42.723299999999995</cx:pt>
          <cx:pt idx="20">12.3333599999999</cx:pt>
          <cx:pt idx="21">36.811899999999895</cx:pt>
          <cx:pt idx="22">9.722999999999999</cx:pt>
          <cx:pt idx="23">10.834199999999999</cx:pt>
          <cx:pt idx="24">6.4239000000000006</cx:pt>
          <cx:pt idx="25">39.498899999999999</cx:pt>
          <cx:pt idx="26">18.456</cx:pt>
          <cx:pt idx="27">35.495269999999898</cx:pt>
          <cx:pt idx="28">9.4451999999999998</cx:pt>
          <cx:pt idx="29">12.825000000000001</cx:pt>
          <cx:pt idx="30">13.736999999999899</cx:pt>
          <cx:pt idx="31">7.1655999999999995</cx:pt>
          <cx:pt idx="32">15.344340000000001</cx:pt>
          <cx:pt idx="33">19.101960000000002</cx:pt>
          <cx:pt idx="34">6.5549999999999997</cx:pt>
          <cx:pt idx="35">53.7937399999999</cx:pt>
          <cx:pt idx="36">8.6527999999999992</cx:pt>
          <cx:pt idx="37">10.139699999999999</cx:pt>
          <cx:pt idx="38">43.556270000000005</cx:pt>
          <cx:pt idx="39">44.872899999999902</cx:pt>
          <cx:pt idx="40">12.460799999999999</cx:pt>
          <cx:pt idx="41">40.036300000000004</cx:pt>
          <cx:pt idx="42">15.491739999999901</cx:pt>
          <cx:pt idx="43">4.7433999999999994</cx:pt>
          <cx:pt idx="44">47.828600000000002</cx:pt>
          <cx:pt idx="45">11.4696</cx:pt>
          <cx:pt idx="46">10.6952999999999</cx:pt>
          <cx:pt idx="47">36.274499999999996</cx:pt>
          <cx:pt idx="48">8.7880000000000003</cx:pt>
          <cx:pt idx="49">11.611199999999899</cx:pt>
          <cx:pt idx="50">13.765920000000001</cx:pt>
          <cx:pt idx="51">35.495269999999898</cx:pt>
          <cx:pt idx="52">40.573700000000002</cx:pt>
          <cx:pt idx="53">10.5564</cx:pt>
          <cx:pt idx="54">38.719670000000001</cx:pt>
          <cx:pt idx="55">5.1279999999999903</cx:pt>
          <cx:pt idx="56">7.7063999999999995</cx:pt>
          <cx:pt idx="57">55.620899999999992</cx:pt>
          <cx:pt idx="58">16.779579999999999</cx:pt>
          <cx:pt idx="59">38.424100000000003</cx:pt>
          <cx:pt idx="60">5.2561999999999998</cx:pt>
          <cx:pt idx="61">8.5175999999999998</cx:pt>
          <cx:pt idx="62">18.6098</cx:pt>
          <cx:pt idx="63">41.1111</cx:pt>
          <cx:pt idx="64">36.032670000000003</cx:pt>
          <cx:pt idx="65">35.495269999999898</cx:pt>
          <cx:pt idx="66">9.722999999999999</cx:pt>
          <cx:pt idx="67">47.559899999999999</cx:pt>
          <cx:pt idx="68">6.5549999999999997</cx:pt>
          <cx:pt idx="69">11.92272</cx:pt>
          <cx:pt idx="70">8.9232000000000014</cx:pt>
          <cx:pt idx="71">4.8715999999999999</cx:pt>
          <cx:pt idx="72">13.109999999999999</cx:pt>
          <cx:pt idx="73">10.139699999999999</cx:pt>
          <cx:pt idx="74">11.611199999999899</cx:pt>
          <cx:pt idx="75">12.98175</cx:pt>
          <cx:pt idx="76">62.069699999999905</cx:pt>
          <cx:pt idx="77">7.4359999999999999</cx:pt>
          <cx:pt idx="78">10.139699999999999</cx:pt>
          <cx:pt idx="79">41.1111</cx:pt>
          <cx:pt idx="80">10.4175</cx:pt>
          <cx:pt idx="81">43.798099999999998</cx:pt>
          <cx:pt idx="82">16.764200000000002</cx:pt>
          <cx:pt idx="83">38.988370000000003</cx:pt>
          <cx:pt idx="84">37.886699999999998</cx:pt>
          <cx:pt idx="85">15.771799999999999</cx:pt>
          <cx:pt idx="86">11.34216</cx:pt>
          <cx:pt idx="87">44.066799999999901</cx:pt>
          <cx:pt idx="88">8.9232000000000014</cx:pt>
          <cx:pt idx="89">10.139699999999999</cx:pt>
          <cx:pt idx="90">11.611199999999899</cx:pt>
          <cx:pt idx="91">17.687000000000001</cx:pt>
          <cx:pt idx="92">13.881599999999999</cx:pt>
          <cx:pt idx="93">37.886699999999998</cx:pt>
          <cx:pt idx="94">38.961499999999901</cx:pt>
          <cx:pt idx="95">50.515599999999907</cx:pt>
          <cx:pt idx="96">36.032670000000003</cx:pt>
          <cx:pt idx="97">14.1708</cx:pt>
          <cx:pt idx="98">9.8619000000000003</cx:pt>
          <cx:pt idx="99">6.4239000000000006</cx:pt>
          <cx:pt idx="100">5.1408199999999997</cx:pt>
          <cx:pt idx="101">4.6151999999999997</cx:pt>
          <cx:pt idx="102">39.498899999999999</cx:pt>
          <cx:pt idx="103">9.0583999999999989</cx:pt>
          <cx:pt idx="104">4.3588000000000005</cx:pt>
          <cx:pt idx="105">54.304270000000002</cx:pt>
          <cx:pt idx="106">12.825000000000001</cx:pt>
          <cx:pt idx="107">18.302199999999999</cx:pt>
          <cx:pt idx="108">46.216399999999901</cx:pt>
          <cx:pt idx="109">17.840799999999902</cx:pt>
          <cx:pt idx="110">44.6041999999997</cx:pt>
          <cx:pt idx="111">2.1922199999999998</cx:pt>
          <cx:pt idx="112">8.1120000000000001</cx:pt>
          <cx:pt idx="113">7.463040000000019</cx:pt>
          <cx:pt idx="114">7.3008000000000006</cx:pt>
          <cx:pt idx="115">10.5564</cx:pt>
          <cx:pt idx="116">13.736999999999998</cx:pt>
          <cx:pt idx="117">8.1120000000000001</cx:pt>
          <cx:pt idx="118">9.8619000000000003</cx:pt>
          <cx:pt idx="119">57.528669999999906</cx:pt>
          <cx:pt idx="120">18.148399999999899</cx:pt>
          <cx:pt idx="121">36.838769999999997</cx:pt>
          <cx:pt idx="122">4.7690400000000199</cx:pt>
          <cx:pt idx="123">17.0718</cx:pt>
          <cx:pt idx="124">70.936800000000005</cx:pt>
          <cx:pt idx="125">19.378799999999998</cx:pt>
          <cx:pt idx="126">8.2472000000000012</cx:pt>
          <cx:pt idx="127">18.3175799999999</cx:pt>
          <cx:pt idx="128">5.89949999999999</cx:pt>
          <cx:pt idx="129">19.686400000000003</cx:pt>
          <cx:pt idx="130">51.052999999999905</cx:pt>
          <cx:pt idx="131">19.378799999999998</cx:pt>
          <cx:pt idx="132">6.03059999999999</cx:pt>
          <cx:pt idx="133">5.7683999999999997</cx:pt>
          <cx:pt idx="134">7.4359999999999999</cx:pt>
          <cx:pt idx="135">4.2305999999999999</cx:pt>
          <cx:pt idx="136">10.6952999999999</cx:pt>
          <cx:pt idx="137">17.2256</cx:pt>
          <cx:pt idx="138">18.6098</cx:pt>
          <cx:pt idx="139">10.973099999999999</cx:pt>
          <cx:pt idx="140">18.456</cx:pt>
          <cx:pt idx="141">10.0008</cx:pt>
          <cx:pt idx="142">7.3008000000000006</cx:pt>
          <cx:pt idx="143">11.752799999999999</cx:pt>
          <cx:pt idx="144">5.7683999999999997</cx:pt>
          <cx:pt idx="145">13.896059999999999</cx:pt>
          <cx:pt idx="146">10.278600000000001</cx:pt>
          <cx:pt idx="147">7.9767999999999892</cx:pt>
          <cx:pt idx="148">51.348569999999903</cx:pt>
          <cx:pt idx="149">18.302199999999999</cx:pt>
          <cx:pt idx="150">19.225000000000001</cx:pt>
          <cx:pt idx="151">12.460799999999999</cx:pt>
          <cx:pt idx="152">56.158299999999905</cx:pt>
          <cx:pt idx="153">15.182200000000002</cx:pt>
          <cx:pt idx="154">37.618000000000002</cx:pt>
          <cx:pt idx="155">12.036</cx:pt>
          <cx:pt idx="156">10.4175</cx:pt>
          <cx:pt idx="157">16.917999999999999</cx:pt>
          <cx:pt idx="158">11.752799999999999</cx:pt>
          <cx:pt idx="159">5.7683999999999997</cx:pt>
          <cx:pt idx="160">4.1152199999999999</cx:pt>
          <cx:pt idx="161">46.216399999999901</cx:pt>
          <cx:pt idx="162">17.3794</cx:pt>
          <cx:pt idx="163">50.784299999999902</cx:pt>
          <cx:pt idx="164">12.460799999999999</cx:pt>
          <cx:pt idx="165">17.533199999999997</cx:pt>
          <cx:pt idx="166">7.9767999999999892</cx:pt>
          <cx:pt idx="167">9.4451999999999998</cx:pt>
          <cx:pt idx="168">4.3588000000000005</cx:pt>
          <cx:pt idx="169">7.1655999999999995</cx:pt>
          <cx:pt idx="170">5.0254400000000201</cx:pt>
          <cx:pt idx="171">12.036</cx:pt>
          <cx:pt idx="172">6.1616999999999997</cx:pt>
          <cx:pt idx="173">4.4870000000000001</cx:pt>
          <cx:pt idx="174">12.036</cx:pt>
          <cx:pt idx="175">5.5193099999999999</cx:pt>
          <cx:pt idx="176">6.6860999999999908</cx:pt>
          <cx:pt idx="177">43.2607</cx:pt>
          <cx:pt idx="178">11.611199999999899</cx:pt>
          <cx:pt idx="179">19.394179999999999</cx:pt>
          <cx:pt idx="180">9.722999999999999</cx:pt>
          <cx:pt idx="181">44.389240000000001</cx:pt>
          <cx:pt idx="182">51.052999999999905</cx:pt>
          <cx:pt idx="183">17.24098</cx:pt>
          <cx:pt idx="184">7.9767999999999892</cx:pt>
          <cx:pt idx="185">9.4451999999999998</cx:pt>
          <cx:pt idx="186">39.794469999999997</cx:pt>
          <cx:pt idx="187">13.31766</cx:pt>
          <cx:pt idx="188">10.5564</cx:pt>
          <cx:pt idx="189">9.722999999999999</cx:pt>
          <cx:pt idx="190">52.933899999999902</cx:pt>
          <cx:pt idx="191">6.2927999999999997</cx:pt>
          <cx:pt idx="192">3.3332000000000002</cx:pt>
          <cx:pt idx="193">49.1721</cx:pt>
          <cx:pt idx="194">8.3823999999999987</cx:pt>
          <cx:pt idx="195">6.2927999999999997</cx:pt>
          <cx:pt idx="196">4.6408400000000194</cx:pt>
          <cx:pt idx="197">12.036</cx:pt>
          <cx:pt idx="198">14.3154</cx:pt>
          <cx:pt idx="199">3.7178000000000004</cx:pt>
          <cx:pt idx="200">3.2050000000000001</cx:pt>
          <cx:pt idx="201">8.9232000000000014</cx:pt>
          <cx:pt idx="202">17.394779999999898</cx:pt>
          <cx:pt idx="203">5.5061999999999998</cx:pt>
          <cx:pt idx="204">53.202599999999997</cx:pt>
          <cx:pt idx="205">11.894399999999999</cx:pt>
          <cx:pt idx="206">18.6098</cx:pt>
          <cx:pt idx="207">10.6952999999999</cx:pt>
          <cx:pt idx="208">53.498169999999902</cx:pt>
          <cx:pt idx="209">17.0718</cx:pt>
          <cx:pt idx="210">7.7199199999999992</cx:pt>
          <cx:pt idx="211">11.328000000000001</cx:pt>
          <cx:pt idx="212">6.5681099999999892</cx:pt>
          <cx:pt idx="213">43.529399999999903</cx:pt>
          <cx:pt idx="214">7.4359999999999999</cx:pt>
          <cx:pt idx="215">10.0008</cx:pt>
          <cx:pt idx="216">15.034799999999901</cx:pt>
          <cx:pt idx="217">58.576599999999701</cx:pt>
          <cx:pt idx="218">37.886699999999998</cx:pt>
          <cx:pt idx="219">8.3823999999999987</cx:pt>
          <cx:pt idx="220">5.89949999999999</cx:pt>
          <cx:pt idx="221">14.0406599999999</cx:pt>
          <cx:pt idx="222">10.834199999999999</cx:pt>
          <cx:pt idx="223">8.7880000000000003</cx:pt>
          <cx:pt idx="224">49.978199999999703</cx:pt>
          <cx:pt idx="225">17.3794</cx:pt>
          <cx:pt idx="226">37.080599999999905</cx:pt>
          <cx:pt idx="227">53.498169999999902</cx:pt>
          <cx:pt idx="228">37.3492999999999</cx:pt>
          <cx:pt idx="229">10.973099999999999</cx:pt>
          <cx:pt idx="230">3.8460000000000001</cx:pt>
          <cx:pt idx="231">9.0583999999999989</cx:pt>
          <cx:pt idx="232">5.2561999999999998</cx:pt>
          <cx:pt idx="233">15.491739999999901</cx:pt>
          <cx:pt idx="234">58.845299999999902</cx:pt>
          <cx:pt idx="235">4.4870000000000001</cx:pt>
          <cx:pt idx="236">13.109999999999999</cx:pt>
          <cx:pt idx="237">18.456</cx:pt>
          <cx:pt idx="238">39.498899999999999</cx:pt>
          <cx:pt idx="239">4.8715999999999999</cx:pt>
          <cx:pt idx="240">7.4359999999999999</cx:pt>
          <cx:pt idx="241">2.6922000000000001</cx:pt>
          <cx:pt idx="242">6.1616999999999997</cx:pt>
          <cx:pt idx="243">16.779579999999999</cx:pt>
          <cx:pt idx="244">12.967499999999902</cx:pt>
          <cx:pt idx="245">13.881599999999999</cx:pt>
          <cx:pt idx="246">39.230199999999897</cx:pt>
          <cx:pt idx="247">7.7063999999999995</cx:pt>
          <cx:pt idx="248">5.1279999999999903</cx:pt>
          <cx:pt idx="249">15.182200000000002</cx:pt>
          <cx:pt idx="250">3.9741999999999997</cx:pt>
          <cx:pt idx="251">11.752799999999999</cx:pt>
          <cx:pt idx="252">12.967500000000001</cx:pt>
          <cx:pt idx="253">48.903400000000005</cx:pt>
          <cx:pt idx="254">34.930999999999997</cx:pt>
          <cx:pt idx="255">52.933899999999902</cx:pt>
          <cx:pt idx="256">42.185899999999997</cx:pt>
          <cx:pt idx="257">39.767599999999995</cx:pt>
          <cx:pt idx="258">8.3823999999999987</cx:pt>
          <cx:pt idx="259">18.932779999999998</cx:pt>
          <cx:pt idx="260">3.4613999999999998</cx:pt>
          <cx:pt idx="261">5.5061999999999998</cx:pt>
          <cx:pt idx="262">14.055119999999999</cx:pt>
          <cx:pt idx="263">7.7063999999999995</cx:pt>
          <cx:pt idx="264">39.230199999999897</cx:pt>
          <cx:pt idx="265">15.491739999999901</cx:pt>
          <cx:pt idx="266">13.109999999999999</cx:pt>
          <cx:pt idx="267">11.894399999999999</cx:pt>
          <cx:pt idx="268">38.961499999999901</cx:pt>
          <cx:pt idx="269">5.5193099999999999</cx:pt>
          <cx:pt idx="270">37.3492999999999</cx:pt>
          <cx:pt idx="271">19.532599999999999</cx:pt>
          <cx:pt idx="272">13.736999999999998</cx:pt>
          <cx:pt idx="273">2.0511999999999997</cx:pt>
          <cx:pt idx="274">14.3154</cx:pt>
          <cx:pt idx="275">9.0583999999999989</cx:pt>
          <cx:pt idx="276">7.5847200000000008</cx:pt>
          <cx:pt idx="277">10.02858</cx:pt>
          <cx:pt idx="278">6.8171999999999997</cx:pt>
          <cx:pt idx="279">13.109999999999999</cx:pt>
          <cx:pt idx="280">38.424100000000003</cx:pt>
          <cx:pt idx="281">40.331869999999995</cx:pt>
          <cx:pt idx="282">18.917400000000001</cx:pt>
          <cx:pt idx="283">49.978200000000001</cx:pt>
          <cx:pt idx="284">5.0126199999999894</cx:pt>
          <cx:pt idx="285">7.1655999999999995</cx:pt>
          <cx:pt idx="286">11.328000000000001</cx:pt>
          <cx:pt idx="287">6.8171999999999997</cx:pt>
          <cx:pt idx="288">7.4359999999999999</cx:pt>
          <cx:pt idx="289">69.05589999999971</cx:pt>
          <cx:pt idx="290">16.917999999999999</cx:pt>
          <cx:pt idx="291">5.63729999999999</cx:pt>
          <cx:pt idx="292">7.1655999999999995</cx:pt>
          <cx:pt idx="293">3.9741999999999997</cx:pt>
          <cx:pt idx="294">8.3823999999999987</cx:pt>
          <cx:pt idx="295">34.930999999999997</cx:pt>
          <cx:pt idx="296">35.468400000000003</cx:pt>
          <cx:pt idx="297">35.226570000000002</cx:pt>
          <cx:pt idx="298">8.7880000000000003</cx:pt>
          <cx:pt idx="299">19.532599999999999</cx:pt>
          <cx:pt idx="300">6.5549999999999997</cx:pt>
          <cx:pt idx="301">6.6992099999999999</cx:pt>
          <cx:pt idx="302">8.6527999999999992</cx:pt>
          <cx:pt idx="303">36.811899999999895</cx:pt>
          <cx:pt idx="304">6.03059999999999</cx:pt>
          <cx:pt idx="305">17.702379999999902</cx:pt>
          <cx:pt idx="306">12.333360000000001</cx:pt>
          <cx:pt idx="307">41.648499999999999</cx:pt>
          <cx:pt idx="308">51.3216999999999</cx:pt>
          <cx:pt idx="309">4.9998000000000005</cx:pt>
          <cx:pt idx="310">7.8415999999999997</cx:pt>
          <cx:pt idx="311">13.896059999999999</cx:pt>
          <cx:pt idx="312">7.4359999999999999</cx:pt>
          <cx:pt idx="313">7.8415999999999997</cx:pt>
          <cx:pt idx="314">38.692799999999998</cx:pt>
          <cx:pt idx="315">15.771799999999999</cx:pt>
          <cx:pt idx="316">18.302199999999999</cx:pt>
          <cx:pt idx="317">42.723299999999995</cx:pt>
          <cx:pt idx="318">40.036300000000004</cx:pt>
          <cx:pt idx="319">37.3492999999999</cx:pt>
          <cx:pt idx="320">8.7880000000000003</cx:pt>
          <cx:pt idx="321">8.5175999999999998</cx:pt>
          <cx:pt idx="322">5.63729999999999</cx:pt>
          <cx:pt idx="323">15.491739999999901</cx:pt>
          <cx:pt idx="324">4.8715999999999999</cx:pt>
          <cx:pt idx="325">16.917999999999999</cx:pt>
          <cx:pt idx="326">48.903400000000005</cx:pt>
          <cx:pt idx="327">7.5712000000000002</cx:pt>
          <cx:pt idx="328">10.5564</cx:pt>
          <cx:pt idx="329">7.0574400000000201</cx:pt>
          <cx:pt idx="330">7.1655999999999995</cx:pt>
          <cx:pt idx="331">52.960769999999904</cx:pt>
          <cx:pt idx="332">19.532599999999999</cx:pt>
          <cx:pt idx="333">19.532599999999999</cx:pt>
          <cx:pt idx="334">15.182200000000002</cx:pt>
          <cx:pt idx="335">11.328000000000001</cx:pt>
          <cx:pt idx="336">4.2562400000000205</cx:pt>
          <cx:pt idx="337">10.834199999999999</cx:pt>
          <cx:pt idx="338">7.9767999999999892</cx:pt>
          <cx:pt idx="339">15.182200000000002</cx:pt>
          <cx:pt idx="340">38.961499999999901</cx:pt>
          <cx:pt idx="341">35.468400000000003</cx:pt>
          <cx:pt idx="342">15.786539999999999</cx:pt>
          <cx:pt idx="343">54.8147999999997</cx:pt>
          <cx:pt idx="344">11.894399999999999</cx:pt>
          <cx:pt idx="345">10.57029</cx:pt>
          <cx:pt idx="346">5.89949999999999</cx:pt>
          <cx:pt idx="347">37.080599999999905</cx:pt>
          <cx:pt idx="348">48.903400000000005</cx:pt>
          <cx:pt idx="349">36.005800000000001</cx:pt>
          <cx:pt idx="350">17.533199999999997</cx:pt>
          <cx:pt idx="351">5.1279999999999903</cx:pt>
          <cx:pt idx="352">10.834199999999999</cx:pt>
          <cx:pt idx="353">15.359080000000001</cx:pt>
          <cx:pt idx="354">15.476999999999999</cx:pt>
          <cx:pt idx="355">44.604199999999999</cx:pt>
          <cx:pt idx="356">8.1120000000000001</cx:pt>
          <cx:pt idx="357">19.225000000000001</cx:pt>
          <cx:pt idx="358">39.498899999999999</cx:pt>
          <cx:pt idx="359">7.8415999999999997</cx:pt>
          <cx:pt idx="360">12.333360000000001</cx:pt>
          <cx:pt idx="361">11.7669599999999</cx:pt>
          <cx:pt idx="362">17.2256</cx:pt>
          <cx:pt idx="363">10.5564</cx:pt>
          <cx:pt idx="364">8.3823999999999987</cx:pt>
          <cx:pt idx="365">17.2256</cx:pt>
          <cx:pt idx="366">35.495269999999898</cx:pt>
          <cx:pt idx="367">7.4359999999999999</cx:pt>
          <cx:pt idx="368">40.305</cx:pt>
          <cx:pt idx="369">3.4742199999999896</cx:pt>
          <cx:pt idx="370">18.148399999999899</cx:pt>
          <cx:pt idx="371">2.5639999999999898</cx:pt>
          <cx:pt idx="372">91.680439999999692</cx:pt>
          <cx:pt idx="373">4.2305999999999999</cx:pt>
          <cx:pt idx="374">78.460399999999694</cx:pt>
          <cx:pt idx="375">18.7636</cx:pt>
          <cx:pt idx="376">4.6151999999999997</cx:pt>
          <cx:pt idx="377">15.182200000000002</cx:pt>
          <cx:pt idx="378">16.764200000000002</cx:pt>
          <cx:pt idx="379">4.1023999999999994</cx:pt>
          <cx:pt idx="380">5.1279999999999903</cx:pt>
          <cx:pt idx="381">4.6280199999999905</cx:pt>
          <cx:pt idx="382">57.501799999999903</cx:pt>
          <cx:pt idx="383">15.476999999999999</cx:pt>
          <cx:pt idx="384">3.7306199999999996</cx:pt>
          <cx:pt idx="385">46.538839999999901</cx:pt>
          <cx:pt idx="386">40.036300000000004</cx:pt>
          <cx:pt idx="387">34.662300000000002</cx:pt>
          <cx:pt idx="388">6.4239000000000006</cx:pt>
          <cx:pt idx="389">9.8619000000000003</cx:pt>
          <cx:pt idx="390">37.886699999999998</cx:pt>
          <cx:pt idx="391">7.4359999999999999</cx:pt>
          <cx:pt idx="392">10.5564</cx:pt>
          <cx:pt idx="393">3.9741999999999997</cx:pt>
          <cx:pt idx="394">4.1152199999999999</cx:pt>
          <cx:pt idx="395">18.148399999999899</cx:pt>
          <cx:pt idx="396">5.7683999999999997</cx:pt>
          <cx:pt idx="397">7.3008000000000006</cx:pt>
          <cx:pt idx="398">17.840799999999902</cx:pt>
          <cx:pt idx="399">8.80152</cx:pt>
          <cx:pt idx="400">18.148399999999899</cx:pt>
          <cx:pt idx="401">36.838769999999997</cx:pt>
          <cx:pt idx="402">40.573700000000002</cx:pt>
          <cx:pt idx="403">6.4239000000000006</cx:pt>
          <cx:pt idx="404">4.9998000000000005</cx:pt>
          <cx:pt idx="405">2.3075999999999999</cx:pt>
          <cx:pt idx="406">19.394179999999999</cx:pt>
          <cx:pt idx="407">37.886699999999998</cx:pt>
          <cx:pt idx="408">14.18526</cx:pt>
          <cx:pt idx="409">9.722999999999999</cx:pt>
          <cx:pt idx="410">14.607339999999999</cx:pt>
          <cx:pt idx="411">5.89949999999999</cx:pt>
          <cx:pt idx="412">19.532599999999999</cx:pt>
          <cx:pt idx="413">18.456</cx:pt>
          <cx:pt idx="414">12.460799999999999</cx:pt>
          <cx:pt idx="415">39.767599999999995</cx:pt>
          <cx:pt idx="416">5.1279999999999903</cx:pt>
          <cx:pt idx="417">3.2178199999999997</cx:pt>
          <cx:pt idx="418">43.314439999999998</cx:pt>
          <cx:pt idx="419">6.0437099999999999</cx:pt>
          <cx:pt idx="420">11.752799999999999</cx:pt>
          <cx:pt idx="421">10.0008</cx:pt>
          <cx:pt idx="422">19.686400000000003</cx:pt>
          <cx:pt idx="423">35.737099999999998</cx:pt>
          <cx:pt idx="424">3.9741999999999997</cx:pt>
          <cx:pt idx="425">71.259239999999906</cx:pt>
          <cx:pt idx="426">11.92272</cx:pt>
          <cx:pt idx="427">12.319199999999899</cx:pt>
          <cx:pt idx="428">56.695699999999903</cx:pt>
          <cx:pt idx="429">44.362369999999999</cx:pt>
          <cx:pt idx="430">19.071199999999997</cx:pt>
          <cx:pt idx="431">5.63729999999999</cx:pt>
          <cx:pt idx="432">36.811899999999895</cx:pt>
          <cx:pt idx="433">7.7063999999999995</cx:pt>
          <cx:pt idx="434">41.648499999999999</cx:pt>
          <cx:pt idx="435">18.456</cx:pt>
          <cx:pt idx="436">48.097299999999898</cx:pt>
          <cx:pt idx="437">5.5061999999999998</cx:pt>
          <cx:pt idx="438">3.8460000000000001</cx:pt>
          <cx:pt idx="439">7.4359999999999999</cx:pt>
          <cx:pt idx="440">37.886699999999998</cx:pt>
          <cx:pt idx="441">44.872899999999902</cx:pt>
          <cx:pt idx="442">4.3588000000000005</cx:pt>
          <cx:pt idx="443">11.752799999999999</cx:pt>
          <cx:pt idx="444">44.604199999999999</cx:pt>
          <cx:pt idx="445">10.6952999999999</cx:pt>
          <cx:pt idx="446">41.379800000000003</cx:pt>
          <cx:pt idx="447">51.8590999999997</cx:pt>
          <cx:pt idx="448">5.5061999999999998</cx:pt>
          <cx:pt idx="449">56.426999999999907</cx:pt>
          <cx:pt idx="450">7.3008000000000006</cx:pt>
          <cx:pt idx="451">15.034799999999901</cx:pt>
          <cx:pt idx="452">4.7433999999999994</cx:pt>
          <cx:pt idx="453">34.662300000000002</cx:pt>
          <cx:pt idx="454">9.722999999999999</cx:pt>
          <cx:pt idx="455">8.6527999999999992</cx:pt>
          <cx:pt idx="456">19.686400000000003</cx:pt>
          <cx:pt idx="457">17.2256</cx:pt>
          <cx:pt idx="458">12.333360000000001</cx:pt>
          <cx:pt idx="459">7.1655999999999995</cx:pt>
          <cx:pt idx="460">13.447799999999999</cx:pt>
          <cx:pt idx="461">37.886699999999998</cx:pt>
          <cx:pt idx="462">15.329599999999999</cx:pt>
          <cx:pt idx="463">4.8715999999999999</cx:pt>
          <cx:pt idx="464">12.319199999999899</cx:pt>
          <cx:pt idx="465">9.7368899999999989</cx:pt>
          <cx:pt idx="466">17.2256</cx:pt>
          <cx:pt idx="467">4.3588000000000005</cx:pt>
          <cx:pt idx="468">3.5895999999999999</cx:pt>
          <cx:pt idx="469">16.93338</cx:pt>
          <cx:pt idx="470">5.63729999999999</cx:pt>
          <cx:pt idx="471">13.109999999999999</cx:pt>
          <cx:pt idx="472">12.036</cx:pt>
          <cx:pt idx="473">5.1279999999999903</cx:pt>
          <cx:pt idx="474">41.379800000000003</cx:pt>
          <cx:pt idx="475">10.01469</cx:pt>
          <cx:pt idx="476">12.036</cx:pt>
          <cx:pt idx="477">11.752799999999999</cx:pt>
          <cx:pt idx="478">7.5712000000000002</cx:pt>
          <cx:pt idx="479">18.794359999999998</cx:pt>
          <cx:pt idx="480">7.8415999999999997</cx:pt>
          <cx:pt idx="481">10.5564</cx:pt>
          <cx:pt idx="482">9.722999999999999</cx:pt>
          <cx:pt idx="483">12.825000000000001</cx:pt>
          <cx:pt idx="484">58.845299999999902</cx:pt>
          <cx:pt idx="485">5.5061999999999998</cx:pt>
          <cx:pt idx="486">5.1279999999999903</cx:pt>
          <cx:pt idx="487">34.689170000000004</cx:pt>
          <cx:pt idx="488">17.840799999999902</cx:pt>
          <cx:pt idx="489">6.1616999999999997</cx:pt>
          <cx:pt idx="490">17.994599999999998</cx:pt>
          <cx:pt idx="491">36.811899999999895</cx:pt>
          <cx:pt idx="492">36.543199999999999</cx:pt>
          <cx:pt idx="493">3.8460000000000001</cx:pt>
          <cx:pt idx="494">19.071199999999997</cx:pt>
          <cx:pt idx="495">16.764200000000002</cx:pt>
          <cx:pt idx="496">9.8619000000000003</cx:pt>
          <cx:pt idx="497">39.498899999999999</cx:pt>
          <cx:pt idx="498">18.302199999999999</cx:pt>
          <cx:pt idx="499">6.2927999999999997</cx:pt>
          <cx:pt idx="500">2.1922199999999998</cx:pt>
          <cx:pt idx="501">52.396500000000003</cx:pt>
          <cx:pt idx="502">3.4742199999999896</cx:pt>
          <cx:pt idx="503">13.881599999999999</cx:pt>
          <cx:pt idx="504">4.9998000000000005</cx:pt>
          <cx:pt idx="505">10.0008</cx:pt>
          <cx:pt idx="506">7.0574400000000201</cx:pt>
          <cx:pt idx="507">42.212769999999999</cx:pt>
          <cx:pt idx="508">12.460799999999999</cx:pt>
          <cx:pt idx="509">3.8460000000000001</cx:pt>
          <cx:pt idx="510">43.01887</cx:pt>
          <cx:pt idx="511">51.859100000000005</cx:pt>
          <cx:pt idx="512">55.352199999999996</cx:pt>
          <cx:pt idx="513">10.5564</cx:pt>
          <cx:pt idx="514">18.148399999999899</cx:pt>
          <cx:pt idx="515">11.752799999999999</cx:pt>
          <cx:pt idx="516">15.6244</cx:pt>
          <cx:pt idx="517">43.556270000000005</cx:pt>
          <cx:pt idx="518">40.842399999999998</cx:pt>
          <cx:pt idx="519">6.3190200000000196</cx:pt>
          <cx:pt idx="520">10.139699999999999</cx:pt>
          <cx:pt idx="521">4.8715999999999999</cx:pt>
          <cx:pt idx="522">37.3492999999999</cx:pt>
          <cx:pt idx="523">12.460799999999999</cx:pt>
          <cx:pt idx="524">6.03059999999999</cx:pt>
          <cx:pt idx="525">14.74</cx:pt>
          <cx:pt idx="526">4.4870000000000001</cx:pt>
          <cx:pt idx="527">6.6860999999999908</cx:pt>
          <cx:pt idx="528">12.825000000000001</cx:pt>
          <cx:pt idx="529">18.3175799999999</cx:pt>
          <cx:pt idx="530">7.3008000000000006</cx:pt>
          <cx:pt idx="531">15.344340000000001</cx:pt>
          <cx:pt idx="532">54.814799999999998</cx:pt>
          <cx:pt idx="533">18.778979999999901</cx:pt>
          <cx:pt idx="534">15.653880000000001</cx:pt>
          <cx:pt idx="535">5.9126099999999893</cx:pt>
          <cx:pt idx="536">14.74</cx:pt>
          <cx:pt idx="537">35.1997</cx:pt>
          <cx:pt idx="538">15.6244</cx:pt>
          <cx:pt idx="539">8.6527999999999992</cx:pt>
          <cx:pt idx="540">17.533199999999997</cx:pt>
          <cx:pt idx="541">8.2472000000000012</cx:pt>
          <cx:pt idx="542">14.3154</cx:pt>
          <cx:pt idx="543">34.662300000000002</cx:pt>
          <cx:pt idx="544">54.008699999999997</cx:pt>
          <cx:pt idx="545">12.460799999999999</cx:pt>
          <cx:pt idx="546">7.3143200000000004</cx:pt>
          <cx:pt idx="547">36.032670000000003</cx:pt>
          <cx:pt idx="548">3.4613999999999998</cx:pt>
          <cx:pt idx="549">9.722999999999999</cx:pt>
          <cx:pt idx="550">44.604199999999999</cx:pt>
          <cx:pt idx="551">7.3008000000000006</cx:pt>
          <cx:pt idx="552">18.009979999999899</cx:pt>
          <cx:pt idx="553">39.498899999999999</cx:pt>
          <cx:pt idx="554">19.225000000000001</cx:pt>
          <cx:pt idx="555">19.378799999999998</cx:pt>
          <cx:pt idx="556">53.498169999999703</cx:pt>
          <cx:pt idx="557">45.97457</cx:pt>
          <cx:pt idx="558">19.225000000000001</cx:pt>
          <cx:pt idx="559">19.071199999999997</cx:pt>
          <cx:pt idx="560">4.7433999999999994</cx:pt>
          <cx:pt idx="561">13.109999999999999</cx:pt>
          <cx:pt idx="562">68.518499999999904</cx:pt>
          <cx:pt idx="563">12.319199999999899</cx:pt>
          <cx:pt idx="564">48.634699999999995</cx:pt>
          <cx:pt idx="565">36.274499999999996</cx:pt>
          <cx:pt idx="566">18.6098</cx:pt>
          <cx:pt idx="567">12.319199999999899</cx:pt>
          <cx:pt idx="568">10.306379999999999</cx:pt>
          <cx:pt idx="569">18.3175799999999</cx:pt>
          <cx:pt idx="570">47.559899999999999</cx:pt>
          <cx:pt idx="571">12.967500000000001</cx:pt>
          <cx:pt idx="572">19.686400000000003</cx:pt>
          <cx:pt idx="573">18.17916</cx:pt>
          <cx:pt idx="574">11.4696</cx:pt>
          <cx:pt idx="575">12.460799999999999</cx:pt>
          <cx:pt idx="576">14.3154</cx:pt>
          <cx:pt idx="577">38.692799999999998</cx:pt>
          <cx:pt idx="578">36.543199999999999</cx:pt>
          <cx:pt idx="579">14.0261999999999</cx:pt>
          <cx:pt idx="580">3.9741999999999997</cx:pt>
          <cx:pt idx="581">10.861980000000001</cx:pt>
          <cx:pt idx="582">18.456</cx:pt>
          <cx:pt idx="583">7.9767999999999892</cx:pt>
          <cx:pt idx="584">38.424100000000003</cx:pt>
          <cx:pt idx="585">44.335500000000003</cx:pt>
          <cx:pt idx="586">11.328000000000001</cx:pt>
          <cx:pt idx="587">10.139699999999999</cx:pt>
          <cx:pt idx="588">9.8619000000000003</cx:pt>
          <cx:pt idx="589">10.278600000000001</cx:pt>
          <cx:pt idx="590">16.917999999999999</cx:pt>
          <cx:pt idx="591">9.4451999999999998</cx:pt>
          <cx:pt idx="592">16.93338</cx:pt>
          <cx:pt idx="593">5.63729999999999</cx:pt>
          <cx:pt idx="594">34.930999999999997</cx:pt>
          <cx:pt idx="595">7.8415999999999997</cx:pt>
          <cx:pt idx="596">5.89949999999999</cx:pt>
          <cx:pt idx="597">17.840799999999902</cx:pt>
          <cx:pt idx="598">10.5564</cx:pt>
          <cx:pt idx="599">12.319199999999899</cx:pt>
          <cx:pt idx="600">9.4451999999999998</cx:pt>
          <cx:pt idx="601">43.2607</cx:pt>
          <cx:pt idx="602">14.8873999999999</cx:pt>
          <cx:pt idx="603">6.5549999999999997</cx:pt>
          <cx:pt idx="604">9.8619000000000003</cx:pt>
          <cx:pt idx="605">14.0261999999999</cx:pt>
          <cx:pt idx="606">8.6527999999999992</cx:pt>
          <cx:pt idx="607">18.009979999999899</cx:pt>
          <cx:pt idx="608">13.109999999999999</cx:pt>
          <cx:pt idx="609">5.89949999999999</cx:pt>
          <cx:pt idx="610">67.712399999999988</cx:pt>
          <cx:pt idx="611">13.881599999999999</cx:pt>
          <cx:pt idx="612">6.8171999999999997</cx:pt>
          <cx:pt idx="613">6.03059999999999</cx:pt>
          <cx:pt idx="614">18.148399999999899</cx:pt>
          <cx:pt idx="615">18.456</cx:pt>
          <cx:pt idx="616">1.9358199999999999</cx:pt>
          <cx:pt idx="617">63.681899999999899</cx:pt>
          <cx:pt idx="618">13.736999999999998</cx:pt>
          <cx:pt idx="619">7.7334400000000203</cx:pt>
          <cx:pt idx="620">6.4239000000000006</cx:pt>
          <cx:pt idx="621">10.5564</cx:pt>
          <cx:pt idx="622">36.570070000000001</cx:pt>
          <cx:pt idx="623">17.994599999999998</cx:pt>
          <cx:pt idx="624">35.468400000000003</cx:pt>
          <cx:pt idx="625">37.080599999999905</cx:pt>
          <cx:pt idx="626">6.5549999999999997</cx:pt>
          <cx:pt idx="627">18.778979999999901</cx:pt>
          <cx:pt idx="628">87.918639999999698</cx:pt>
          <cx:pt idx="629">3.7306199999999996</cx:pt>
          <cx:pt idx="630">47.559899999999999</cx:pt>
          <cx:pt idx="631">6.6860999999999908</cx:pt>
          <cx:pt idx="632">10.973099999999999</cx:pt>
          <cx:pt idx="633">7.3008000000000006</cx:pt>
          <cx:pt idx="634">14.74</cx:pt>
          <cx:pt idx="635">7.5712000000000002</cx:pt>
          <cx:pt idx="636">5.6504099999999999</cx:pt>
          <cx:pt idx="637">13.109999999999999</cx:pt>
          <cx:pt idx="638">17.994599999999998</cx:pt>
          <cx:pt idx="639">13.736999999999998</cx:pt>
          <cx:pt idx="640">9.4451999999999998</cx:pt>
          <cx:pt idx="641">38.182270000000003</cx:pt>
          <cx:pt idx="642">54.546099999999996</cx:pt>
          <cx:pt idx="643">10.278600000000001</cx:pt>
          <cx:pt idx="644">10.5564</cx:pt>
          <cx:pt idx="645">15.9192</cx:pt>
          <cx:pt idx="646">11.328000000000001</cx:pt>
          <cx:pt idx="647">15.034799999999901</cx:pt>
          <cx:pt idx="648">2.4358</cx:pt>
          <cx:pt idx="649">17.994599999999998</cx:pt>
          <cx:pt idx="650">19.686400000000003</cx:pt>
          <cx:pt idx="651">15.639140000000001</cx:pt>
          <cx:pt idx="652">14.315399999999901</cx:pt>
          <cx:pt idx="653">70.963669999999894</cx:pt>
          <cx:pt idx="654">9.4451999999999998</cx:pt>
          <cx:pt idx="655">3.7306199999999996</cx:pt>
          <cx:pt idx="656">7.9767999999999892</cx:pt>
          <cx:pt idx="657">6.5549999999999997</cx:pt>
          <cx:pt idx="658">9.8619000000000003</cx:pt>
          <cx:pt idx="659">18.302199999999999</cx:pt>
          <cx:pt idx="660">19.701779999999999</cx:pt>
          <cx:pt idx="661">5.63729999999999</cx:pt>
          <cx:pt idx="662">38.1554</cx:pt>
          <cx:pt idx="663">10.973099999999999</cx:pt>
          <cx:pt idx="664">8.2472000000000012</cx:pt>
          <cx:pt idx="665">46.753799999999998</cx:pt>
          <cx:pt idx="666">37.618000000000002</cx:pt>
          <cx:pt idx="667">18.302199999999999</cx:pt>
          <cx:pt idx="668">12.825000000000001</cx:pt>
          <cx:pt idx="669">12.61656</cx:pt>
          <cx:pt idx="670">3.5895999999999999</cx:pt>
          <cx:pt idx="671">10.278600000000001</cx:pt>
          <cx:pt idx="672">41.1111</cx:pt>
          <cx:pt idx="673">5.89949999999999</cx:pt>
          <cx:pt idx="674">81.416099999999702</cx:pt>
          <cx:pt idx="675">18.148399999999899</cx:pt>
          <cx:pt idx="676">15.476999999999999</cx:pt>
          <cx:pt idx="677">65.079139999999697</cx:pt>
          <cx:pt idx="678">18.917400000000001</cx:pt>
          <cx:pt idx="679">17.717759999999998</cx:pt>
          <cx:pt idx="680">10.5564</cx:pt>
          <cx:pt idx="681">14.8873999999999</cx:pt>
          <cx:pt idx="682">9.3201899999999895</cx:pt>
          <cx:pt idx="683">4.1152199999999999</cx:pt>
          <cx:pt idx="684">42.185899999999997</cx:pt>
          <cx:pt idx="685">3.9741999999999997</cx:pt>
          <cx:pt idx="686">12.177599999999899</cx:pt>
          <cx:pt idx="687">14.0261999999999</cx:pt>
          <cx:pt idx="688">14.74</cx:pt>
          <cx:pt idx="689">15.476999999999999</cx:pt>
          <cx:pt idx="690">17.840799999999902</cx:pt>
          <cx:pt idx="691">64.219299999999706</cx:pt>
          <cx:pt idx="692">11.34216</cx:pt>
          <cx:pt idx="693">6.1748099999999999</cx:pt>
          <cx:pt idx="694">17.24098</cx:pt>
          <cx:pt idx="695">10.278600000000001</cx:pt>
          <cx:pt idx="696">4.6280199999999905</cx:pt>
          <cx:pt idx="697">38.961499999999901</cx:pt>
          <cx:pt idx="698">9.8619000000000003</cx:pt>
          <cx:pt idx="699">49.978200000000001</cx:pt>
          <cx:pt idx="700">34.930999999999997</cx:pt>
          <cx:pt idx="701">14.75474</cx:pt>
          <cx:pt idx="702">9.4451999999999998</cx:pt>
          <cx:pt idx="703">19.378799999999998</cx:pt>
          <cx:pt idx="704">10.4175</cx:pt>
          <cx:pt idx="705">6.03059999999999</cx:pt>
          <cx:pt idx="706">19.240380000000002</cx:pt>
          <cx:pt idx="707">11.48376</cx:pt>
          <cx:pt idx="708">5.5061999999999998</cx:pt>
          <cx:pt idx="709">10.5564</cx:pt>
          <cx:pt idx="710">35.495269999999898</cx:pt>
          <cx:pt idx="711">10.861980000000001</cx:pt>
          <cx:pt idx="712">10.278600000000001</cx:pt>
          <cx:pt idx="713">43.529399999999903</cx:pt>
          <cx:pt idx="714">11.752799999999999</cx:pt>
          <cx:pt idx="715">5.5061999999999998</cx:pt>
          <cx:pt idx="716">12.319199999999899</cx:pt>
          <cx:pt idx="717">8.260720000000001</cx:pt>
          <cx:pt idx="718">8.3823999999999987</cx:pt>
          <cx:pt idx="719">41.433540000000001</cx:pt>
          <cx:pt idx="720">7.3008000000000006</cx:pt>
          <cx:pt idx="721">51.052999999999905</cx:pt>
          <cx:pt idx="722">4.3716200000000001</cx:pt>
          <cx:pt idx="723">36.543199999999999</cx:pt>
          <cx:pt idx="724">5.2561999999999998</cx:pt>
          <cx:pt idx="725">12.825000000000001</cx:pt>
          <cx:pt idx="726">38.961499999999901</cx:pt>
          <cx:pt idx="727">18.009979999999899</cx:pt>
          <cx:pt idx="728">6.2927999999999997</cx:pt>
          <cx:pt idx="729">37.886699999999998</cx:pt>
          <cx:pt idx="730">9.8619000000000003</cx:pt>
          <cx:pt idx="731">37.3492999999999</cx:pt>
          <cx:pt idx="732">14.0406599999999</cx:pt>
          <cx:pt idx="733">5.89949999999999</cx:pt>
          <cx:pt idx="734">9.722999999999999</cx:pt>
          <cx:pt idx="735">5.5061999999999998</cx:pt>
          <cx:pt idx="736">40.358739999999997</cx:pt>
          <cx:pt idx="737">15.786539999999999</cx:pt>
          <cx:pt idx="738">51.590400000000002</cx:pt>
          <cx:pt idx="739">46.485100000000003</cx:pt>
          <cx:pt idx="740">19.532599999999999</cx:pt>
          <cx:pt idx="741">6.8171999999999997</cx:pt>
          <cx:pt idx="742">3.0768</cx:pt>
          <cx:pt idx="743">40.842399999999998</cx:pt>
          <cx:pt idx="744">13.736999999999998</cx:pt>
          <cx:pt idx="745">15.182200000000002</cx:pt>
          <cx:pt idx="746">39.498899999999999</cx:pt>
          <cx:pt idx="747">2.9614199999999999</cx:pt>
          <cx:pt idx="748">14.3154</cx:pt>
          <cx:pt idx="749">13.881599999999999</cx:pt>
          <cx:pt idx="750">12.036</cx:pt>
          <cx:pt idx="751">10.278600000000001</cx:pt>
          <cx:pt idx="752">43.798099999999998</cx:pt>
          <cx:pt idx="753">5.2561999999999998</cx:pt>
          <cx:pt idx="754">5.89949999999999</cx:pt>
          <cx:pt idx="755">17.994599999999998</cx:pt>
          <cx:pt idx="756">11.4696</cx:pt>
          <cx:pt idx="757">10.01469</cx:pt>
          <cx:pt idx="758">15.786539999999999</cx:pt>
          <cx:pt idx="759">17.0718</cx:pt>
          <cx:pt idx="760">37.3492999999999</cx:pt>
          <cx:pt idx="761">6.1616999999999997</cx:pt>
          <cx:pt idx="762">8.3823999999999987</cx:pt>
          <cx:pt idx="763">18.456</cx:pt>
          <cx:pt idx="764">9.5840999999999994</cx:pt>
          <cx:pt idx="765">52.692069999999703</cx:pt>
          <cx:pt idx="766">5.2690199999999905</cx:pt>
          <cx:pt idx="767">5.89949999999999</cx:pt>
          <cx:pt idx="768">15.04954</cx:pt>
          <cx:pt idx="769">54.868539999999697</cx:pt>
          <cx:pt idx="770">18.917400000000001</cx:pt>
          <cx:pt idx="771">12.177599999999899</cx:pt>
          <cx:pt idx="772">5.63729999999999</cx:pt>
          <cx:pt idx="773">17.0718</cx:pt>
          <cx:pt idx="774">37.3492999999999</cx:pt>
          <cx:pt idx="775">12.319199999999899</cx:pt>
          <cx:pt idx="776">11.34216</cx:pt>
          <cx:pt idx="777">8.5175999999999998</cx:pt>
          <cx:pt idx="778">43.529399999999903</cx:pt>
          <cx:pt idx="779">2.8203999999999998</cx:pt>
          <cx:pt idx="780">37.618000000000002</cx:pt>
          <cx:pt idx="781">17.0718</cx:pt>
          <cx:pt idx="782">19.225000000000001</cx:pt>
          <cx:pt idx="783">4.4998199999999899</cx:pt>
          <cx:pt idx="784">16.917999999999999</cx:pt>
          <cx:pt idx="785">4.3716200000000001</cx:pt>
          <cx:pt idx="786">4.2434199999999995</cx:pt>
          <cx:pt idx="787">8.3823999999999987</cx:pt>
          <cx:pt idx="788">16.764200000000002</cx:pt>
          <cx:pt idx="789">13.447799999999898</cx:pt>
          <cx:pt idx="790">43.2607</cx:pt>
          <cx:pt idx="791">35.468400000000003</cx:pt>
          <cx:pt idx="792">15.476999999999999</cx:pt>
          <cx:pt idx="793">36.811899999999895</cx:pt>
          <cx:pt idx="794">5.7683999999999997</cx:pt>
          <cx:pt idx="795">57.233099999999901</cx:pt>
          <cx:pt idx="796">8.6527999999999992</cx:pt>
          <cx:pt idx="797">36.811899999999895</cx:pt>
          <cx:pt idx="798">19.686400000000003</cx:pt>
          <cx:pt idx="799">6.3190200000000196</cx:pt>
          <cx:pt idx="800">5.5061999999999998</cx:pt>
          <cx:pt idx="801">5.9126099999999893</cx:pt>
          <cx:pt idx="802">13.924980000000001</cx:pt>
          <cx:pt idx="803">36.005800000000001</cx:pt>
          <cx:pt idx="804">17.687000000000001</cx:pt>
          <cx:pt idx="805">69.593299999999701</cx:pt>
          <cx:pt idx="806">12.967500000000001</cx:pt>
          <cx:pt idx="807">37.080599999999905</cx:pt>
          <cx:pt idx="808">11.781120000000001</cx:pt>
          <cx:pt idx="809">13.5924</cx:pt>
          <cx:pt idx="810">1.9358199999999999</cx:pt>
          <cx:pt idx="811">68.787199999999899</cx:pt>
          <cx:pt idx="812">46.753799999999998</cx:pt>
          <cx:pt idx="813">19.225000000000001</cx:pt>
          <cx:pt idx="814">42.723299999999995</cx:pt>
          <cx:pt idx="815">6.03059999999999</cx:pt>
          <cx:pt idx="816">46.485100000000003</cx:pt>
          <cx:pt idx="817">10.834199999999999</cx:pt>
          <cx:pt idx="818">4.8715999999999999</cx:pt>
          <cx:pt idx="819">15.034799999999901</cx:pt>
          <cx:pt idx="820">5.7683999999999997</cx:pt>
          <cx:pt idx="821">10.139699999999999</cx:pt>
          <cx:pt idx="822">45.141599999999997</cx:pt>
          <cx:pt idx="823">54.008699999999997</cx:pt>
          <cx:pt idx="824">13.736999999999998</cx:pt>
          <cx:pt idx="825">10.0008</cx:pt>
          <cx:pt idx="826">6.1748099999999999</cx:pt>
          <cx:pt idx="827">47.049370000000003</cx:pt>
          <cx:pt idx="828">36.543199999999999</cx:pt>
          <cx:pt idx="829">6.2927999999999997</cx:pt>
          <cx:pt idx="830">7.1655999999999995</cx:pt>
          <cx:pt idx="831">17.2256</cx:pt>
          <cx:pt idx="832">11.328000000000001</cx:pt>
          <cx:pt idx="833">37.91357</cx:pt>
          <cx:pt idx="834">17.3794</cx:pt>
          <cx:pt idx="835">7.8415999999999997</cx:pt>
          <cx:pt idx="836">11.34216</cx:pt>
          <cx:pt idx="837">2.1922199999999998</cx:pt>
          <cx:pt idx="838">45.141599999999997</cx:pt>
          <cx:pt idx="839">15.9192</cx:pt>
          <cx:pt idx="840">6.4239000000000006</cx:pt>
          <cx:pt idx="841">7.3008000000000006</cx:pt>
          <cx:pt idx="842">15.6244</cx:pt>
          <cx:pt idx="843">4.9998000000000005</cx:pt>
          <cx:pt idx="844">12.3333599999999</cx:pt>
          <cx:pt idx="845">41.1111</cx:pt>
          <cx:pt idx="846">7.3008000000000006</cx:pt>
          <cx:pt idx="847">45.141599999999997</cx:pt>
          <cx:pt idx="848">35.737099999999998</cx:pt>
          <cx:pt idx="849">9.7368899999999989</cx:pt>
          <cx:pt idx="850">17.994599999999998</cx:pt>
          <cx:pt idx="851">5.63729999999999</cx:pt>
          <cx:pt idx="852">4.3588000000000005</cx:pt>
          <cx:pt idx="853">5.63729999999999</cx:pt>
          <cx:pt idx="854">7.1655999999999995</cx:pt>
          <cx:pt idx="855">59.920099999999998</cx:pt>
          <cx:pt idx="856">5.89949999999999</cx:pt>
          <cx:pt idx="857">12.177599999999899</cx:pt>
          <cx:pt idx="858">10.4175</cx:pt>
          <cx:pt idx="859">15.6244</cx:pt>
          <cx:pt idx="860">43.2607</cx:pt>
          <cx:pt idx="861">12.319199999999899</cx:pt>
          <cx:pt idx="862">45.141599999999997</cx:pt>
          <cx:pt idx="863">19.378799999999998</cx:pt>
          <cx:pt idx="864">10.167479999999999</cx:pt>
          <cx:pt idx="865">9.7368899999999989</cx:pt>
          <cx:pt idx="866">4.8715999999999999</cx:pt>
          <cx:pt idx="867">10.973099999999999</cx:pt>
          <cx:pt idx="868">8.3823999999999987</cx:pt>
          <cx:pt idx="869">3.5895999999999999</cx:pt>
          <cx:pt idx="870">4.2305999999999999</cx:pt>
          <cx:pt idx="871">5.89949999999999</cx:pt>
          <cx:pt idx="872">12.177599999999899</cx:pt>
          <cx:pt idx="873">13.896059999999999</cx:pt>
          <cx:pt idx="874">5.1664600000000203</cx:pt>
          <cx:pt idx="875">8.7880000000000003</cx:pt>
          <cx:pt idx="876">35.495269999999898</cx:pt>
          <cx:pt idx="877">11.781120000000001</cx:pt>
          <cx:pt idx="878">17.840799999999902</cx:pt>
          <cx:pt idx="879">6.2927999999999997</cx:pt>
          <cx:pt idx="880">3.2434600000000202</cx:pt>
          <cx:pt idx="881">49.978200000000001</cx:pt>
          <cx:pt idx="882">18.6098</cx:pt>
          <cx:pt idx="883">36.865639999999999</cx:pt>
          <cx:pt idx="884">5.89949999999999</cx:pt>
          <cx:pt idx="885">15.034799999999901</cx:pt>
          <cx:pt idx="886">43.556270000000005</cx:pt>
          <cx:pt idx="887">39.794469999999997</cx:pt>
          <cx:pt idx="888">43.2607</cx:pt>
          <cx:pt idx="889">18.917400000000001</cx:pt>
          <cx:pt idx="890">2.1922199999999998</cx:pt>
          <cx:pt idx="891">7.5712000000000002</cx:pt>
          <cx:pt idx="892">36.570070000000001</cx:pt>
          <cx:pt idx="893">5.7683999999999997</cx:pt>
          <cx:pt idx="894">46.485100000000003</cx:pt>
          <cx:pt idx="895">51.859100000000005</cx:pt>
          <cx:pt idx="896">7.5712000000000002</cx:pt>
          <cx:pt idx="897">12.602399999999999</cx:pt>
          <cx:pt idx="898">12.319199999999899</cx:pt>
          <cx:pt idx="899">8.9232000000000014</cx:pt>
          <cx:pt idx="900">68.518499999999705</cx:pt>
          <cx:pt idx="901">8.2472000000000012</cx:pt>
          <cx:pt idx="902">18.6098</cx:pt>
          <cx:pt idx="903">47.559899999999999</cx:pt>
          <cx:pt idx="904">10.0008</cx:pt>
          <cx:pt idx="905">19.225000000000001</cx:pt>
          <cx:pt idx="906">42.212769999999999</cx:pt>
          <cx:pt idx="907">15.771799999999999</cx:pt>
          <cx:pt idx="908">41.1111</cx:pt>
          <cx:pt idx="909">2.3204199999999999</cx:pt>
          <cx:pt idx="910">42.454599999999999</cx:pt>
          <cx:pt idx="911">5.89949999999999</cx:pt>
          <cx:pt idx="912">45.947700000000005</cx:pt>
          <cx:pt idx="913">8.6527999999999992</cx:pt>
          <cx:pt idx="914">41.648499999999999</cx:pt>
          <cx:pt idx="915">18.148399999999899</cx:pt>
          <cx:pt idx="916">3.8460000000000001</cx:pt>
          <cx:pt idx="917">8.9232000000000014</cx:pt>
          <cx:pt idx="918">2.6922000000000001</cx:pt>
          <cx:pt idx="919">7.8415999999999997</cx:pt>
          <cx:pt idx="920">10.167479999999999</cx:pt>
          <cx:pt idx="921">4.7433999999999994</cx:pt>
          <cx:pt idx="922">12.825000000000001</cx:pt>
          <cx:pt idx="923">10.4175</cx:pt>
          <cx:pt idx="924">36.005800000000001</cx:pt>
          <cx:pt idx="925">8.260720000000001</cx:pt>
          <cx:pt idx="926">10.139699999999999</cx:pt>
          <cx:pt idx="927">13.736999999999998</cx:pt>
          <cx:pt idx="928">1.9358199999999999</cx:pt>
          <cx:pt idx="929">49.440800000000003</cx:pt>
          <cx:pt idx="930">5.2561999999999998</cx:pt>
          <cx:pt idx="931">66.100200000000001</cx:pt>
          <cx:pt idx="932">5.7683999999999997</cx:pt>
          <cx:pt idx="933">37.080599999999905</cx:pt>
          <cx:pt idx="934">7.5712000000000002</cx:pt>
          <cx:pt idx="935">10.4175</cx:pt>
          <cx:pt idx="936">35.1997</cx:pt>
          <cx:pt idx="937">46.216399999999901</cx:pt>
          <cx:pt idx="938">49.440800000000003</cx:pt>
          <cx:pt idx="939">14.0261999999999</cx:pt>
          <cx:pt idx="940">16.93338</cx:pt>
          <cx:pt idx="941">16.79496</cx:pt>
          <cx:pt idx="942">14.0261999999999</cx:pt>
          <cx:pt idx="943">8.1120000000000001</cx:pt>
          <cx:pt idx="944">17.687000000000001</cx:pt>
          <cx:pt idx="945">15.182200000000002</cx:pt>
          <cx:pt idx="946">9.5979900000000011</cx:pt>
          <cx:pt idx="947">10.973099999999999</cx:pt>
          <cx:pt idx="948">17.3794</cx:pt>
          <cx:pt idx="949">2.6922000000000001</cx:pt>
          <cx:pt idx="950">36.005800000000001</cx:pt>
          <cx:pt idx="951">41.675369999999702</cx:pt>
          <cx:pt idx="952">17.840799999999902</cx:pt>
          <cx:pt idx="953">18.625179999999901</cx:pt>
          <cx:pt idx="954">6.1616999999999997</cx:pt>
          <cx:pt idx="955">45.678999999999995</cx:pt>
          <cx:pt idx="956">17.2256</cx:pt>
          <cx:pt idx="957">12.825000000000001</cx:pt>
          <cx:pt idx="958">19.086580000000001</cx:pt>
          <cx:pt idx="959">13.447799999999999</cx:pt>
          <cx:pt idx="960">12.967500000000001</cx:pt>
          <cx:pt idx="961">17.0718</cx:pt>
          <cx:pt idx="962">15.786539999999999</cx:pt>
          <cx:pt idx="963">12.8535</cx:pt>
          <cx:pt idx="964">5.5061999999999998</cx:pt>
          <cx:pt idx="965">5.2818400000000203</cx:pt>
          <cx:pt idx="966">6.4239000000000006</cx:pt>
          <cx:pt idx="967">9.5840999999999994</cx:pt>
          <cx:pt idx="968">4.8715999999999999</cx:pt>
          <cx:pt idx="969">9.7368899999999989</cx:pt>
          <cx:pt idx="970">9.8619000000000003</cx:pt>
          <cx:pt idx="971">8.0173600000000214</cx:pt>
          <cx:pt idx="972">40.600570000000005</cx:pt>
          <cx:pt idx="973">45.141599999999997</cx:pt>
          <cx:pt idx="974">6.4239000000000006</cx:pt>
          <cx:pt idx="975">12.319199999999899</cx:pt>
          <cx:pt idx="976">15.344340000000001</cx:pt>
          <cx:pt idx="977">6.6992099999999999</cx:pt>
          <cx:pt idx="978">16.764200000000002</cx:pt>
          <cx:pt idx="979">6.5549999999999997</cx:pt>
          <cx:pt idx="980">5.63729999999999</cx:pt>
          <cx:pt idx="981">5.63729999999999</cx:pt>
          <cx:pt idx="982">7.9767999999999892</cx:pt>
          <cx:pt idx="983">18.6098</cx:pt>
          <cx:pt idx="984">9.5840999999999994</cx:pt>
          <cx:pt idx="985">17.994599999999998</cx:pt>
          <cx:pt idx="986">10.5564</cx:pt>
          <cx:pt idx="987">12.967500000000001</cx:pt>
          <cx:pt idx="988">39.498899999999999</cx:pt>
          <cx:pt idx="989">9.3201899999999895</cx:pt>
          <cx:pt idx="990">4.3716200000000001</cx:pt>
          <cx:pt idx="991">19.240380000000002</cx:pt>
          <cx:pt idx="992">11.328000000000001</cx:pt>
          <cx:pt idx="993">7.8415999999999997</cx:pt>
          <cx:pt idx="994">59.382699999999701</cx:pt>
          <cx:pt idx="995">40.842399999999998</cx:pt>
          <cx:pt idx="996">6.2927999999999997</cx:pt>
          <cx:pt idx="997">51.859100000000005</cx:pt>
          <cx:pt idx="998">7.3008000000000006</cx:pt>
          <cx:pt idx="999">7.9767999999999892</cx:pt>
          <cx:pt idx="1000">47.291200000000003</cx:pt>
          <cx:pt idx="1001">35.495269999999898</cx:pt>
          <cx:pt idx="1002">14.74</cx:pt>
          <cx:pt idx="1003">48.634699999999995</cx:pt>
          <cx:pt idx="1004">10.5564</cx:pt>
          <cx:pt idx="1005">10.0008</cx:pt>
          <cx:pt idx="1006">11.611199999999899</cx:pt>
          <cx:pt idx="1007">7.9767999999999892</cx:pt>
          <cx:pt idx="1008">14.1708</cx:pt>
          <cx:pt idx="1009">40.86927</cx:pt>
          <cx:pt idx="1010">42.212769999999999</cx:pt>
          <cx:pt idx="1011">12.347519999999999</cx:pt>
          <cx:pt idx="1012">4.1023999999999994</cx:pt>
          <cx:pt idx="1013">8.2472000000000012</cx:pt>
          <cx:pt idx="1014">6.0437099999999999</cx:pt>
          <cx:pt idx="1015">13.109999999999999</cx:pt>
          <cx:pt idx="1016">7.8415999999999997</cx:pt>
          <cx:pt idx="1017">39.498899999999999</cx:pt>
          <cx:pt idx="1018">2.8203999999999998</cx:pt>
          <cx:pt idx="1019">13.5924</cx:pt>
          <cx:pt idx="1020">67.174999999999997</cx:pt>
          <cx:pt idx="1021">39.767599999999995</cx:pt>
          <cx:pt idx="1022">18.456</cx:pt>
          <cx:pt idx="1023">2.5639999999999898</cx:pt>
          <cx:pt idx="1024">5.7683999999999997</cx:pt>
          <cx:pt idx="1025">5.2561999999999998</cx:pt>
          <cx:pt idx="1026">36.005800000000001</cx:pt>
          <cx:pt idx="1027">13.109999999999999</cx:pt>
          <cx:pt idx="1028">6.6992099999999999</cx:pt>
          <cx:pt idx="1029">42.185899999999997</cx:pt>
          <cx:pt idx="1030">15.6244</cx:pt>
          <cx:pt idx="1031">10.139699999999999</cx:pt>
          <cx:pt idx="1032">48.661569999999998</cx:pt>
          <cx:pt idx="1033">5.5061999999999998</cx:pt>
          <cx:pt idx="1034">17.687000000000001</cx:pt>
          <cx:pt idx="1035">41.1111</cx:pt>
          <cx:pt idx="1036">41.433540000000001</cx:pt>
          <cx:pt idx="1037">1.6794199999999999</cx:pt>
          <cx:pt idx="1038">19.071199999999997</cx:pt>
          <cx:pt idx="1039">9.8619000000000003</cx:pt>
          <cx:pt idx="1040">6.5549999999999997</cx:pt>
          <cx:pt idx="1041">12.98175</cx:pt>
          <cx:pt idx="1042">36.811899999999895</cx:pt>
          <cx:pt idx="1043">10.139699999999999</cx:pt>
          <cx:pt idx="1044">50.273769999999999</cx:pt>
          <cx:pt idx="1045">16.764200000000002</cx:pt>
          <cx:pt idx="1046">9.722999999999999</cx:pt>
          <cx:pt idx="1047">12.460799999999999</cx:pt>
          <cx:pt idx="1048">48.151039999999703</cx:pt>
          <cx:pt idx="1049">17.994599999999998</cx:pt>
          <cx:pt idx="1050">10.6952999999999</cx:pt>
          <cx:pt idx="1051">5.5061999999999998</cx:pt>
          <cx:pt idx="1052">2.8203999999999998</cx:pt>
          <cx:pt idx="1053">13.1242499999999</cx:pt>
          <cx:pt idx="1054">6.5549999999999997</cx:pt>
          <cx:pt idx="1055">11.611199999999899</cx:pt>
          <cx:pt idx="1056">50.515599999999907</cx:pt>
          <cx:pt idx="1057">37.618000000000002</cx:pt>
          <cx:pt idx="1058">17.3794</cx:pt>
          <cx:pt idx="1059">12.177599999999899</cx:pt>
          <cx:pt idx="1060">10.153589999999999</cx:pt>
          <cx:pt idx="1061">4.7433999999999994</cx:pt>
          <cx:pt idx="1062">3.8588200000000001</cx:pt>
          <cx:pt idx="1063">9.4451999999999998</cx:pt>
          <cx:pt idx="1064">35.468400000000003</cx:pt>
          <cx:pt idx="1065">61.800999999999696</cx:pt>
          <cx:pt idx="1066">18.456</cx:pt>
          <cx:pt idx="1067">16.764200000000002</cx:pt>
          <cx:pt idx="1068">8.1120000000000001</cx:pt>
          <cx:pt idx="1069">12.036</cx:pt>
          <cx:pt idx="1070">8.1120000000000001</cx:pt>
          <cx:pt idx="1071">42.750169999999898</cx:pt>
          <cx:pt idx="1072">36.811899999999895</cx:pt>
          <cx:pt idx="1073">46.270139999999898</cx:pt>
          <cx:pt idx="1074">8.80152</cx:pt>
          <cx:pt idx="1075">17.0718</cx:pt>
          <cx:pt idx="1076">5.7683999999999997</cx:pt>
          <cx:pt idx="1077">48.097299999999898</cx:pt>
          <cx:pt idx="1078">19.686400000000003</cx:pt>
          <cx:pt idx="1079">12.333360000000001</cx:pt>
          <cx:pt idx="1080">58.361639999999902</cx:pt>
          <cx:pt idx="1081">7.4359999999999999</cx:pt>
          <cx:pt idx="1082">2.9614199999999999</cx:pt>
          <cx:pt idx="1083">34.930999999999997</cx:pt>
          <cx:pt idx="1084">10.5564</cx:pt>
          <cx:pt idx="1085">6.2927999999999997</cx:pt>
          <cx:pt idx="1086">8.6527999999999992</cx:pt>
          <cx:pt idx="1087">4.9998000000000005</cx:pt>
          <cx:pt idx="1088">2.5639999999999898</cx:pt>
          <cx:pt idx="1089">8.80152</cx:pt>
          <cx:pt idx="1090">17.840799999999902</cx:pt>
          <cx:pt idx="1091">18.625179999999901</cx:pt>
          <cx:pt idx="1092">17.394779999999898</cx:pt>
          <cx:pt idx="1093">6.5549999999999997</cx:pt>
          <cx:pt idx="1094">19.547980000000003</cx:pt>
          <cx:pt idx="1095">6.8171999999999997</cx:pt>
          <cx:pt idx="1096">8.3959200000000003</cx:pt>
          <cx:pt idx="1097">12.602399999999999</cx:pt>
          <cx:pt idx="1098">14.0261999999999</cx:pt>
          <cx:pt idx="1099">12.19176</cx:pt>
          <cx:pt idx="1100">14.8873999999999</cx:pt>
          <cx:pt idx="1101">3.8460000000000001</cx:pt>
          <cx:pt idx="1102">13.881599999999899</cx:pt>
          <cx:pt idx="1103">10.139699999999999</cx:pt>
          <cx:pt idx="1104">35.1997</cx:pt>
          <cx:pt idx="1105">3.7178000000000004</cx:pt>
          <cx:pt idx="1106">56.185169999999992</cx:pt>
          <cx:pt idx="1107">46.216399999999901</cx:pt>
          <cx:pt idx="1108">5.1408199999999997</cx:pt>
          <cx:pt idx="1109">36.032670000000003</cx:pt>
          <cx:pt idx="1110">5.1279999999999903</cx:pt>
          <cx:pt idx="1111">48.903400000000005</cx:pt>
          <cx:pt idx="1112">7.5712000000000002</cx:pt>
          <cx:pt idx="1113">12.319199999999899</cx:pt>
          <cx:pt idx="1114">49.4676699999997</cx:pt>
          <cx:pt idx="1115">67.712399999999988</cx:pt>
          <cx:pt idx="1116">40.090040000000002</cx:pt>
          <cx:pt idx="1117">3.9870200000000002</cx:pt>
          <cx:pt idx="1118">63.440069999999707</cx:pt>
          <cx:pt idx="1119">12.460799999999999</cx:pt>
          <cx:pt idx="1120">17.687000000000001</cx:pt>
          <cx:pt idx="1121">7.9767999999999892</cx:pt>
          <cx:pt idx="1122">6.2927999999999997</cx:pt>
          <cx:pt idx="1123">37.618000000000002</cx:pt>
          <cx:pt idx="1124">12.825000000000001</cx:pt>
          <cx:pt idx="1125">51.348569999999704</cx:pt>
          <cx:pt idx="1126">39.015239999999999</cx:pt>
          <cx:pt idx="1127">11.611199999999899</cx:pt>
          <cx:pt idx="1128">4.6280199999999905</cx:pt>
          <cx:pt idx="1129">51.590400000000002</cx:pt>
          <cx:pt idx="1130">10.431389999999901</cx:pt>
          <cx:pt idx="1131">8.3823999999999987</cx:pt>
          <cx:pt idx="1132">12.177599999999899</cx:pt>
          <cx:pt idx="1133">5.1279999999999903</cx:pt>
          <cx:pt idx="1134">2.6922000000000001</cx:pt>
          <cx:pt idx="1135">10.139699999999999</cx:pt>
          <cx:pt idx="1136">19.225000000000001</cx:pt>
          <cx:pt idx="1137">13.5924</cx:pt>
          <cx:pt idx="1138">53.202599999999997</cx:pt>
          <cx:pt idx="1139">4.4870000000000001</cx:pt>
          <cx:pt idx="1140">51.052999999999706</cx:pt>
          <cx:pt idx="1141">11.328000000000001</cx:pt>
          <cx:pt idx="1142">5.6504099999999999</cx:pt>
          <cx:pt idx="1143">6.5549999999999997</cx:pt>
          <cx:pt idx="1144">17.533199999999997</cx:pt>
          <cx:pt idx="1145">37.080599999999905</cx:pt>
          <cx:pt idx="1146">13.896059999999999</cx:pt>
          <cx:pt idx="1147">48.903400000000005</cx:pt>
          <cx:pt idx="1148">15.6244</cx:pt>
          <cx:pt idx="1149">6.5549999999999997</cx:pt>
          <cx:pt idx="1150">14.3154</cx:pt>
          <cx:pt idx="1151">49.440800000000003</cx:pt>
          <cx:pt idx="1152">7.5712000000000002</cx:pt>
          <cx:pt idx="1153">5.5061999999999998</cx:pt>
          <cx:pt idx="1154">55.110369999999996</cx:pt>
          <cx:pt idx="1155">47.022500000000001</cx:pt>
          <cx:pt idx="1156">6.2927999999999997</cx:pt>
          <cx:pt idx="1157">36.543199999999999</cx:pt>
          <cx:pt idx="1158">18.148399999999899</cx:pt>
          <cx:pt idx="1159">36.274499999999996</cx:pt>
          <cx:pt idx="1160">19.225000000000001</cx:pt>
          <cx:pt idx="1161">3.08962</cx:pt>
          <cx:pt idx="1162">3.9741999999999997</cx:pt>
          <cx:pt idx="1163">44.899769999999997</cx:pt>
          <cx:pt idx="1164">55.889599999999696</cx:pt>
          <cx:pt idx="1165">14.74</cx:pt>
          <cx:pt idx="1166">11.894399999999999</cx:pt>
          <cx:pt idx="1167">37.376169999999995</cx:pt>
          <cx:pt idx="1168">5.6504099999999999</cx:pt>
          <cx:pt idx="1169">5.63729999999999</cx:pt>
          <cx:pt idx="1170">4.2305999999999999</cx:pt>
          <cx:pt idx="1171">13.5924</cx:pt>
          <cx:pt idx="1172">17.0718</cx:pt>
          <cx:pt idx="1173">8.2472000000000012</cx:pt>
          <cx:pt idx="1174">11.894399999999999</cx:pt>
          <cx:pt idx="1175">37.644870000000004</cx:pt>
          <cx:pt idx="1176">9.722999999999999</cx:pt>
          <cx:pt idx="1177">12.177599999999899</cx:pt>
          <cx:pt idx="1178">18.148399999999899</cx:pt>
          <cx:pt idx="1179">35.468400000000003</cx:pt>
          <cx:pt idx="1180">40.842399999999998</cx:pt>
          <cx:pt idx="1181">7.4359999999999999</cx:pt>
          <cx:pt idx="1182">37.618000000000002</cx:pt>
          <cx:pt idx="1183">53.4712999999999</cx:pt>
          <cx:pt idx="1184">9.5840999999999994</cx:pt>
          <cx:pt idx="1185">3.2050000000000001</cx:pt>
          <cx:pt idx="1186">18.6098</cx:pt>
          <cx:pt idx="1187">46.216399999999901</cx:pt>
          <cx:pt idx="1188">6.8171999999999997</cx:pt>
          <cx:pt idx="1189">17.687000000000001</cx:pt>
          <cx:pt idx="1190">4.1023999999999994</cx:pt>
          <cx:pt idx="1191">13.881599999999999</cx:pt>
          <cx:pt idx="1192">12.825000000000001</cx:pt>
          <cx:pt idx="1193">18.917400000000001</cx:pt>
          <cx:pt idx="1194">6.03059999999999</cx:pt>
          <cx:pt idx="1195">8.1120000000000001</cx:pt>
          <cx:pt idx="1196">13.5924</cx:pt>
          <cx:pt idx="1197">12.967500000000001</cx:pt>
          <cx:pt idx="1198">7.8415999999999997</cx:pt>
          <cx:pt idx="1199">18.7636</cx:pt>
          <cx:pt idx="1200">12.825000000000001</cx:pt>
          <cx:pt idx="1201">11.4696</cx:pt>
          <cx:pt idx="1202">40.86927</cx:pt>
          <cx:pt idx="1203">80.878699999999697</cx:pt>
          <cx:pt idx="1204">13.736999999999998</cx:pt>
          <cx:pt idx="1205">35.737099999999998</cx:pt>
          <cx:pt idx="1206">5.89949999999999</cx:pt>
          <cx:pt idx="1207">3.5895999999999999</cx:pt>
          <cx:pt idx="1208">13.5924</cx:pt>
          <cx:pt idx="1209">13.33212</cx:pt>
          <cx:pt idx="1210">41.379800000000003</cx:pt>
          <cx:pt idx="1211">19.240380000000002</cx:pt>
          <cx:pt idx="1212">5.7683999999999997</cx:pt>
          <cx:pt idx="1213">13.1242499999999</cx:pt>
          <cx:pt idx="1214">4.6151999999999997</cx:pt>
          <cx:pt idx="1215">3.2050000000000001</cx:pt>
          <cx:pt idx="1216">11.4696</cx:pt>
          <cx:pt idx="1217">40.842399999999998</cx:pt>
          <cx:pt idx="1218">10.0008</cx:pt>
          <cx:pt idx="1219">50.515599999999907</cx:pt>
          <cx:pt idx="1220">3.8716400000000197</cx:pt>
          <cx:pt idx="1221">5.89949999999999</cx:pt>
          <cx:pt idx="1222">10.278600000000001</cx:pt>
          <cx:pt idx="1223">14.1708</cx:pt>
          <cx:pt idx="1224">15.6244</cx:pt>
          <cx:pt idx="1225">12.319199999999899</cx:pt>
          <cx:pt idx="1226">17.840799999999902</cx:pt>
          <cx:pt idx="1227">38.961499999999901</cx:pt>
          <cx:pt idx="1228">9.5840999999999994</cx:pt>
          <cx:pt idx="1229">10.834199999999999</cx:pt>
          <cx:pt idx="1230">7.8415999999999997</cx:pt>
          <cx:pt idx="1231">38.424100000000003</cx:pt>
          <cx:pt idx="1232">5.63729999999999</cx:pt>
          <cx:pt idx="1233">7.1655999999999995</cx:pt>
          <cx:pt idx="1234">18.148399999999899</cx:pt>
          <cx:pt idx="1235">17.2256</cx:pt>
          <cx:pt idx="1236">49.1721</cx:pt>
          <cx:pt idx="1237">4.4998199999999899</cx:pt>
          <cx:pt idx="1238">15.329599999999999</cx:pt>
          <cx:pt idx="1239">17.24098</cx:pt>
          <cx:pt idx="1240">3.5895999999999999</cx:pt>
          <cx:pt idx="1241">46.485100000000003</cx:pt>
          <cx:pt idx="1242">46.485100000000003</cx:pt>
          <cx:pt idx="1243">7.3008000000000006</cx:pt>
          <cx:pt idx="1244">38.746540000000003</cx:pt>
          <cx:pt idx="1245">7.1655999999999995</cx:pt>
          <cx:pt idx="1246">15.771799999999999</cx:pt>
          <cx:pt idx="1247">40.036300000000004</cx:pt>
          <cx:pt idx="1248">7.1655999999999995</cx:pt>
          <cx:pt idx="1249">10.834199999999999</cx:pt>
          <cx:pt idx="1250">14.3154</cx:pt>
          <cx:pt idx="1251">54.008699999999997</cx:pt>
          <cx:pt idx="1252">18.640560000000001</cx:pt>
          <cx:pt idx="1253">5.89949999999999</cx:pt>
          <cx:pt idx="1254">9.722999999999999</cx:pt>
          <cx:pt idx="1255">38.961499999999901</cx:pt>
          <cx:pt idx="1256">19.225000000000001</cx:pt>
          <cx:pt idx="1257">15.329599999999999</cx:pt>
          <cx:pt idx="1258">11.752799999999999</cx:pt>
          <cx:pt idx="1259">11.752799999999999</cx:pt>
          <cx:pt idx="1260">5.63729999999999</cx:pt>
          <cx:pt idx="1261">19.240380000000002</cx:pt>
          <cx:pt idx="1262">49.978200000000001</cx:pt>
          <cx:pt idx="1263">19.547980000000003</cx:pt>
          <cx:pt idx="1264">6.8171999999999997</cx:pt>
          <cx:pt idx="1265">15.329599999999999</cx:pt>
          <cx:pt idx="1266">14.769479999999998</cx:pt>
          <cx:pt idx="1267">8.5175999999999998</cx:pt>
          <cx:pt idx="1268">4.2305999999999999</cx:pt>
          <cx:pt idx="1269">5.2561999999999998</cx:pt>
          <cx:pt idx="1270">15.786539999999999</cx:pt>
          <cx:pt idx="1271">6.8171999999999997</cx:pt>
          <cx:pt idx="1272">57.501799999999903</cx:pt>
          <cx:pt idx="1273">37.618000000000002</cx:pt>
          <cx:pt idx="1274">7.4359999999999999</cx:pt>
          <cx:pt idx="1275">11.752799999999999</cx:pt>
          <cx:pt idx="1276">11.4696</cx:pt>
          <cx:pt idx="1277">38.1554</cx:pt>
          <cx:pt idx="1278">4.3588000000000005</cx:pt>
          <cx:pt idx="1279">12.995999999999999</cx:pt>
          <cx:pt idx="1280">7.8415999999999997</cx:pt>
          <cx:pt idx="1281">6.1616999999999997</cx:pt>
          <cx:pt idx="1282">43.798099999999998</cx:pt>
          <cx:pt idx="1283">16.79496</cx:pt>
          <cx:pt idx="1284">15.6244</cx:pt>
          <cx:pt idx="1285">39.230199999999897</cx:pt>
          <cx:pt idx="1286">10.4175</cx:pt>
          <cx:pt idx="1287">52.933899999999902</cx:pt>
          <cx:pt idx="1288">6.8171999999999997</cx:pt>
          <cx:pt idx="1289">55.889599999999696</cx:pt>
          <cx:pt idx="1290">8.5175999999999998</cx:pt>
          <cx:pt idx="1291">15.786539999999999</cx:pt>
          <cx:pt idx="1292">18.625179999999901</cx:pt>
          <cx:pt idx="1293">35.763969999999901</cx:pt>
          <cx:pt idx="1294">5.0254400000000201</cx:pt>
          <cx:pt idx="1295">40.573700000000002</cx:pt>
          <cx:pt idx="1296">8.2472000000000012</cx:pt>
          <cx:pt idx="1297">3.2050000000000001</cx:pt>
          <cx:pt idx="1298">13.447799999999999</cx:pt>
          <cx:pt idx="1299">18.4713799999999</cx:pt>
          <cx:pt idx="1300">39.767599999999995</cx:pt>
          <cx:pt idx="1301">8.9232000000000014</cx:pt>
          <cx:pt idx="1302">8.5175999999999998</cx:pt>
          <cx:pt idx="1303">48.366</cx:pt>
          <cx:pt idx="1304">67.71239999999969</cx:pt>
          <cx:pt idx="1305">5.8197600000000005</cx:pt>
          <cx:pt idx="1306">7.5336600000000002</cx:pt>
          <cx:pt idx="1307">3.68391</cx:pt>
          <cx:pt idx="1308">8.4165399999999995</cx:pt>
          <cx:pt idx="1309">4.7455199999999902</cx:pt>
          <cx:pt idx="1310">29.583869999999902</cx:pt>
          <cx:pt idx="1311">3.42171</cx:pt>
          <cx:pt idx="1312">40.869269999999901</cx:pt>
          <cx:pt idx="1313">3.2906099999999898</cx:pt>
          <cx:pt idx="1314">9.1535399999999996</cx:pt>
          <cx:pt idx="1315">4.74552</cx:pt>
          <cx:pt idx="1316">1.9358199999999999</cx:pt>
          <cx:pt idx="1317">5.0159200000000004</cx:pt>
          <cx:pt idx="1318">27.97167</cx:pt>
          <cx:pt idx="1319">7.2444600000000001</cx:pt>
          <cx:pt idx="1320">27.702969999999898</cx:pt>
          <cx:pt idx="1321">32.0021699999999</cx:pt>
          <cx:pt idx="1322">8.1217399999999991</cx:pt>
          <cx:pt idx="1323">3.94611</cx:pt>
          <cx:pt idx="1324">2.5768200000000001</cx:pt>
          <cx:pt idx="1325">39.525769999999902</cx:pt>
          <cx:pt idx="1326">32.270869999999903</cx:pt>
          <cx:pt idx="1327">6.9552600000000009</cx:pt>
          <cx:pt idx="1328">5.99925</cx:pt>
          <cx:pt idx="1329">37.913569999999901</cx:pt>
          <cx:pt idx="1330">2.1922199999999998</cx:pt>
          <cx:pt idx="1331">7.5336600000000002</cx:pt>
          <cx:pt idx="1332">1.42301999999999</cx:pt>
          <cx:pt idx="1333">9.1535399999999907</cx:pt>
          <cx:pt idx="1334">5.8197600000000005</cx:pt>
          <cx:pt idx="1335">33.076969999999903</cx:pt>
          <cx:pt idx="1336">11.85798</cx:pt>
          <cx:pt idx="1337">4.74552</cx:pt>
          <cx:pt idx="1338">27.434269999999898</cx:pt>
          <cx:pt idx="1339">41.944069999999897</cx:pt>
          <cx:pt idx="1340">8.5639399999999899</cx:pt>
          <cx:pt idx="1341">1.80762</cx:pt>
          <cx:pt idx="1342">2.44862</cx:pt>
          <cx:pt idx="1343">0.91021999999999992</cx:pt>
          <cx:pt idx="1344">8.2691400000000002</cx:pt>
          <cx:pt idx="1345">14.164979999999899</cx:pt>
          <cx:pt idx="1346">10.774939999999999</cx:pt>
          <cx:pt idx="1347">38.182269999999903</cx:pt>
          <cx:pt idx="1348">8.7113399999999999</cx:pt>
        </cx:lvl>
      </cx:numDim>
    </cx:data>
    <cx:data id="3">
      <cx:numDim type="val">
        <cx:f>Sheet2!$D$2:$D$11265</cx:f>
        <cx:lvl ptCount="11264" formatCode="General">
          <cx:pt idx="0">8.1120000000000001</cx:pt>
          <cx:pt idx="1">17.840799999999902</cx:pt>
          <cx:pt idx="2">37.618000000000002</cx:pt>
          <cx:pt idx="3">3.4613999999999998</cx:pt>
          <cx:pt idx="4">40.305</cx:pt>
          <cx:pt idx="5">17.994599999999998</cx:pt>
          <cx:pt idx="6">18.917400000000001</cx:pt>
          <cx:pt idx="7">13.109999999999999</cx:pt>
          <cx:pt idx="8">10.278600000000001</cx:pt>
          <cx:pt idx="9">15.034799999999901</cx:pt>
          <cx:pt idx="10">15.771799999999999</cx:pt>
          <cx:pt idx="11">7.5847200000000008</cx:pt>
          <cx:pt idx="12">4.3588000000000005</cx:pt>
          <cx:pt idx="13">8.5175999999999998</cx:pt>
          <cx:pt idx="14">9.8619000000000003</cx:pt>
          <cx:pt idx="15">3.9741999999999997</cx:pt>
          <cx:pt idx="16">9.4451999999999998</cx:pt>
          <cx:pt idx="17">18.7636</cx:pt>
          <cx:pt idx="18">10.139699999999999</cx:pt>
          <cx:pt idx="19">15.04954</cx:pt>
          <cx:pt idx="20">10.139699999999999</cx:pt>
          <cx:pt idx="21">5.89949999999999</cx:pt>
          <cx:pt idx="22">4.2305999999999999</cx:pt>
          <cx:pt idx="23">5.2561999999999998</cx:pt>
          <cx:pt idx="24">4.2305999999999999</cx:pt>
          <cx:pt idx="25">13.881599999999999</cx:pt>
          <cx:pt idx="26">3.8460000000000001</cx:pt>
          <cx:pt idx="27">10.0008</cx:pt>
          <cx:pt idx="28">6.2927999999999997</cx:pt>
          <cx:pt idx="29">6.4239000000000006</cx:pt>
          <cx:pt idx="30">6.6860999999999908</cx:pt>
          <cx:pt idx="31">8.6527999999999992</cx:pt>
          <cx:pt idx="32">38.1554</cx:pt>
          <cx:pt idx="33">9.8619000000000003</cx:pt>
          <cx:pt idx="34">5.1279999999999903</cx:pt>
          <cx:pt idx="35">17.256359999999901</cx:pt>
          <cx:pt idx="36">37.886699999999998</cx:pt>
          <cx:pt idx="37">10.278600000000001</cx:pt>
          <cx:pt idx="38">8.5175999999999998</cx:pt>
          <cx:pt idx="39">4.6151999999999997</cx:pt>
          <cx:pt idx="40">3.9741999999999997</cx:pt>
          <cx:pt idx="41">5.9126099999999893</cx:pt>
          <cx:pt idx="42">7.5712000000000002</cx:pt>
          <cx:pt idx="43">4.2305999999999999</cx:pt>
          <cx:pt idx="44">10.6952999999999</cx:pt>
          <cx:pt idx="45">3.9741999999999997</cx:pt>
          <cx:pt idx="46">12.825000000000001</cx:pt>
          <cx:pt idx="47">6.5549999999999997</cx:pt>
          <cx:pt idx="48">15.182200000000002</cx:pt>
          <cx:pt idx="49">12.050159999999901</cx:pt>
          <cx:pt idx="50">41.917200000000001</cx:pt>
          <cx:pt idx="51">11.894399999999999</cx:pt>
          <cx:pt idx="52">15.9192</cx:pt>
          <cx:pt idx="53">14.8873999999999</cx:pt>
          <cx:pt idx="54">6.2927999999999997</cx:pt>
          <cx:pt idx="55">15.639140000000001</cx:pt>
          <cx:pt idx="56">11.4696</cx:pt>
          <cx:pt idx="57">4.1023999999999994</cx:pt>
          <cx:pt idx="58">10.5564</cx:pt>
          <cx:pt idx="59">9.4451999999999998</cx:pt>
          <cx:pt idx="60">2.6922000000000001</cx:pt>
          <cx:pt idx="61">5.5061999999999998</cx:pt>
          <cx:pt idx="62">5.7683999999999997</cx:pt>
          <cx:pt idx="63">14.74</cx:pt>
          <cx:pt idx="64">13.447799999999999</cx:pt>
          <cx:pt idx="65">10.0008</cx:pt>
          <cx:pt idx="66">16.917999999999999</cx:pt>
          <cx:pt idx="67">11.328000000000001</cx:pt>
          <cx:pt idx="68">7.1655999999999995</cx:pt>
          <cx:pt idx="69">10.139699999999999</cx:pt>
          <cx:pt idx="70">15.344340000000001</cx:pt>
          <cx:pt idx="71">14.8873999999999</cx:pt>
          <cx:pt idx="72">9.4451999999999998</cx:pt>
          <cx:pt idx="73">10.0008</cx:pt>
          <cx:pt idx="74">8.9232000000000014</cx:pt>
          <cx:pt idx="75">4.3588000000000005</cx:pt>
          <cx:pt idx="76">7.3008000000000006</cx:pt>
          <cx:pt idx="77">51.590400000000002</cx:pt>
          <cx:pt idx="78">10.0008</cx:pt>
          <cx:pt idx="79">9.4451999999999998</cx:pt>
          <cx:pt idx="80">18.7636</cx:pt>
          <cx:pt idx="81">6.4239000000000006</cx:pt>
          <cx:pt idx="82">14.607339999999999</cx:pt>
          <cx:pt idx="83">7.3008000000000006</cx:pt>
          <cx:pt idx="84">6.4239000000000006</cx:pt>
          <cx:pt idx="85">13.31766</cx:pt>
          <cx:pt idx="86">2.0511999999999997</cx:pt>
          <cx:pt idx="87">8.2472000000000012</cx:pt>
          <cx:pt idx="88">7.5712000000000002</cx:pt>
          <cx:pt idx="89">38.961499999999901</cx:pt>
          <cx:pt idx="90">2.3204199999999999</cx:pt>
          <cx:pt idx="91">4.3399200000000002</cx:pt>
          <cx:pt idx="92">4.3399200000000002</cx:pt>
        </cx:lvl>
      </cx:numDim>
    </cx:data>
    <cx:data id="4">
      <cx:numDim type="val">
        <cx:f>Sheet2!$E$2:$E$11265</cx:f>
        <cx:lvl ptCount="11264" formatCode="General">
          <cx:pt idx="0">36.274499999999996</cx:pt>
          <cx:pt idx="1">63.413199999999904</cx:pt>
          <cx:pt idx="2">15.329599999999999</cx:pt>
          <cx:pt idx="3">53.202599999999997</cx:pt>
          <cx:pt idx="4">50.515599999999907</cx:pt>
          <cx:pt idx="5">56.695699999999704</cx:pt>
          <cx:pt idx="6">47.291200000000003</cx:pt>
          <cx:pt idx="7">47.022500000000001</cx:pt>
          <cx:pt idx="8">15.771799999999999</cx:pt>
          <cx:pt idx="9">58.307900000000004</cx:pt>
          <cx:pt idx="10">59.113999999999997</cx:pt>
          <cx:pt idx="11">49.467669999999906</cx:pt>
          <cx:pt idx="12">36.811899999999895</cx:pt>
          <cx:pt idx="13">64.756699999999697</cx:pt>
          <cx:pt idx="14">35.1997</cx:pt>
          <cx:pt idx="15">43.529399999999903</cx:pt>
          <cx:pt idx="16">18.6098</cx:pt>
          <cx:pt idx="17">5.1279999999999903</cx:pt>
          <cx:pt idx="18">57.501799999999903</cx:pt>
          <cx:pt idx="19">48.93027</cx:pt>
          <cx:pt idx="20">2.3075999999999999</cx:pt>
          <cx:pt idx="21">43.2607</cx:pt>
          <cx:pt idx="22">50.784299999999902</cx:pt>
          <cx:pt idx="23">18.6098</cx:pt>
          <cx:pt idx="24">42.454599999999999</cx:pt>
          <cx:pt idx="25">72.548999999999694</cx:pt>
          <cx:pt idx="26">37.618000000000002</cx:pt>
          <cx:pt idx="27">40.573700000000002</cx:pt>
          <cx:pt idx="28">15.771799999999999</cx:pt>
          <cx:pt idx="29">40.331869999999995</cx:pt>
          <cx:pt idx="30">67.228739999999704</cx:pt>
          <cx:pt idx="31">40.842399999999998</cx:pt>
          <cx:pt idx="32">39.498899999999999</cx:pt>
          <cx:pt idx="33">36.301369999999999</cx:pt>
          <cx:pt idx="34">50.515599999999907</cx:pt>
          <cx:pt idx="35">34.662300000000002</cx:pt>
          <cx:pt idx="36">48.097299999999898</cx:pt>
          <cx:pt idx="37">46.216399999999901</cx:pt>
          <cx:pt idx="38">18.302199999999999</cx:pt>
          <cx:pt idx="39">34.930999999999997</cx:pt>
          <cx:pt idx="40">18.4713799999999</cx:pt>
          <cx:pt idx="41">61.800999999999995</cx:pt>
          <cx:pt idx="42">15.801279999999901</cx:pt>
          <cx:pt idx="43">39.767599999999995</cx:pt>
          <cx:pt idx="44">45.947700000000005</cx:pt>
          <cx:pt idx="45">10.848089999999901</cx:pt>
          <cx:pt idx="46">44.872899999999902</cx:pt>
          <cx:pt idx="47">6.03059999999999</cx:pt>
          <cx:pt idx="48">51.859100000000005</cx:pt>
          <cx:pt idx="49">43.2607</cx:pt>
          <cx:pt idx="50">37.080599999999905</cx:pt>
          <cx:pt idx="51">5.89949999999999</cx:pt>
          <cx:pt idx="52">42.750169999999898</cx:pt>
          <cx:pt idx="53">42.454599999999999</cx:pt>
          <cx:pt idx="54">11.4696</cx:pt>
          <cx:pt idx="55">43.2607</cx:pt>
          <cx:pt idx="56">42.454599999999999</cx:pt>
          <cx:pt idx="57">14.0261999999999</cx:pt>
          <cx:pt idx="58">40.06317</cx:pt>
          <cx:pt idx="59">13.5924</cx:pt>
          <cx:pt idx="60">41.1111</cx:pt>
          <cx:pt idx="61">49.440800000000003</cx:pt>
          <cx:pt idx="62">17.702379999999902</cx:pt>
          <cx:pt idx="63">61.263599999999997</cx:pt>
          <cx:pt idx="64">15.6244</cx:pt>
          <cx:pt idx="65">55.620899999999693</cx:pt>
          <cx:pt idx="66">15.771799999999999</cx:pt>
          <cx:pt idx="67">19.225000000000001</cx:pt>
          <cx:pt idx="68">40.600570000000005</cx:pt>
          <cx:pt idx="69">40.573700000000002</cx:pt>
          <cx:pt idx="70">45.678999999999995</cx:pt>
          <cx:pt idx="71">13.5924</cx:pt>
          <cx:pt idx="72">40.305</cx:pt>
          <cx:pt idx="73">14.1852599999999</cx:pt>
        </cx:lvl>
      </cx:numDim>
    </cx:data>
    <cx:data id="5">
      <cx:numDim type="val">
        <cx:f>Sheet2!$F$2:$F$11265</cx:f>
        <cx:lvl ptCount="11264" formatCode="General">
          <cx:pt idx="0">18.148399999999899</cx:pt>
          <cx:pt idx="1">8.1120000000000001</cx:pt>
          <cx:pt idx="2">12.967500000000001</cx:pt>
          <cx:pt idx="3">9.5840999999999994</cx:pt>
          <cx:pt idx="4">6.2927999999999997</cx:pt>
          <cx:pt idx="5">12.05016</cx:pt>
          <cx:pt idx="6">2.6922000000000001</cx:pt>
          <cx:pt idx="7">14.1708</cx:pt>
          <cx:pt idx="8">9.4451999999999998</cx:pt>
          <cx:pt idx="9">3.5895999999999999</cx:pt>
          <cx:pt idx="10">5.1279999999999903</cx:pt>
          <cx:pt idx="11">12.319199999999899</cx:pt>
          <cx:pt idx="12">13.736999999999998</cx:pt>
          <cx:pt idx="13">19.071199999999997</cx:pt>
          <cx:pt idx="14">5.89949999999999</cx:pt>
          <cx:pt idx="15">10.834199999999999</cx:pt>
          <cx:pt idx="16">10.0008</cx:pt>
          <cx:pt idx="17">4.6151999999999997</cx:pt>
          <cx:pt idx="18">12.319199999999899</cx:pt>
          <cx:pt idx="19">10.973099999999999</cx:pt>
          <cx:pt idx="20">52.665199999999999</cx:pt>
          <cx:pt idx="21">11.4696</cx:pt>
          <cx:pt idx="22">9.8619000000000003</cx:pt>
          <cx:pt idx="23">3.9741999999999997</cx:pt>
          <cx:pt idx="24">11.4696</cx:pt>
          <cx:pt idx="25">6.03059999999999</cx:pt>
          <cx:pt idx="26">2.1922199999999998</cx:pt>
          <cx:pt idx="27">9.722999999999999</cx:pt>
          <cx:pt idx="28">10.4175</cx:pt>
          <cx:pt idx="29">6.3059099999999892</cx:pt>
          <cx:pt idx="30">42.723299999999995</cx:pt>
          <cx:pt idx="31">19.225000000000001</cx:pt>
          <cx:pt idx="32">9.4451999999999998</cx:pt>
          <cx:pt idx="33">4.6280199999999905</cx:pt>
          <cx:pt idx="34">5.9126099999999893</cx:pt>
          <cx:pt idx="35">16.779579999999999</cx:pt>
          <cx:pt idx="36">7.4495199999999997</cx:pt>
          <cx:pt idx="37">4.4870000000000001</cx:pt>
          <cx:pt idx="38">7.4359999999999999</cx:pt>
          <cx:pt idx="39">15.182200000000002</cx:pt>
          <cx:pt idx="40">11.611199999999899</cx:pt>
          <cx:pt idx="41">2.6922000000000001</cx:pt>
          <cx:pt idx="42">12.177599999999899</cx:pt>
          <cx:pt idx="43">6.6860999999999908</cx:pt>
          <cx:pt idx="44">7.1655999999999995</cx:pt>
          <cx:pt idx="45">6.5549999999999997</cx:pt>
          <cx:pt idx="46">5.89949999999999</cx:pt>
          <cx:pt idx="47">6.1748099999999999</cx:pt>
          <cx:pt idx="48">13.109999999999999</cx:pt>
          <cx:pt idx="49">14.74</cx:pt>
          <cx:pt idx="50">7.1655999999999995</cx:pt>
          <cx:pt idx="51">12.474959999999999</cx:pt>
          <cx:pt idx="52">11.328000000000001</cx:pt>
          <cx:pt idx="53">13.736999999999998</cx:pt>
          <cx:pt idx="54">4.8715999999999999</cx:pt>
          <cx:pt idx="55">8.80152</cx:pt>
          <cx:pt idx="56">15.034799999999901</cx:pt>
          <cx:pt idx="57">13.47672</cx:pt>
          <cx:pt idx="58">10.7091899999999</cx:pt>
          <cx:pt idx="59">12.177599999999899</cx:pt>
          <cx:pt idx="60">5.5061999999999998</cx:pt>
          <cx:pt idx="61">6.3059099999999892</cx:pt>
          <cx:pt idx="62">39.767599999999995</cx:pt>
          <cx:pt idx="63">5.5193099999999999</cx:pt>
          <cx:pt idx="64">4.7433999999999994</cx:pt>
          <cx:pt idx="65">3.8460000000000001</cx:pt>
          <cx:pt idx="66">2.6922000000000001</cx:pt>
          <cx:pt idx="67">8.7880000000000003</cx:pt>
          <cx:pt idx="68">4.9998000000000005</cx:pt>
          <cx:pt idx="69">5.7815099999999902</cx:pt>
          <cx:pt idx="70">41.406669999999998</cx:pt>
          <cx:pt idx="71">18.3175799999999</cx:pt>
          <cx:pt idx="72">12.036</cx:pt>
          <cx:pt idx="73">6.5549999999999997</cx:pt>
          <cx:pt idx="74">10.973099999999999</cx:pt>
          <cx:pt idx="75">9.5840999999999994</cx:pt>
          <cx:pt idx="76">7.0439199999999991</cx:pt>
          <cx:pt idx="77">7.1791200000000002</cx:pt>
          <cx:pt idx="78">8.5175999999999998</cx:pt>
          <cx:pt idx="79">17.0718</cx:pt>
          <cx:pt idx="80">51.079869999999907</cx:pt>
          <cx:pt idx="81">5.89949999999999</cx:pt>
          <cx:pt idx="82">9.5840999999999994</cx:pt>
          <cx:pt idx="83">10.5564</cx:pt>
          <cx:pt idx="84">4.9998000000000005</cx:pt>
          <cx:pt idx="85">13.109999999999999</cx:pt>
          <cx:pt idx="86">8.2472000000000012</cx:pt>
          <cx:pt idx="87">13.881599999999999</cx:pt>
          <cx:pt idx="88">16.779579999999999</cx:pt>
          <cx:pt idx="89">43.82497</cx:pt>
          <cx:pt idx="90">11.752799999999999</cx:pt>
          <cx:pt idx="91">38.961499999999901</cx:pt>
          <cx:pt idx="92">8.1120000000000001</cx:pt>
          <cx:pt idx="93">10.973099999999999</cx:pt>
          <cx:pt idx="94">8.9232000000000014</cx:pt>
          <cx:pt idx="95">18.456</cx:pt>
          <cx:pt idx="96">7.7199199999999992</cx:pt>
          <cx:pt idx="97">18.302199999999999</cx:pt>
          <cx:pt idx="98">3.8588200000000001</cx:pt>
          <cx:pt idx="99">8.7880000000000003</cx:pt>
          <cx:pt idx="100">11.328000000000001</cx:pt>
          <cx:pt idx="101">5.7683999999999997</cx:pt>
          <cx:pt idx="102">18.148399999999899</cx:pt>
          <cx:pt idx="103">15.6244</cx:pt>
          <cx:pt idx="104">9.0583999999999989</cx:pt>
          <cx:pt idx="105">8.7880000000000003</cx:pt>
          <cx:pt idx="106">15.6244</cx:pt>
          <cx:pt idx="107">16.764200000000002</cx:pt>
          <cx:pt idx="108">17.840799999999902</cx:pt>
          <cx:pt idx="109">19.378799999999998</cx:pt>
          <cx:pt idx="110">4.6151999999999997</cx:pt>
          <cx:pt idx="111">10.834199999999999</cx:pt>
          <cx:pt idx="112">12.333360000000001</cx:pt>
          <cx:pt idx="113">12.319199999999899</cx:pt>
          <cx:pt idx="114">6.5549999999999997</cx:pt>
          <cx:pt idx="115">6.03059999999999</cx:pt>
          <cx:pt idx="116">5.5061999999999998</cx:pt>
          <cx:pt idx="117">8.3959200000000003</cx:pt>
          <cx:pt idx="118">35.737099999999998</cx:pt>
          <cx:pt idx="119">10.5564</cx:pt>
          <cx:pt idx="120">51.3216999999999</cx:pt>
          <cx:pt idx="121">9.8619000000000003</cx:pt>
          <cx:pt idx="122">18.778979999999901</cx:pt>
          <cx:pt idx="123">6.5549999999999997</cx:pt>
          <cx:pt idx="124">6.1616999999999997</cx:pt>
          <cx:pt idx="125">17.3794</cx:pt>
          <cx:pt idx="126">4.8844199999999995</cx:pt>
          <cx:pt idx="127">12.319199999999899</cx:pt>
          <cx:pt idx="128">8.1120000000000001</cx:pt>
          <cx:pt idx="129">38.450969999999998</cx:pt>
          <cx:pt idx="130">7.1655999999999995</cx:pt>
          <cx:pt idx="131">9.722999999999999</cx:pt>
          <cx:pt idx="132">40.896139999999995</cx:pt>
          <cx:pt idx="133">16.917999999999999</cx:pt>
          <cx:pt idx="134">3.9741999999999997</cx:pt>
          <cx:pt idx="135">11.752799999999999</cx:pt>
          <cx:pt idx="136">8.260720000000001</cx:pt>
          <cx:pt idx="137">15.476999999999999</cx:pt>
          <cx:pt idx="138">11.894399999999999</cx:pt>
          <cx:pt idx="139">40.358739999999997</cx:pt>
          <cx:pt idx="140">3.4742199999999896</cx:pt>
          <cx:pt idx="141">8.1120000000000001</cx:pt>
          <cx:pt idx="142">8.9232000000000014</cx:pt>
          <cx:pt idx="143">4.3972600000000206</cx:pt>
          <cx:pt idx="144">12.177599999999899</cx:pt>
          <cx:pt idx="145">9.5840999999999994</cx:pt>
          <cx:pt idx="146">58.307900000000004</cx:pt>
          <cx:pt idx="147">6.03059999999999</cx:pt>
          <cx:pt idx="148">7.1655999999999995</cx:pt>
          <cx:pt idx="149">7.1655999999999995</cx:pt>
          <cx:pt idx="150">7.5712000000000002</cx:pt>
          <cx:pt idx="151">5.2561999999999998</cx:pt>
          <cx:pt idx="152">17.840799999999902</cx:pt>
          <cx:pt idx="153">8.6527999999999992</cx:pt>
          <cx:pt idx="154">9.7368899999999989</cx:pt>
          <cx:pt idx="155">11.328000000000001</cx:pt>
          <cx:pt idx="156">9.5840999999999994</cx:pt>
          <cx:pt idx="157">16.917999999999999</cx:pt>
          <cx:pt idx="158">14.1708</cx:pt>
          <cx:pt idx="159">6.0437099999999999</cx:pt>
          <cx:pt idx="160">6.0437099999999999</cx:pt>
          <cx:pt idx="161">4.7433999999999994</cx:pt>
          <cx:pt idx="162">5.2561999999999998</cx:pt>
          <cx:pt idx="163">10.5564</cx:pt>
          <cx:pt idx="164">12.967500000000001</cx:pt>
          <cx:pt idx="165">4.7433999999999994</cx:pt>
          <cx:pt idx="166">4.1023999999999994</cx:pt>
          <cx:pt idx="167">38.47784</cx:pt>
          <cx:pt idx="168">11.4696</cx:pt>
          <cx:pt idx="169">5.89949999999999</cx:pt>
          <cx:pt idx="170">7.8415999999999997</cx:pt>
          <cx:pt idx="171">7.7199199999999992</cx:pt>
          <cx:pt idx="172">10.834199999999999</cx:pt>
          <cx:pt idx="173">5.7683999999999997</cx:pt>
          <cx:pt idx="174">10.431389999999901</cx:pt>
          <cx:pt idx="175">17.3794</cx:pt>
          <cx:pt idx="176">14.8873999999999</cx:pt>
          <cx:pt idx="177">8.9232000000000014</cx:pt>
          <cx:pt idx="178">2.0511999999999997</cx:pt>
          <cx:pt idx="179">7.1655999999999995</cx:pt>
          <cx:pt idx="180">8.3959200000000003</cx:pt>
          <cx:pt idx="181">11.4696</cx:pt>
          <cx:pt idx="182">4.3588000000000005</cx:pt>
          <cx:pt idx="183">9.722999999999999</cx:pt>
          <cx:pt idx="184">7.4359999999999999</cx:pt>
          <cx:pt idx="185">5.1279999999999903</cx:pt>
          <cx:pt idx="186">10.278600000000001</cx:pt>
          <cx:pt idx="187">11.611199999999899</cx:pt>
          <cx:pt idx="188">13.736999999999998</cx:pt>
          <cx:pt idx="189">5.1408199999999997</cx:pt>
          <cx:pt idx="190">13.109999999999999</cx:pt>
          <cx:pt idx="191">9.4451999999999998</cx:pt>
          <cx:pt idx="192">7.8551199999999906</cx:pt>
          <cx:pt idx="193">7.1655999999999995</cx:pt>
          <cx:pt idx="194">17.0718</cx:pt>
          <cx:pt idx="195">1.9358199999999999</cx:pt>
          <cx:pt idx="196">7.8415999999999997</cx:pt>
          <cx:pt idx="197">8.1120000000000001</cx:pt>
          <cx:pt idx="198">12.602399999999999</cx:pt>
          <cx:pt idx="199">8.3823999999999987</cx:pt>
          <cx:pt idx="200">10.5564</cx:pt>
          <cx:pt idx="201">37.403039999999898</cx:pt>
          <cx:pt idx="202">7.4359999999999999</cx:pt>
          <cx:pt idx="203">4.3588000000000005</cx:pt>
          <cx:pt idx="204">13.447799999999999</cx:pt>
          <cx:pt idx="205">13.462259999999901</cx:pt>
          <cx:pt idx="206">14.1708</cx:pt>
          <cx:pt idx="207">8.2472000000000012</cx:pt>
          <cx:pt idx="208">41.379800000000003</cx:pt>
          <cx:pt idx="209">12.61656</cx:pt>
          <cx:pt idx="210">44.899769999999997</cx:pt>
          <cx:pt idx="211">6.4239000000000006</cx:pt>
          <cx:pt idx="212">12.967500000000001</cx:pt>
          <cx:pt idx="213">11.894399999999999</cx:pt>
          <cx:pt idx="214">16.779579999999999</cx:pt>
          <cx:pt idx="215">8.5175999999999998</cx:pt>
          <cx:pt idx="216">6.6860999999999908</cx:pt>
          <cx:pt idx="217">6.6860999999999908</cx:pt>
          <cx:pt idx="218">18.456</cx:pt>
          <cx:pt idx="219">7.8415999999999997</cx:pt>
          <cx:pt idx="220">4.8715999999999999</cx:pt>
          <cx:pt idx="221">14.75474</cx:pt>
          <cx:pt idx="222">12.177599999999899</cx:pt>
          <cx:pt idx="223">34.662300000000002</cx:pt>
          <cx:pt idx="224">8.2472000000000012</cx:pt>
          <cx:pt idx="225">10.6952999999999</cx:pt>
          <cx:pt idx="226">3.7178000000000004</cx:pt>
          <cx:pt idx="227">8.6527999999999992</cx:pt>
          <cx:pt idx="228">11.894399999999999</cx:pt>
          <cx:pt idx="229">14.0261999999999</cx:pt>
          <cx:pt idx="230">15.639140000000001</cx:pt>
          <cx:pt idx="231">10.139699999999999</cx:pt>
          <cx:pt idx="232">11.611199999999899</cx:pt>
          <cx:pt idx="233">37.644870000000004</cx:pt>
          <cx:pt idx="234">9.5840999999999994</cx:pt>
          <cx:pt idx="235">6.2927999999999997</cx:pt>
          <cx:pt idx="236">6.6860999999999908</cx:pt>
          <cx:pt idx="237">40.573700000000002</cx:pt>
          <cx:pt idx="238">7.9767999999999892</cx:pt>
          <cx:pt idx="239">9.0583999999999989</cx:pt>
          <cx:pt idx="240">8.7880000000000003</cx:pt>
          <cx:pt idx="241">13.447799999999999</cx:pt>
          <cx:pt idx="242">39.498899999999999</cx:pt>
          <cx:pt idx="243">7.1655999999999995</cx:pt>
          <cx:pt idx="244">7.5712000000000002</cx:pt>
          <cx:pt idx="245">8.7880000000000003</cx:pt>
          <cx:pt idx="246">5.2561999999999998</cx:pt>
          <cx:pt idx="247">4.6151999999999997</cx:pt>
          <cx:pt idx="248">3.60242</cx:pt>
          <cx:pt idx="249">5.1408199999999997</cx:pt>
          <cx:pt idx="250">10.139699999999999</cx:pt>
          <cx:pt idx="251">3.7306199999999996</cx:pt>
          <cx:pt idx="252">10.973099999999999</cx:pt>
          <cx:pt idx="253">6.1748099999999999</cx:pt>
          <cx:pt idx="254">8.2472000000000012</cx:pt>
          <cx:pt idx="255">5.5061999999999998</cx:pt>
          <cx:pt idx="256">9.8619000000000003</cx:pt>
          <cx:pt idx="257">12.967500000000001</cx:pt>
          <cx:pt idx="258">17.548580000000001</cx:pt>
          <cx:pt idx="259">12.177599999999899</cx:pt>
          <cx:pt idx="260">8.1120000000000001</cx:pt>
          <cx:pt idx="261">17.2256</cx:pt>
          <cx:pt idx="262">17.0718</cx:pt>
          <cx:pt idx="263">17.0718</cx:pt>
          <cx:pt idx="264">6.1616999999999997</cx:pt>
          <cx:pt idx="265">2.0640200000000002</cx:pt>
          <cx:pt idx="266">6.6860999999999908</cx:pt>
          <cx:pt idx="267">10.292490000000001</cx:pt>
          <cx:pt idx="268">35.226570000000002</cx:pt>
          <cx:pt idx="269">5.9126099999999893</cx:pt>
          <cx:pt idx="270">6.1616999999999997</cx:pt>
          <cx:pt idx="271">10.973099999999999</cx:pt>
          <cx:pt idx="272">12.319199999999899</cx:pt>
          <cx:pt idx="273">11.894399999999999</cx:pt>
          <cx:pt idx="274">19.086580000000001</cx:pt>
          <cx:pt idx="275">8.1120000000000001</cx:pt>
          <cx:pt idx="276">5.7683999999999997</cx:pt>
          <cx:pt idx="277">17.687000000000001</cx:pt>
          <cx:pt idx="278">4.2305999999999999</cx:pt>
          <cx:pt idx="279">5.2561999999999998</cx:pt>
          <cx:pt idx="280">7.3008000000000006</cx:pt>
          <cx:pt idx="281">11.752799999999999</cx:pt>
          <cx:pt idx="282">12.319199999999899</cx:pt>
          <cx:pt idx="283">6.2927999999999997</cx:pt>
          <cx:pt idx="284">17.3794</cx:pt>
          <cx:pt idx="285">4.8715999999999999</cx:pt>
          <cx:pt idx="286">6.0437099999999999</cx:pt>
          <cx:pt idx="287">11.328000000000001</cx:pt>
          <cx:pt idx="288">6.4239000000000006</cx:pt>
          <cx:pt idx="289">14.8873999999999</cx:pt>
          <cx:pt idx="290">8.6527999999999992</cx:pt>
          <cx:pt idx="291">7.9767999999999892</cx:pt>
          <cx:pt idx="292">4.7433999999999994</cx:pt>
          <cx:pt idx="293">3.7178000000000004</cx:pt>
          <cx:pt idx="294">11.4696</cx:pt>
          <cx:pt idx="295">9.722999999999999</cx:pt>
          <cx:pt idx="296">6.03059999999999</cx:pt>
          <cx:pt idx="297">5.2561999999999998</cx:pt>
          <cx:pt idx="298">17.0718</cx:pt>
          <cx:pt idx="299">17.24098</cx:pt>
          <cx:pt idx="300">10.0008</cx:pt>
          <cx:pt idx="301">6.2927999999999997</cx:pt>
          <cx:pt idx="302">17.687000000000001</cx:pt>
          <cx:pt idx="303">7.5712000000000002</cx:pt>
          <cx:pt idx="304">10.834199999999999</cx:pt>
          <cx:pt idx="305">15.476999999999999</cx:pt>
          <cx:pt idx="306">5.1279999999999903</cx:pt>
          <cx:pt idx="307">9.5840999999999994</cx:pt>
          <cx:pt idx="308">4.8715999999999999</cx:pt>
          <cx:pt idx="309">6.5549999999999997</cx:pt>
          <cx:pt idx="310">4.9998000000000005</cx:pt>
          <cx:pt idx="311">6.03059999999999</cx:pt>
          <cx:pt idx="312">15.9192</cx:pt>
          <cx:pt idx="313">8.5175999999999998</cx:pt>
          <cx:pt idx="314">9.4451999999999998</cx:pt>
          <cx:pt idx="315">9.5840999999999994</cx:pt>
          <cx:pt idx="316">6.03059999999999</cx:pt>
          <cx:pt idx="317">2.4358</cx:pt>
          <cx:pt idx="318">17.840799999999902</cx:pt>
          <cx:pt idx="319">10.6952999999999</cx:pt>
          <cx:pt idx="320">39.230199999999897</cx:pt>
          <cx:pt idx="321">12.19176</cx:pt>
          <cx:pt idx="322">18.33296</cx:pt>
          <cx:pt idx="323">10.5564</cx:pt>
          <cx:pt idx="324">7.5712000000000002</cx:pt>
          <cx:pt idx="325">6.2927999999999997</cx:pt>
          <cx:pt idx="326">1.9358199999999999</cx:pt>
          <cx:pt idx="327">6.2927999999999997</cx:pt>
          <cx:pt idx="328">7.4495199999999997</cx:pt>
          <cx:pt idx="329">44.066799999999702</cx:pt>
          <cx:pt idx="330">7.4359999999999999</cx:pt>
          <cx:pt idx="331">5.6504099999999999</cx:pt>
          <cx:pt idx="332">13.881599999999999</cx:pt>
          <cx:pt idx="333">6.5549999999999997</cx:pt>
          <cx:pt idx="334">6.8171999999999997</cx:pt>
          <cx:pt idx="335">4.3588000000000005</cx:pt>
          <cx:pt idx="336">19.225000000000001</cx:pt>
          <cx:pt idx="337">4.4870000000000001</cx:pt>
          <cx:pt idx="338">18.917400000000001</cx:pt>
          <cx:pt idx="339">10.834199999999999</cx:pt>
          <cx:pt idx="340">6.3059099999999892</cx:pt>
          <cx:pt idx="341">7.9767999999999892</cx:pt>
          <cx:pt idx="342">14.74</cx:pt>
          <cx:pt idx="343">7.8415999999999997</cx:pt>
          <cx:pt idx="344">12.474959999999999</cx:pt>
          <cx:pt idx="345">2.5639999999999898</cx:pt>
          <cx:pt idx="346">8.1120000000000001</cx:pt>
          <cx:pt idx="347">14.3154</cx:pt>
          <cx:pt idx="348">14.0406599999999</cx:pt>
          <cx:pt idx="349">10.848089999999901</cx:pt>
          <cx:pt idx="350">11.894399999999999</cx:pt>
          <cx:pt idx="351">6.03059999999999</cx:pt>
          <cx:pt idx="352">5.1279999999999903</cx:pt>
          <cx:pt idx="353">12.460799999999999</cx:pt>
          <cx:pt idx="354">10.6952999999999</cx:pt>
          <cx:pt idx="355">12.177599999999899</cx:pt>
          <cx:pt idx="356">11.497920000000001</cx:pt>
          <cx:pt idx="357">14.74</cx:pt>
          <cx:pt idx="358">36.274499999999996</cx:pt>
          <cx:pt idx="359">10.278600000000001</cx:pt>
          <cx:pt idx="360">8.3823999999999987</cx:pt>
          <cx:pt idx="361">11.894399999999999</cx:pt>
          <cx:pt idx="362">14.8873999999999</cx:pt>
          <cx:pt idx="363">13.736999999999998</cx:pt>
          <cx:pt idx="364">9.8619000000000003</cx:pt>
          <cx:pt idx="365">3.8588200000000001</cx:pt>
          <cx:pt idx="366">3.34601999999999</cx:pt>
          <cx:pt idx="367">5.89949999999999</cx:pt>
          <cx:pt idx="368">5.63729999999999</cx:pt>
          <cx:pt idx="369">10.4175</cx:pt>
          <cx:pt idx="370">8.6527999999999992</cx:pt>
          <cx:pt idx="371">15.771799999999999</cx:pt>
          <cx:pt idx="372">7.3008000000000006</cx:pt>
          <cx:pt idx="373">37.886699999999998</cx:pt>
          <cx:pt idx="374">4.4870000000000001</cx:pt>
          <cx:pt idx="375">16.779579999999999</cx:pt>
          <cx:pt idx="376">8.3823999999999987</cx:pt>
          <cx:pt idx="377">9.722999999999999</cx:pt>
          <cx:pt idx="378">10.0008</cx:pt>
          <cx:pt idx="379">11.894399999999999</cx:pt>
          <cx:pt idx="380">15.19694</cx:pt>
          <cx:pt idx="381">2.3204199999999999</cx:pt>
          <cx:pt idx="382">6.03059999999999</cx:pt>
          <cx:pt idx="383">5.2561999999999998</cx:pt>
          <cx:pt idx="384">5.2690199999999905</cx:pt>
          <cx:pt idx="385">13.5924</cx:pt>
          <cx:pt idx="386">5.7683999999999997</cx:pt>
          <cx:pt idx="387">7.8415999999999997</cx:pt>
          <cx:pt idx="388">36.005800000000001</cx:pt>
          <cx:pt idx="389">4.2305999999999999</cx:pt>
          <cx:pt idx="390">15.639140000000001</cx:pt>
          <cx:pt idx="391">11.4696</cx:pt>
          <cx:pt idx="392">10.4175</cx:pt>
          <cx:pt idx="393">12.319199999999899</cx:pt>
          <cx:pt idx="394">35.495269999999898</cx:pt>
          <cx:pt idx="395">4.4870000000000001</cx:pt>
          <cx:pt idx="396">3.4742199999999896</cx:pt>
          <cx:pt idx="397">4.2305999999999999</cx:pt>
          <cx:pt idx="398">8.7880000000000003</cx:pt>
          <cx:pt idx="399">7.7199199999999992</cx:pt>
          <cx:pt idx="400">6.6860999999999908</cx:pt>
          <cx:pt idx="401">9.5840999999999994</cx:pt>
          <cx:pt idx="402">4.6151999999999997</cx:pt>
          <cx:pt idx="403">10.139699999999999</cx:pt>
          <cx:pt idx="404">10.4175</cx:pt>
          <cx:pt idx="405">6.5681099999999892</cx:pt>
          <cx:pt idx="406">4.7433999999999994</cx:pt>
          <cx:pt idx="407">9.8619000000000003</cx:pt>
          <cx:pt idx="408">17.2256</cx:pt>
          <cx:pt idx="409">5.9126099999999893</cx:pt>
          <cx:pt idx="410">12.460799999999999</cx:pt>
          <cx:pt idx="411">6.3059099999999892</cx:pt>
          <cx:pt idx="412">7.7199199999999992</cx:pt>
          <cx:pt idx="413">6.03059999999999</cx:pt>
          <cx:pt idx="414">6.0437099999999999</cx:pt>
          <cx:pt idx="415">7.3008000000000006</cx:pt>
          <cx:pt idx="416">6.5549999999999997</cx:pt>
          <cx:pt idx="417">7.4359999999999999</cx:pt>
          <cx:pt idx="418">36.543199999999999</cx:pt>
          <cx:pt idx="419">6.8171999999999997</cx:pt>
          <cx:pt idx="420">4.8715999999999999</cx:pt>
          <cx:pt idx="421">4.4870000000000001</cx:pt>
          <cx:pt idx="422">12.319199999999899</cx:pt>
          <cx:pt idx="423">8.3959200000000003</cx:pt>
          <cx:pt idx="424">7.9767999999999892</cx:pt>
          <cx:pt idx="425">10.0008</cx:pt>
          <cx:pt idx="426">5.2561999999999998</cx:pt>
          <cx:pt idx="427">18.456</cx:pt>
          <cx:pt idx="428">9.4451999999999998</cx:pt>
          <cx:pt idx="429">13.447799999999999</cx:pt>
          <cx:pt idx="430">7.7063999999999995</cx:pt>
          <cx:pt idx="431">13.5924</cx:pt>
          <cx:pt idx="432">4.1023999999999994</cx:pt>
          <cx:pt idx="433">16.93338</cx:pt>
          <cx:pt idx="434">6.1616999999999997</cx:pt>
          <cx:pt idx="435">8.2472000000000012</cx:pt>
          <cx:pt idx="436">12.474959999999999</cx:pt>
          <cx:pt idx="437">5.89949999999999</cx:pt>
          <cx:pt idx="438">10.5564</cx:pt>
          <cx:pt idx="439">8.2472000000000012</cx:pt>
          <cx:pt idx="440">8.9232000000000014</cx:pt>
          <cx:pt idx="441">13.447799999999999</cx:pt>
          <cx:pt idx="442">6.6992099999999999</cx:pt>
          <cx:pt idx="443">11.328000000000001</cx:pt>
          <cx:pt idx="444">43.556270000000005</cx:pt>
          <cx:pt idx="445">4.2305999999999999</cx:pt>
          <cx:pt idx="446">11.781120000000001</cx:pt>
          <cx:pt idx="447">3.8588200000000001</cx:pt>
          <cx:pt idx="448">7.4359999999999999</cx:pt>
          <cx:pt idx="449">10.834199999999999</cx:pt>
          <cx:pt idx="450">5.89949999999999</cx:pt>
          <cx:pt idx="451">9.722999999999999</cx:pt>
          <cx:pt idx="452">14.74</cx:pt>
          <cx:pt idx="453">11.894399999999999</cx:pt>
          <cx:pt idx="454">4.8715999999999999</cx:pt>
          <cx:pt idx="455">10.973099999999999</cx:pt>
          <cx:pt idx="456">10.4175</cx:pt>
          <cx:pt idx="457">6.5549999999999997</cx:pt>
          <cx:pt idx="458">6.03059999999999</cx:pt>
          <cx:pt idx="459">9.4451999999999998</cx:pt>
          <cx:pt idx="460">13.5924</cx:pt>
          <cx:pt idx="461">10.6952999999999</cx:pt>
          <cx:pt idx="462">6.4239000000000006</cx:pt>
          <cx:pt idx="463">3.9741999999999997</cx:pt>
          <cx:pt idx="464">4.1152199999999999</cx:pt>
          <cx:pt idx="465">7.0439199999999991</cx:pt>
          <cx:pt idx="466">5.1279999999999903</cx:pt>
          <cx:pt idx="467">9.0583999999999989</cx:pt>
          <cx:pt idx="468">5.7683999999999997</cx:pt>
          <cx:pt idx="469">12.036</cx:pt>
          <cx:pt idx="470">10.6952999999999</cx:pt>
          <cx:pt idx="471">4.8715999999999999</cx:pt>
          <cx:pt idx="472">19.071199999999997</cx:pt>
          <cx:pt idx="473">12.98175</cx:pt>
          <cx:pt idx="474">15.329599999999999</cx:pt>
          <cx:pt idx="475">8.2472000000000012</cx:pt>
          <cx:pt idx="476">7.7199199999999992</cx:pt>
          <cx:pt idx="477">16.764200000000002</cx:pt>
          <cx:pt idx="478">5.63729999999999</cx:pt>
          <cx:pt idx="479">8.2472000000000012</cx:pt>
          <cx:pt idx="480">5.1279999999999903</cx:pt>
          <cx:pt idx="481">6.6860999999999908</cx:pt>
          <cx:pt idx="482">14.1708</cx:pt>
          <cx:pt idx="483">11.48376</cx:pt>
          <cx:pt idx="484">13.881599999999999</cx:pt>
          <cx:pt idx="485">10.4175</cx:pt>
          <cx:pt idx="486">36.032670000000003</cx:pt>
          <cx:pt idx="487">10.5564</cx:pt>
          <cx:pt idx="488">10.5564</cx:pt>
          <cx:pt idx="489">5.2690199999999905</cx:pt>
          <cx:pt idx="490">9.4451999999999998</cx:pt>
          <cx:pt idx="491">6.4239000000000006</cx:pt>
          <cx:pt idx="492">7.3008000000000006</cx:pt>
          <cx:pt idx="493">9.0583999999999989</cx:pt>
          <cx:pt idx="494">19.378799999999998</cx:pt>
          <cx:pt idx="495">11.894399999999999</cx:pt>
          <cx:pt idx="496">10.973099999999999</cx:pt>
          <cx:pt idx="497">14.1708</cx:pt>
          <cx:pt idx="498">8.2472000000000012</cx:pt>
          <cx:pt idx="499">15.6244</cx:pt>
          <cx:pt idx="500">7.9767999999999892</cx:pt>
          <cx:pt idx="501">66.422639999999703</cx:pt>
          <cx:pt idx="502">10.58418</cx:pt>
          <cx:pt idx="503">7.9767999999999892</cx:pt>
          <cx:pt idx="504">7.1655999999999995</cx:pt>
          <cx:pt idx="505">10.0008</cx:pt>
          <cx:pt idx="506">7.4495199999999997</cx:pt>
          <cx:pt idx="507">12.98175</cx:pt>
          <cx:pt idx="508">8.2472000000000012</cx:pt>
          <cx:pt idx="509">4.7433999999999994</cx:pt>
          <cx:pt idx="510">10.278600000000001</cx:pt>
          <cx:pt idx="511">13.751459999999899</cx:pt>
          <cx:pt idx="512">12.460799999999999</cx:pt>
          <cx:pt idx="513">6.2927999999999997</cx:pt>
          <cx:pt idx="514">11.611199999999899</cx:pt>
          <cx:pt idx="515">4.7433999999999994</cx:pt>
          <cx:pt idx="516">60.753070000000001</cx:pt>
          <cx:pt idx="517">18.6098</cx:pt>
          <cx:pt idx="518">64.219299999999706</cx:pt>
          <cx:pt idx="519">8.1120000000000001</cx:pt>
          <cx:pt idx="520">6.4239000000000006</cx:pt>
          <cx:pt idx="521">3.9741999999999997</cx:pt>
          <cx:pt idx="522">4.5126400000000197</cx:pt>
          <cx:pt idx="523">7.5847200000000008</cx:pt>
          <cx:pt idx="524">17.840799999999902</cx:pt>
          <cx:pt idx="525">7.4359999999999999</cx:pt>
          <cx:pt idx="526">8.6663199999999989</cx:pt>
          <cx:pt idx="527">6.4239000000000006</cx:pt>
          <cx:pt idx="528">5.63729999999999</cx:pt>
          <cx:pt idx="529">8.9232000000000014</cx:pt>
          <cx:pt idx="530">4.7433999999999994</cx:pt>
          <cx:pt idx="531">6.6992099999999999</cx:pt>
          <cx:pt idx="532">6.03059999999999</cx:pt>
          <cx:pt idx="533">6.2927999999999997</cx:pt>
          <cx:pt idx="534">18.302199999999999</cx:pt>
          <cx:pt idx="535">10.278600000000001</cx:pt>
          <cx:pt idx="536">7.1791200000000002</cx:pt>
          <cx:pt idx="537">12.177599999999899</cx:pt>
          <cx:pt idx="538">9.5979900000000011</cx:pt>
          <cx:pt idx="539">41.406669999999998</cx:pt>
          <cx:pt idx="540">14.74</cx:pt>
          <cx:pt idx="541">3.9741999999999997</cx:pt>
          <cx:pt idx="542">6.1616999999999997</cx:pt>
          <cx:pt idx="543">6.1748099999999999</cx:pt>
          <cx:pt idx="544">11.4696</cx:pt>
          <cx:pt idx="545">4.1023999999999994</cx:pt>
          <cx:pt idx="546">3.4742199999999896</cx:pt>
          <cx:pt idx="547">8.1120000000000001</cx:pt>
          <cx:pt idx="548">13.736999999999998</cx:pt>
          <cx:pt idx="549">5.63729999999999</cx:pt>
          <cx:pt idx="550">11.90856</cx:pt>
          <cx:pt idx="551">3.4613999999999998</cx:pt>
          <cx:pt idx="552">8.9232000000000014</cx:pt>
          <cx:pt idx="553">10.278600000000001</cx:pt>
          <cx:pt idx="554">7.5847200000000008</cx:pt>
          <cx:pt idx="555">4.2434199999999995</cx:pt>
          <cx:pt idx="556">17.994599999999998</cx:pt>
          <cx:pt idx="557">6.5549999999999997</cx:pt>
          <cx:pt idx="558">8.3959200000000003</cx:pt>
          <cx:pt idx="559">2.1922199999999998</cx:pt>
          <cx:pt idx="560">4.7433999999999994</cx:pt>
          <cx:pt idx="561">17.702379999999902</cx:pt>
          <cx:pt idx="562">4.7562199999999999</cx:pt>
          <cx:pt idx="563">6.6860999999999908</cx:pt>
          <cx:pt idx="564">7.1655999999999995</cx:pt>
          <cx:pt idx="565">5.5061999999999998</cx:pt>
          <cx:pt idx="566">7.5712000000000002</cx:pt>
          <cx:pt idx="567">3.8460000000000001</cx:pt>
          <cx:pt idx="568">17.2256</cx:pt>
          <cx:pt idx="569">4.8715999999999999</cx:pt>
          <cx:pt idx="570">5.5061999999999998</cx:pt>
          <cx:pt idx="571">9.722999999999999</cx:pt>
          <cx:pt idx="572">2.9485999999999999</cx:pt>
          <cx:pt idx="573">7.4359999999999999</cx:pt>
          <cx:pt idx="574">11.4696</cx:pt>
          <cx:pt idx="575">10.0008</cx:pt>
          <cx:pt idx="576">16.917999999999999</cx:pt>
          <cx:pt idx="577">7.4359999999999999</cx:pt>
          <cx:pt idx="578">7.4495199999999997</cx:pt>
          <cx:pt idx="579">2.0640200000000002</cx:pt>
          <cx:pt idx="580">12.319199999999899</cx:pt>
          <cx:pt idx="581">4.6151999999999997</cx:pt>
          <cx:pt idx="582">6.03059999999999</cx:pt>
          <cx:pt idx="583">6.03059999999999</cx:pt>
          <cx:pt idx="584">8.2472000000000012</cx:pt>
          <cx:pt idx="585">12.474959999999999</cx:pt>
          <cx:pt idx="586">7.3008000000000006</cx:pt>
          <cx:pt idx="587">5.1279999999999903</cx:pt>
          <cx:pt idx="588">6.5549999999999997</cx:pt>
          <cx:pt idx="589">7.3008000000000006</cx:pt>
          <cx:pt idx="590">6.2927999999999997</cx:pt>
          <cx:pt idx="591">6.5549999999999997</cx:pt>
          <cx:pt idx="592">13.109999999999999</cx:pt>
          <cx:pt idx="593">4.6151999999999997</cx:pt>
          <cx:pt idx="594">12.460799999999999</cx:pt>
          <cx:pt idx="595">34.662300000000002</cx:pt>
          <cx:pt idx="596">7.5712000000000002</cx:pt>
          <cx:pt idx="597">8.7880000000000003</cx:pt>
          <cx:pt idx="598">11.752799999999999</cx:pt>
          <cx:pt idx="599">12.825000000000001</cx:pt>
          <cx:pt idx="600">9.5840999999999994</cx:pt>
          <cx:pt idx="601">17.0718</cx:pt>
          <cx:pt idx="602">8.260720000000001</cx:pt>
          <cx:pt idx="603">10.4175</cx:pt>
          <cx:pt idx="604">13.751459999999998</cx:pt>
          <cx:pt idx="605">6.4370099999999999</cx:pt>
          <cx:pt idx="606">14.3154</cx:pt>
          <cx:pt idx="607">4.8715999999999999</cx:pt>
          <cx:pt idx="608">7.8415999999999997</cx:pt>
          <cx:pt idx="609">1.16662</cx:pt>
          <cx:pt idx="610">8.9232000000000014</cx:pt>
          <cx:pt idx="611">5.63729999999999</cx:pt>
          <cx:pt idx="612">4.2305999999999999</cx:pt>
          <cx:pt idx="613">8.1120000000000001</cx:pt>
          <cx:pt idx="614">44.3623699999997</cx:pt>
          <cx:pt idx="615">8.2742400000000202</cx:pt>
          <cx:pt idx="616">38.719670000000001</cx:pt>
          <cx:pt idx="617">14.1708</cx:pt>
          <cx:pt idx="618">17.2256</cx:pt>
          <cx:pt idx="619">5.2561999999999998</cx:pt>
          <cx:pt idx="620">15.329599999999999</cx:pt>
          <cx:pt idx="621">7.4359999999999999</cx:pt>
          <cx:pt idx="622">40.305</cx:pt>
          <cx:pt idx="623">18.7636</cx:pt>
          <cx:pt idx="624">7.1655999999999995</cx:pt>
          <cx:pt idx="625">8.7880000000000003</cx:pt>
          <cx:pt idx="626">6.4239000000000006</cx:pt>
          <cx:pt idx="627">12.460799999999999</cx:pt>
          <cx:pt idx="628">3.9741999999999997</cx:pt>
          <cx:pt idx="629">6.8171999999999997</cx:pt>
          <cx:pt idx="630">37.376169999999995</cx:pt>
          <cx:pt idx="631">6.4239000000000006</cx:pt>
          <cx:pt idx="632">7.9767999999999892</cx:pt>
          <cx:pt idx="633">6.03059999999999</cx:pt>
          <cx:pt idx="634">4.8715999999999999</cx:pt>
          <cx:pt idx="635">4.6280199999999905</cx:pt>
          <cx:pt idx="636">40.38561</cx:pt>
          <cx:pt idx="637">10.6952999999999</cx:pt>
          <cx:pt idx="638">6.5549999999999997</cx:pt>
          <cx:pt idx="639">10.6952999999999</cx:pt>
          <cx:pt idx="640">66.422639999999703</cx:pt>
          <cx:pt idx="641">8.9367199999999993</cx:pt>
          <cx:pt idx="642">50.005069999999996</cx:pt>
          <cx:pt idx="643">13.31766</cx:pt>
          <cx:pt idx="644">7.1655999999999995</cx:pt>
          <cx:pt idx="645">13.447799999999999</cx:pt>
          <cx:pt idx="646">6.5549999999999997</cx:pt>
          <cx:pt idx="647">11.752799999999999</cx:pt>
          <cx:pt idx="648">6.1616999999999997</cx:pt>
          <cx:pt idx="649">10.6952999999999</cx:pt>
          <cx:pt idx="650">9.8619000000000003</cx:pt>
          <cx:pt idx="651">9.8619000000000003</cx:pt>
          <cx:pt idx="652">18.148399999999899</cx:pt>
          <cx:pt idx="653">38.424100000000003</cx:pt>
          <cx:pt idx="654">45.4102999999999</cx:pt>
          <cx:pt idx="655">11.328000000000001</cx:pt>
          <cx:pt idx="656">19.240380000000002</cx:pt>
          <cx:pt idx="657">16.93338</cx:pt>
          <cx:pt idx="658">11.752799999999999</cx:pt>
          <cx:pt idx="659">4.4870000000000001</cx:pt>
          <cx:pt idx="660">2.4358</cx:pt>
          <cx:pt idx="661">45.195340000000002</cx:pt>
          <cx:pt idx="662">11.752799999999999</cx:pt>
          <cx:pt idx="663">5.7683999999999997</cx:pt>
          <cx:pt idx="664">9.5840999999999994</cx:pt>
          <cx:pt idx="665">10.973099999999999</cx:pt>
          <cx:pt idx="666">5.89949999999999</cx:pt>
          <cx:pt idx="667">11.328000000000001</cx:pt>
          <cx:pt idx="668">5.9126099999999893</cx:pt>
          <cx:pt idx="669">8.9232000000000014</cx:pt>
          <cx:pt idx="670">5.5061999999999998</cx:pt>
          <cx:pt idx="671">10.4175</cx:pt>
          <cx:pt idx="672">7.5712000000000002</cx:pt>
          <cx:pt idx="673">2.8203999999999998</cx:pt>
          <cx:pt idx="674">15.6244</cx:pt>
          <cx:pt idx="675">6.4239000000000006</cx:pt>
          <cx:pt idx="676">7.8415999999999997</cx:pt>
          <cx:pt idx="677">6.8171999999999997</cx:pt>
          <cx:pt idx="678">3.9741999999999997</cx:pt>
          <cx:pt idx="679">5.2690199999999905</cx:pt>
          <cx:pt idx="680">3.7178000000000004</cx:pt>
          <cx:pt idx="681">17.3794</cx:pt>
          <cx:pt idx="682">19.101960000000002</cx:pt>
          <cx:pt idx="683">19.071199999999997</cx:pt>
          <cx:pt idx="684">4.6280199999999905</cx:pt>
          <cx:pt idx="685">5.5061999999999998</cx:pt>
          <cx:pt idx="686">12.05016</cx:pt>
          <cx:pt idx="687">12.602399999999999</cx:pt>
          <cx:pt idx="688">7.8551199999999906</cx:pt>
          <cx:pt idx="689">4.8715999999999999</cx:pt>
          <cx:pt idx="690">10.973099999999999</cx:pt>
          <cx:pt idx="691">6.3059099999999892</cx:pt>
          <cx:pt idx="692">4.9998000000000005</cx:pt>
          <cx:pt idx="693">4.7562199999999999</cx:pt>
          <cx:pt idx="694">11.328000000000001</cx:pt>
          <cx:pt idx="695">37.376169999999995</cx:pt>
          <cx:pt idx="696">15.6244</cx:pt>
          <cx:pt idx="697">7.7063999999999995</cx:pt>
          <cx:pt idx="698">18.7636</cx:pt>
          <cx:pt idx="699">6.03059999999999</cx:pt>
          <cx:pt idx="700">12.036</cx:pt>
          <cx:pt idx="701">7.5847200000000008</cx:pt>
          <cx:pt idx="702">7.3008000000000006</cx:pt>
          <cx:pt idx="703">7.7063999999999995</cx:pt>
          <cx:pt idx="704">6.1616999999999997</cx:pt>
          <cx:pt idx="705">12.177599999999899</cx:pt>
          <cx:pt idx="706">13.5924</cx:pt>
          <cx:pt idx="707">4.1023999999999994</cx:pt>
          <cx:pt idx="708">4.7433999999999994</cx:pt>
          <cx:pt idx="709">10.4175</cx:pt>
          <cx:pt idx="710">6.6860999999999908</cx:pt>
          <cx:pt idx="711">9.0583999999999989</cx:pt>
          <cx:pt idx="712">6.6860999999999908</cx:pt>
          <cx:pt idx="713">10.5564</cx:pt>
          <cx:pt idx="714">10.834199999999999</cx:pt>
          <cx:pt idx="715">11.752799999999999</cx:pt>
          <cx:pt idx="716">11.766959999999999</cx:pt>
          <cx:pt idx="717">11.894399999999999</cx:pt>
          <cx:pt idx="718">18.148399999999899</cx:pt>
          <cx:pt idx="719">19.240380000000002</cx:pt>
          <cx:pt idx="720">2.3204199999999999</cx:pt>
          <cx:pt idx="721">7.5712000000000002</cx:pt>
          <cx:pt idx="722">12.177599999999899</cx:pt>
          <cx:pt idx="723">2.4358</cx:pt>
          <cx:pt idx="724">38.692799999999998</cx:pt>
          <cx:pt idx="725">13.5924</cx:pt>
          <cx:pt idx="726">7.8551199999999906</cx:pt>
          <cx:pt idx="727">7.1655999999999995</cx:pt>
          <cx:pt idx="728">5.5061999999999998</cx:pt>
          <cx:pt idx="729">15.034799999999901</cx:pt>
          <cx:pt idx="730">11.766959999999999</cx:pt>
          <cx:pt idx="731">6.4239000000000006</cx:pt>
          <cx:pt idx="732">8.2472000000000012</cx:pt>
          <cx:pt idx="733">11.4696</cx:pt>
          <cx:pt idx="734">7.1655999999999995</cx:pt>
          <cx:pt idx="735">4.8715999999999999</cx:pt>
          <cx:pt idx="736">18.456</cx:pt>
          <cx:pt idx="737">6.5549999999999997</cx:pt>
          <cx:pt idx="738">38.450969999999998</cx:pt>
          <cx:pt idx="739">4.6151999999999997</cx:pt>
          <cx:pt idx="740">39.230199999999897</cx:pt>
          <cx:pt idx="741">13.447799999999999</cx:pt>
          <cx:pt idx="742">3.4613999999999998</cx:pt>
          <cx:pt idx="743">36.570070000000001</cx:pt>
          <cx:pt idx="744">5.89949999999999</cx:pt>
          <cx:pt idx="745">11.611199999999899</cx:pt>
          <cx:pt idx="746">11.4696</cx:pt>
          <cx:pt idx="747">2.9614199999999999</cx:pt>
          <cx:pt idx="748">10.139699999999999</cx:pt>
          <cx:pt idx="749">10.278600000000001</cx:pt>
          <cx:pt idx="750">7.3143200000000004</cx:pt>
          <cx:pt idx="751">4.9998000000000005</cx:pt>
          <cx:pt idx="752">15.771799999999999</cx:pt>
          <cx:pt idx="753">10.834199999999999</cx:pt>
          <cx:pt idx="754">2.6922000000000001</cx:pt>
          <cx:pt idx="755">4.8844199999999995</cx:pt>
          <cx:pt idx="756">17.702379999999902</cx:pt>
          <cx:pt idx="757">14.74</cx:pt>
          <cx:pt idx="758">11.4696</cx:pt>
          <cx:pt idx="759">6.5549999999999997</cx:pt>
          <cx:pt idx="760">11.752799999999999</cx:pt>
          <cx:pt idx="761">8.1120000000000001</cx:pt>
          <cx:pt idx="762">12.036</cx:pt>
          <cx:pt idx="763">12.967500000000001</cx:pt>
          <cx:pt idx="764">6.4239000000000006</cx:pt>
          <cx:pt idx="765">16.764200000000002</cx:pt>
          <cx:pt idx="766">18.7636</cx:pt>
          <cx:pt idx="767">10.5564</cx:pt>
          <cx:pt idx="768">12.98175</cx:pt>
          <cx:pt idx="769">14.8873999999999</cx:pt>
          <cx:pt idx="770">7.1655999999999995</cx:pt>
          <cx:pt idx="771">3.34601999999999</cx:pt>
          <cx:pt idx="772">5.89949999999999</cx:pt>
          <cx:pt idx="773">7.7199199999999992</cx:pt>
          <cx:pt idx="774">9.0583999999999989</cx:pt>
          <cx:pt idx="775">5.7683999999999997</cx:pt>
          <cx:pt idx="776">7.5712000000000002</cx:pt>
          <cx:pt idx="777">44.872899999999902</cx:pt>
          <cx:pt idx="778">9.8896800000000198</cx:pt>
          <cx:pt idx="779">15.04954</cx:pt>
          <cx:pt idx="780">7.7063999999999995</cx:pt>
          <cx:pt idx="781">6.1616999999999997</cx:pt>
          <cx:pt idx="782">3.60242</cx:pt>
          <cx:pt idx="783">7.9767999999999892</cx:pt>
          <cx:pt idx="784">15.476999999999999</cx:pt>
          <cx:pt idx="785">6.03059999999999</cx:pt>
          <cx:pt idx="786">4.2305999999999999</cx:pt>
          <cx:pt idx="787">9.8619000000000003</cx:pt>
          <cx:pt idx="788">6.03059999999999</cx:pt>
          <cx:pt idx="789">14.607339999999999</cx:pt>
          <cx:pt idx="790">8.1120000000000001</cx:pt>
          <cx:pt idx="791">8.5175999999999998</cx:pt>
          <cx:pt idx="792">6.8171999999999997</cx:pt>
          <cx:pt idx="793">10.153589999999999</cx:pt>
          <cx:pt idx="794">2.3204199999999999</cx:pt>
          <cx:pt idx="795">7.3008000000000006</cx:pt>
          <cx:pt idx="796">5.2561999999999998</cx:pt>
          <cx:pt idx="797">56.991269999999908</cx:pt>
          <cx:pt idx="798">35.737099999999998</cx:pt>
          <cx:pt idx="799">6.8171999999999997</cx:pt>
          <cx:pt idx="800">6.4239000000000006</cx:pt>
          <cx:pt idx="801">37.644870000000004</cx:pt>
          <cx:pt idx="802">11.328000000000001</cx:pt>
          <cx:pt idx="803">5.2690199999999905</cx:pt>
          <cx:pt idx="804">19.071199999999997</cx:pt>
          <cx:pt idx="805">4.8715999999999999</cx:pt>
          <cx:pt idx="806">8.6527999999999992</cx:pt>
          <cx:pt idx="807">12.616559999999899</cx:pt>
          <cx:pt idx="808">17.0718</cx:pt>
          <cx:pt idx="809">5.1408199999999997</cx:pt>
          <cx:pt idx="810">10.5564</cx:pt>
          <cx:pt idx="811">10.834199999999999</cx:pt>
          <cx:pt idx="812">5.2561999999999998</cx:pt>
          <cx:pt idx="813">4.3588000000000005</cx:pt>
          <cx:pt idx="814">14.8873999999999</cx:pt>
          <cx:pt idx="815">6.4239000000000006</cx:pt>
          <cx:pt idx="816">12.460799999999999</cx:pt>
          <cx:pt idx="817">9.0583999999999989</cx:pt>
          <cx:pt idx="818">13.5924</cx:pt>
          <cx:pt idx="819">4.8715999999999999</cx:pt>
          <cx:pt idx="820">10.848089999999901</cx:pt>
          <cx:pt idx="821">7.8415999999999997</cx:pt>
          <cx:pt idx="822">10.848089999999901</cx:pt>
          <cx:pt idx="823">6.1748099999999999</cx:pt>
          <cx:pt idx="824">10.278600000000001</cx:pt>
          <cx:pt idx="825">8.2472000000000012</cx:pt>
          <cx:pt idx="826">4.4870000000000001</cx:pt>
          <cx:pt idx="827">3.2178199999999997</cx:pt>
          <cx:pt idx="828">11.4696</cx:pt>
          <cx:pt idx="829">11.328000000000001</cx:pt>
          <cx:pt idx="830">16.917999999999999</cx:pt>
          <cx:pt idx="831">8.3823999999999987</cx:pt>
          <cx:pt idx="832">11.90856</cx:pt>
          <cx:pt idx="833">4.7433999999999994</cx:pt>
          <cx:pt idx="834">6.0437099999999999</cx:pt>
          <cx:pt idx="835">4.9998000000000005</cx:pt>
          <cx:pt idx="836">9.722999999999999</cx:pt>
          <cx:pt idx="837">6.4239000000000006</cx:pt>
          <cx:pt idx="838">40.842399999999998</cx:pt>
          <cx:pt idx="839">7.8415999999999997</cx:pt>
          <cx:pt idx="840">7.9767999999999892</cx:pt>
          <cx:pt idx="841">8.1120000000000001</cx:pt>
          <cx:pt idx="842">12.602399999999999</cx:pt>
          <cx:pt idx="843">6.2927999999999997</cx:pt>
          <cx:pt idx="844">12.460799999999999</cx:pt>
          <cx:pt idx="845">10.4175</cx:pt>
          <cx:pt idx="846">7.7063999999999995</cx:pt>
          <cx:pt idx="847">38.182270000000003</cx:pt>
          <cx:pt idx="848">11.4696</cx:pt>
          <cx:pt idx="849">17.856179999999998</cx:pt>
          <cx:pt idx="850">2.6922000000000001</cx:pt>
          <cx:pt idx="851">5.9126099999999893</cx:pt>
          <cx:pt idx="852">12.61656</cx:pt>
          <cx:pt idx="853">11.894399999999999</cx:pt>
          <cx:pt idx="854">2.8203999999999998</cx:pt>
          <cx:pt idx="855">4.4870000000000001</cx:pt>
          <cx:pt idx="856">39.525770000000001</cx:pt>
          <cx:pt idx="857">7.9767999999999892</cx:pt>
          <cx:pt idx="858">12.05016</cx:pt>
          <cx:pt idx="859">17.533199999999997</cx:pt>
          <cx:pt idx="860">4.6151999999999997</cx:pt>
          <cx:pt idx="861">8.2472000000000012</cx:pt>
          <cx:pt idx="862">5.1279999999999903</cx:pt>
          <cx:pt idx="863">17.994599999999998</cx:pt>
          <cx:pt idx="864">12.460799999999999</cx:pt>
          <cx:pt idx="865">11.48376</cx:pt>
          <cx:pt idx="866">6.03059999999999</cx:pt>
          <cx:pt idx="867">8.5175999999999998</cx:pt>
          <cx:pt idx="868">18.4713799999999</cx:pt>
          <cx:pt idx="869">11.4696</cx:pt>
          <cx:pt idx="870">10.848089999999901</cx:pt>
          <cx:pt idx="871">10.973099999999999</cx:pt>
          <cx:pt idx="872">8.2472000000000012</cx:pt>
          <cx:pt idx="873">5.7683999999999997</cx:pt>
          <cx:pt idx="874">10.01469</cx:pt>
          <cx:pt idx="875">8.2472000000000012</cx:pt>
          <cx:pt idx="876">6.2927999999999997</cx:pt>
          <cx:pt idx="877">6.6992099999999999</cx:pt>
          <cx:pt idx="878">6.4239000000000006</cx:pt>
          <cx:pt idx="879">10.834199999999999</cx:pt>
          <cx:pt idx="880">4.8715999999999999</cx:pt>
          <cx:pt idx="881">7.4359999999999999</cx:pt>
          <cx:pt idx="882">10.973099999999999</cx:pt>
          <cx:pt idx="883">10.5564</cx:pt>
          <cx:pt idx="884">7.8415999999999997</cx:pt>
          <cx:pt idx="885">8.2472000000000012</cx:pt>
          <cx:pt idx="886">9.8619000000000003</cx:pt>
          <cx:pt idx="887">6.6860999999999908</cx:pt>
          <cx:pt idx="888">15.034799999999901</cx:pt>
          <cx:pt idx="889">5.5061999999999998</cx:pt>
          <cx:pt idx="890">9.0583999999999989</cx:pt>
          <cx:pt idx="891">8.7880000000000003</cx:pt>
          <cx:pt idx="892">18.917400000000001</cx:pt>
          <cx:pt idx="893">6.8171999999999997</cx:pt>
          <cx:pt idx="894">11.752799999999999</cx:pt>
          <cx:pt idx="895">5.5061999999999998</cx:pt>
          <cx:pt idx="896">11.328000000000001</cx:pt>
          <cx:pt idx="897">10.0008</cx:pt>
          <cx:pt idx="898">12.333360000000001</cx:pt>
          <cx:pt idx="899">7.7199199999999992</cx:pt>
          <cx:pt idx="900">5.6504099999999999</cx:pt>
          <cx:pt idx="901">12.319199999999899</cx:pt>
          <cx:pt idx="902">15.9192</cx:pt>
          <cx:pt idx="903">6.03059999999999</cx:pt>
          <cx:pt idx="904">9.722999999999999</cx:pt>
          <cx:pt idx="905">10.4175</cx:pt>
          <cx:pt idx="906">8.2472000000000012</cx:pt>
          <cx:pt idx="907">7.3008000000000006</cx:pt>
          <cx:pt idx="908">12.602399999999999</cx:pt>
          <cx:pt idx="909">4.6151999999999997</cx:pt>
          <cx:pt idx="910">5.5061999999999998</cx:pt>
          <cx:pt idx="911">12.460799999999999</cx:pt>
          <cx:pt idx="912">6.5549999999999997</cx:pt>
          <cx:pt idx="913">11.894399999999999</cx:pt>
          <cx:pt idx="914">11.4696</cx:pt>
          <cx:pt idx="915">7.3008000000000006</cx:pt>
          <cx:pt idx="916">10.973099999999999</cx:pt>
          <cx:pt idx="917">5.63729999999999</cx:pt>
          <cx:pt idx="918">12.319199999999899</cx:pt>
          <cx:pt idx="919">14.0406599999999</cx:pt>
          <cx:pt idx="920">7.3143200000000004</cx:pt>
          <cx:pt idx="921">6.2927999999999997</cx:pt>
          <cx:pt idx="922">8.1120000000000001</cx:pt>
          <cx:pt idx="923">4.4870000000000001</cx:pt>
          <cx:pt idx="924">14.74</cx:pt>
          <cx:pt idx="925">10.278600000000001</cx:pt>
          <cx:pt idx="926">10.834199999999999</cx:pt>
          <cx:pt idx="927">9.722999999999999</cx:pt>
          <cx:pt idx="928">11.752799999999999</cx:pt>
          <cx:pt idx="929">9.3201899999999895</cx:pt>
          <cx:pt idx="930">11.894399999999999</cx:pt>
          <cx:pt idx="931">6.1616999999999997</cx:pt>
          <cx:pt idx="932">3.7178000000000004</cx:pt>
          <cx:pt idx="933">10.986989999999899</cx:pt>
          <cx:pt idx="934">6.6860999999999908</cx:pt>
          <cx:pt idx="935">14.315399999999901</cx:pt>
          <cx:pt idx="936">9.4590899999999998</cx:pt>
          <cx:pt idx="937">5.5061999999999998</cx:pt>
          <cx:pt idx="938">47.613640000000004</cx:pt>
          <cx:pt idx="939">9.722999999999999</cx:pt>
          <cx:pt idx="940">11.894399999999999</cx:pt>
          <cx:pt idx="941">7.4359999999999999</cx:pt>
          <cx:pt idx="942">11.625360000000001</cx:pt>
          <cx:pt idx="943">8.2472000000000012</cx:pt>
          <cx:pt idx="944">8.5175999999999998</cx:pt>
          <cx:pt idx="945">12.05016</cx:pt>
          <cx:pt idx="946">6.5549999999999997</cx:pt>
          <cx:pt idx="947">11.328000000000001</cx:pt>
          <cx:pt idx="948">10.6952999999999</cx:pt>
          <cx:pt idx="949">11.894399999999999</cx:pt>
          <cx:pt idx="950">6.8171999999999997</cx:pt>
          <cx:pt idx="951">7.9767999999999892</cx:pt>
          <cx:pt idx="952">7.1655999999999995</cx:pt>
          <cx:pt idx="953">5.7683999999999997</cx:pt>
          <cx:pt idx="954">10.5564</cx:pt>
          <cx:pt idx="955">10.5564</cx:pt>
          <cx:pt idx="956">8.1120000000000001</cx:pt>
          <cx:pt idx="957">12.177599999999899</cx:pt>
          <cx:pt idx="958">12.460799999999999</cx:pt>
          <cx:pt idx="959">10.139699999999999</cx:pt>
          <cx:pt idx="960">9.722999999999999</cx:pt>
          <cx:pt idx="961">3.7178000000000004</cx:pt>
          <cx:pt idx="962">6.03059999999999</cx:pt>
          <cx:pt idx="963">4.6280199999999905</cx:pt>
          <cx:pt idx="964">6.2927999999999997</cx:pt>
          <cx:pt idx="965">10.58418</cx:pt>
          <cx:pt idx="966">8.260720000000001</cx:pt>
          <cx:pt idx="967">5.63729999999999</cx:pt>
          <cx:pt idx="968">6.6860999999999908</cx:pt>
          <cx:pt idx="969">6.03059999999999</cx:pt>
          <cx:pt idx="970">6.4239000000000006</cx:pt>
          <cx:pt idx="971">4.6280199999999905</cx:pt>
          <cx:pt idx="972">5.9126099999999893</cx:pt>
          <cx:pt idx="973">7.1655999999999995</cx:pt>
          <cx:pt idx="974">17.533199999999997</cx:pt>
          <cx:pt idx="975">36.543199999999999</cx:pt>
          <cx:pt idx="976">7.9767999999999892</cx:pt>
          <cx:pt idx="977">12.319199999999899</cx:pt>
          <cx:pt idx="978">5.5061999999999998</cx:pt>
          <cx:pt idx="979">10.973099999999999</cx:pt>
          <cx:pt idx="980">5.7683999999999997</cx:pt>
          <cx:pt idx="981">10.5564</cx:pt>
          <cx:pt idx="982">9.5840999999999994</cx:pt>
          <cx:pt idx="983">5.7683999999999997</cx:pt>
          <cx:pt idx="984">7.4359999999999999</cx:pt>
          <cx:pt idx="985">44.604199999999999</cx:pt>
          <cx:pt idx="986">5.63729999999999</cx:pt>
          <cx:pt idx="987">8.3823999999999987</cx:pt>
          <cx:pt idx="988">9.722999999999999</cx:pt>
          <cx:pt idx="989">9.0583999999999989</cx:pt>
          <cx:pt idx="990">16.93338</cx:pt>
          <cx:pt idx="991">6.6860999999999908</cx:pt>
          <cx:pt idx="992">11.611199999999899</cx:pt>
          <cx:pt idx="993">13.736999999999998</cx:pt>
          <cx:pt idx="994">3.34601999999999</cx:pt>
          <cx:pt idx="995">8.2472000000000012</cx:pt>
          <cx:pt idx="996">13.447799999999999</cx:pt>
          <cx:pt idx="997">9.4451999999999998</cx:pt>
          <cx:pt idx="998">6.2927999999999997</cx:pt>
          <cx:pt idx="999">5.2690199999999905</cx:pt>
          <cx:pt idx="1000">8.3823999999999987</cx:pt>
          <cx:pt idx="1001">3.9741999999999997</cx:pt>
          <cx:pt idx="1002">10.139699999999999</cx:pt>
          <cx:pt idx="1003">9.4590899999999998</cx:pt>
          <cx:pt idx="1004">10.973099999999999</cx:pt>
          <cx:pt idx="1005">7.7199199999999992</cx:pt>
          <cx:pt idx="1006">5.89949999999999</cx:pt>
          <cx:pt idx="1007">2.4358</cx:pt>
          <cx:pt idx="1008">4.3588000000000005</cx:pt>
          <cx:pt idx="1009">6.5549999999999997</cx:pt>
          <cx:pt idx="1010">10.834199999999999</cx:pt>
          <cx:pt idx="1011">14.0261999999999</cx:pt>
          <cx:pt idx="1012">4.2305999999999999</cx:pt>
          <cx:pt idx="1013">10.431389999999901</cx:pt>
          <cx:pt idx="1014">6.8171999999999997</cx:pt>
          <cx:pt idx="1015">12.825000000000001</cx:pt>
          <cx:pt idx="1016">6.8171999999999997</cx:pt>
          <cx:pt idx="1017">9.5840999999999994</cx:pt>
          <cx:pt idx="1018">18.456</cx:pt>
          <cx:pt idx="1019">9.8619000000000003</cx:pt>
          <cx:pt idx="1020">9.722999999999999</cx:pt>
          <cx:pt idx="1021">10.973099999999999</cx:pt>
          <cx:pt idx="1022">6.0437099999999999</cx:pt>
          <cx:pt idx="1023">6.0437099999999999</cx:pt>
          <cx:pt idx="1024">4.3588000000000005</cx:pt>
          <cx:pt idx="1025">12.036</cx:pt>
          <cx:pt idx="1026">4.7433999999999994</cx:pt>
          <cx:pt idx="1027">7.1655999999999995</cx:pt>
          <cx:pt idx="1028">17.2256</cx:pt>
          <cx:pt idx="1029">18.009979999999899</cx:pt>
          <cx:pt idx="1030">6.1616999999999997</cx:pt>
          <cx:pt idx="1031">10.973099999999999</cx:pt>
          <cx:pt idx="1032">17.533199999999997</cx:pt>
          <cx:pt idx="1033">6.8171999999999997</cx:pt>
          <cx:pt idx="1034">6.0437099999999999</cx:pt>
          <cx:pt idx="1035">12.967500000000001</cx:pt>
          <cx:pt idx="1036">6.5549999999999997</cx:pt>
          <cx:pt idx="1037">5.2561999999999998</cx:pt>
          <cx:pt idx="1038">7.7199199999999992</cx:pt>
          <cx:pt idx="1039">14.3154</cx:pt>
          <cx:pt idx="1040">12.333360000000001</cx:pt>
          <cx:pt idx="1041">11.328000000000001</cx:pt>
          <cx:pt idx="1042">15.182200000000002</cx:pt>
          <cx:pt idx="1043">11.611199999999899</cx:pt>
          <cx:pt idx="1044">6.4239000000000006</cx:pt>
          <cx:pt idx="1045">5.2690199999999905</cx:pt>
          <cx:pt idx="1046">8.2472000000000012</cx:pt>
          <cx:pt idx="1047">9.722999999999999</cx:pt>
          <cx:pt idx="1048">11.328000000000001</cx:pt>
          <cx:pt idx="1049">4.8715999999999999</cx:pt>
          <cx:pt idx="1050">3.4613999999999998</cx:pt>
          <cx:pt idx="1051">9.722999999999999</cx:pt>
          <cx:pt idx="1052">11.611199999999899</cx:pt>
          <cx:pt idx="1053">12.177599999999899</cx:pt>
          <cx:pt idx="1054">6.03059999999999</cx:pt>
          <cx:pt idx="1055">17.687000000000001</cx:pt>
          <cx:pt idx="1056">7.0439199999999991</cx:pt>
          <cx:pt idx="1057">7.9767999999999892</cx:pt>
          <cx:pt idx="1058">3.8460000000000001</cx:pt>
          <cx:pt idx="1059">12.967500000000001</cx:pt>
          <cx:pt idx="1060">6.1616999999999997</cx:pt>
          <cx:pt idx="1061">8.7880000000000003</cx:pt>
          <cx:pt idx="1062">4.6151999999999997</cx:pt>
          <cx:pt idx="1063">36.274499999999996</cx:pt>
          <cx:pt idx="1064">6.0437099999999999</cx:pt>
          <cx:pt idx="1065">8.1120000000000001</cx:pt>
          <cx:pt idx="1066">5.1279999999999903</cx:pt>
          <cx:pt idx="1067">17.533199999999997</cx:pt>
          <cx:pt idx="1068">17.0718</cx:pt>
          <cx:pt idx="1069">14.0261999999999</cx:pt>
          <cx:pt idx="1070">7.5712000000000002</cx:pt>
          <cx:pt idx="1071">7.8551199999999906</cx:pt>
          <cx:pt idx="1072">7.3278400000000206</cx:pt>
          <cx:pt idx="1073">18.009979999999899</cx:pt>
          <cx:pt idx="1074">8.9232000000000014</cx:pt>
          <cx:pt idx="1075">5.7683999999999997</cx:pt>
          <cx:pt idx="1076">2.3204199999999999</cx:pt>
          <cx:pt idx="1077">3.8460000000000001</cx:pt>
          <cx:pt idx="1078">43.529399999999704</cx:pt>
          <cx:pt idx="1079">7.5982400000000201</cx:pt>
          <cx:pt idx="1080">15.771799999999999</cx:pt>
          <cx:pt idx="1081">11.611199999999899</cx:pt>
          <cx:pt idx="1082">5.7683999999999997</cx:pt>
          <cx:pt idx="1083">8.1120000000000001</cx:pt>
          <cx:pt idx="1084">2.3075999999999999</cx:pt>
          <cx:pt idx="1085">6.1748099999999999</cx:pt>
          <cx:pt idx="1086">5.5061999999999998</cx:pt>
          <cx:pt idx="1087">6.2927999999999997</cx:pt>
          <cx:pt idx="1088">3.0768</cx:pt>
          <cx:pt idx="1089">7.1791200000000002</cx:pt>
          <cx:pt idx="1090">5.89949999999999</cx:pt>
          <cx:pt idx="1091">2.8332199999999998</cx:pt>
          <cx:pt idx="1092">8.6527999999999992</cx:pt>
          <cx:pt idx="1093">7.1791200000000002</cx:pt>
          <cx:pt idx="1094">3.4742199999999896</cx:pt>
          <cx:pt idx="1095">2.1794000000000002</cx:pt>
          <cx:pt idx="1096">5.1408199999999997</cx:pt>
          <cx:pt idx="1097">16.764200000000002</cx:pt>
          <cx:pt idx="1098">7.1655999999999995</cx:pt>
          <cx:pt idx="1099">15.639140000000001</cx:pt>
          <cx:pt idx="1100">5.2561999999999998</cx:pt>
          <cx:pt idx="1101">10.5564</cx:pt>
          <cx:pt idx="1102">7.4359999999999999</cx:pt>
          <cx:pt idx="1103">13.896059999999999</cx:pt>
          <cx:pt idx="1104">13.109999999999999</cx:pt>
          <cx:pt idx="1105">15.6244</cx:pt>
          <cx:pt idx="1106">12.036</cx:pt>
          <cx:pt idx="1107">10.973099999999999</cx:pt>
          <cx:pt idx="1108">8.9232000000000014</cx:pt>
          <cx:pt idx="1109">12.319199999999899</cx:pt>
          <cx:pt idx="1110">7.4359999999999999</cx:pt>
          <cx:pt idx="1111">10.6952999999999</cx:pt>
          <cx:pt idx="1112">2.5639999999999898</cx:pt>
          <cx:pt idx="1113">8.6527999999999992</cx:pt>
          <cx:pt idx="1114">5.89949999999999</cx:pt>
          <cx:pt idx="1115">14.1852599999999</cx:pt>
          <cx:pt idx="1116">8.1120000000000001</cx:pt>
          <cx:pt idx="1117">3.9741999999999997</cx:pt>
          <cx:pt idx="1118">13.447799999999999</cx:pt>
          <cx:pt idx="1119">11.4696</cx:pt>
          <cx:pt idx="1120">8.7880000000000003</cx:pt>
          <cx:pt idx="1121">7.0439199999999991</cx:pt>
          <cx:pt idx="1122">37.618000000000002</cx:pt>
          <cx:pt idx="1123">9.4451999999999998</cx:pt>
          <cx:pt idx="1124">8.2472000000000012</cx:pt>
          <cx:pt idx="1125">4.4870000000000001</cx:pt>
          <cx:pt idx="1126">9.722999999999999</cx:pt>
          <cx:pt idx="1127">7.7199199999999992</cx:pt>
          <cx:pt idx="1128">18.456</cx:pt>
          <cx:pt idx="1129">16.764200000000002</cx:pt>
          <cx:pt idx="1130">6.6860999999999908</cx:pt>
          <cx:pt idx="1131">12.825000000000001</cx:pt>
          <cx:pt idx="1132">7.0439199999999991</cx:pt>
          <cx:pt idx="1133">16.93338</cx:pt>
          <cx:pt idx="1134">12.319199999999899</cx:pt>
          <cx:pt idx="1135">2.44862</cx:pt>
          <cx:pt idx="1136">5.89949999999999</cx:pt>
          <cx:pt idx="1137">3.9741999999999997</cx:pt>
          <cx:pt idx="1138">7.5712000000000002</cx:pt>
          <cx:pt idx="1139">6.8171999999999997</cx:pt>
          <cx:pt idx="1140">18.456</cx:pt>
          <cx:pt idx="1141">6.4239000000000006</cx:pt>
          <cx:pt idx="1142">42.185899999999997</cx:pt>
          <cx:pt idx="1143">2.1922199999999998</cx:pt>
          <cx:pt idx="1144">9.5979900000000011</cx:pt>
          <cx:pt idx="1145">42.723299999999995</cx:pt>
          <cx:pt idx="1146">5.2561999999999998</cx:pt>
          <cx:pt idx="1147">10.6952999999999</cx:pt>
          <cx:pt idx="1148">11.611199999999899</cx:pt>
          <cx:pt idx="1149">7.3008000000000006</cx:pt>
          <cx:pt idx="1150">11.752799999999999</cx:pt>
          <cx:pt idx="1151">17.2256</cx:pt>
          <cx:pt idx="1152">13.447799999999999</cx:pt>
          <cx:pt idx="1153">10.4175</cx:pt>
          <cx:pt idx="1154">18.6098</cx:pt>
          <cx:pt idx="1155">6.3059099999999892</cx:pt>
          <cx:pt idx="1156">8.5311199999999907</cx:pt>
          <cx:pt idx="1157">15.182200000000002</cx:pt>
          <cx:pt idx="1158">8.1120000000000001</cx:pt>
          <cx:pt idx="1159">8.6527999999999992</cx:pt>
          <cx:pt idx="1160">37.080599999999905</cx:pt>
          <cx:pt idx="1161">17.840799999999902</cx:pt>
          <cx:pt idx="1162">8.1120000000000001</cx:pt>
          <cx:pt idx="1163">9.8619000000000003</cx:pt>
          <cx:pt idx="1164">9.5840999999999994</cx:pt>
          <cx:pt idx="1165">11.752799999999999</cx:pt>
          <cx:pt idx="1166">7.8415999999999997</cx:pt>
          <cx:pt idx="1167">5.9126099999999893</cx:pt>
          <cx:pt idx="1168">8.260720000000001</cx:pt>
          <cx:pt idx="1169">18.009979999999899</cx:pt>
          <cx:pt idx="1170">2.0640200000000002</cx:pt>
          <cx:pt idx="1171">7.1655999999999995</cx:pt>
          <cx:pt idx="1172">2.0640200000000002</cx:pt>
          <cx:pt idx="1173">40.573700000000002</cx:pt>
          <cx:pt idx="1174">4.7562199999999999</cx:pt>
          <cx:pt idx="1175">4.7433999999999994</cx:pt>
          <cx:pt idx="1176">7.3008000000000006</cx:pt>
          <cx:pt idx="1177">7.8415999999999997</cx:pt>
          <cx:pt idx="1178">7.0439199999999991</cx:pt>
          <cx:pt idx="1179">9.722999999999999</cx:pt>
          <cx:pt idx="1180">7.8415999999999997</cx:pt>
          <cx:pt idx="1181">11.625359999999899</cx:pt>
          <cx:pt idx="1182">2.1922199999999998</cx:pt>
          <cx:pt idx="1183">12.036</cx:pt>
          <cx:pt idx="1184">4.3716200000000001</cx:pt>
          <cx:pt idx="1185">10.0008</cx:pt>
          <cx:pt idx="1186">5.63729999999999</cx:pt>
          <cx:pt idx="1187">17.3794</cx:pt>
          <cx:pt idx="1188">4.6151999999999997</cx:pt>
          <cx:pt idx="1189">17.533199999999997</cx:pt>
          <cx:pt idx="1190">10.973099999999999</cx:pt>
          <cx:pt idx="1191">14.607339999999899</cx:pt>
          <cx:pt idx="1192">5.2690199999999905</cx:pt>
          <cx:pt idx="1193">11.34216</cx:pt>
          <cx:pt idx="1194">7.9767999999999892</cx:pt>
          <cx:pt idx="1195">5.7683999999999997</cx:pt>
          <cx:pt idx="1196">6.4239000000000006</cx:pt>
          <cx:pt idx="1197">4.9998000000000005</cx:pt>
          <cx:pt idx="1198">5.63729999999999</cx:pt>
          <cx:pt idx="1199">3.8460000000000001</cx:pt>
          <cx:pt idx="1200">9.722999999999999</cx:pt>
          <cx:pt idx="1201">3.7178000000000004</cx:pt>
          <cx:pt idx="1202">3.4613999999999998</cx:pt>
          <cx:pt idx="1203">12.474959999999999</cx:pt>
          <cx:pt idx="1204">5.9126099999999893</cx:pt>
          <cx:pt idx="1205">4.1023999999999994</cx:pt>
          <cx:pt idx="1206">10.5564</cx:pt>
          <cx:pt idx="1207">8.7880000000000003</cx:pt>
          <cx:pt idx="1208">4.7433999999999994</cx:pt>
          <cx:pt idx="1209">5.9126099999999893</cx:pt>
          <cx:pt idx="1210">15.329599999999999</cx:pt>
          <cx:pt idx="1211">18.625179999999901</cx:pt>
          <cx:pt idx="1212">6.1616999999999997</cx:pt>
          <cx:pt idx="1213">44.953510000000001</cx:pt>
          <cx:pt idx="1214">6.8171999999999997</cx:pt>
          <cx:pt idx="1215">40.06317</cx:pt>
          <cx:pt idx="1216">8.3959200000000003</cx:pt>
          <cx:pt idx="1217">4.6151999999999997</cx:pt>
          <cx:pt idx="1218">2.7050200000000002</cx:pt>
          <cx:pt idx="1219">6.8171999999999997</cx:pt>
          <cx:pt idx="1220">18.948160000000001</cx:pt>
          <cx:pt idx="1221">8.6527999999999992</cx:pt>
          <cx:pt idx="1222">12.177599999999899</cx:pt>
          <cx:pt idx="1223">4.4870000000000001</cx:pt>
          <cx:pt idx="1224">8.9232000000000014</cx:pt>
          <cx:pt idx="1225">10.973099999999999</cx:pt>
          <cx:pt idx="1226">6.03059999999999</cx:pt>
          <cx:pt idx="1227">12.036</cx:pt>
          <cx:pt idx="1228">4.9998000000000005</cx:pt>
          <cx:pt idx="1229">5.2561999999999998</cx:pt>
          <cx:pt idx="1230">5.6504099999999999</cx:pt>
          <cx:pt idx="1231">52.933899999999902</cx:pt>
          <cx:pt idx="1232">8.5175999999999998</cx:pt>
          <cx:pt idx="1233">17.3794</cx:pt>
          <cx:pt idx="1234">7.8415999999999997</cx:pt>
          <cx:pt idx="1235">8.1120000000000001</cx:pt>
          <cx:pt idx="1236">15.9192</cx:pt>
          <cx:pt idx="1237">5.1279999999999903</cx:pt>
          <cx:pt idx="1238">8.9232000000000014</cx:pt>
          <cx:pt idx="1239">4.1023999999999994</cx:pt>
          <cx:pt idx="1240">13.881599999999999</cx:pt>
          <cx:pt idx="1241">12.036</cx:pt>
          <cx:pt idx="1242">18.6098</cx:pt>
          <cx:pt idx="1243">7.1791200000000002</cx:pt>
          <cx:pt idx="1244">19.701779999999999</cx:pt>
          <cx:pt idx="1245">38.988370000000003</cx:pt>
          <cx:pt idx="1246">14.0261999999999</cx:pt>
          <cx:pt idx="1247">11.611199999999899</cx:pt>
          <cx:pt idx="1248">9.3201899999999895</cx:pt>
          <cx:pt idx="1249">4.8715999999999999</cx:pt>
          <cx:pt idx="1250">6.1748099999999999</cx:pt>
          <cx:pt idx="1251">6.4239000000000006</cx:pt>
          <cx:pt idx="1252">3.60242</cx:pt>
          <cx:pt idx="1253">5.2561999999999998</cx:pt>
          <cx:pt idx="1254">15.182200000000002</cx:pt>
          <cx:pt idx="1255">6.1616999999999997</cx:pt>
          <cx:pt idx="1256">39.257069999999999</cx:pt>
          <cx:pt idx="1257">10.6952999999999</cx:pt>
          <cx:pt idx="1258">6.1616999999999997</cx:pt>
          <cx:pt idx="1259">6.03059999999999</cx:pt>
          <cx:pt idx="1260">5.7683999999999997</cx:pt>
          <cx:pt idx="1261">6.8171999999999997</cx:pt>
          <cx:pt idx="1262">12.602399999999999</cx:pt>
          <cx:pt idx="1263">11.611199999999899</cx:pt>
          <cx:pt idx="1264">17.840799999999902</cx:pt>
          <cx:pt idx="1265">1.9358199999999999</cx:pt>
          <cx:pt idx="1266">8.3959200000000003</cx:pt>
          <cx:pt idx="1267">5.2561999999999998</cx:pt>
          <cx:pt idx="1268">18.148399999999899</cx:pt>
          <cx:pt idx="1269">9.5840999999999994</cx:pt>
          <cx:pt idx="1270">10.986989999999899</cx:pt>
          <cx:pt idx="1271">6.3059099999999892</cx:pt>
          <cx:pt idx="1272">13.109999999999999</cx:pt>
          <cx:pt idx="1273">8.5175999999999998</cx:pt>
          <cx:pt idx="1274">53.766869999999997</cx:pt>
          <cx:pt idx="1275">17.0718</cx:pt>
          <cx:pt idx="1276">12.319199999999899</cx:pt>
          <cx:pt idx="1277">12.319199999999899</cx:pt>
          <cx:pt idx="1278">16.625780000000002</cx:pt>
          <cx:pt idx="1279">6.1748099999999999</cx:pt>
          <cx:pt idx="1280">11.48376</cx:pt>
          <cx:pt idx="1281">18.7636</cx:pt>
          <cx:pt idx="1282">13.896059999999999</cx:pt>
          <cx:pt idx="1283">6.8171999999999997</cx:pt>
          <cx:pt idx="1284">54.546099999999697</cx:pt>
          <cx:pt idx="1285">10.973099999999999</cx:pt>
          <cx:pt idx="1286">12.036</cx:pt>
          <cx:pt idx="1287">1.6794199999999999</cx:pt>
          <cx:pt idx="1288">4.1023999999999994</cx:pt>
          <cx:pt idx="1289">10.834199999999999</cx:pt>
          <cx:pt idx="1290">10.834199999999999</cx:pt>
          <cx:pt idx="1291">2.6922000000000001</cx:pt>
          <cx:pt idx="1292">6.3059099999999892</cx:pt>
          <cx:pt idx="1293">6.5549999999999997</cx:pt>
          <cx:pt idx="1294">9.722999999999999</cx:pt>
          <cx:pt idx="1295">5.89949999999999</cx:pt>
          <cx:pt idx="1296">17.840799999999902</cx:pt>
          <cx:pt idx="1297">12.825000000000001</cx:pt>
          <cx:pt idx="1298">10.973099999999999</cx:pt>
          <cx:pt idx="1299">12.460799999999999</cx:pt>
          <cx:pt idx="1300">6.03059999999999</cx:pt>
          <cx:pt idx="1301">19.240380000000002</cx:pt>
          <cx:pt idx="1302">19.071199999999997</cx:pt>
          <cx:pt idx="1303">5.2561999999999998</cx:pt>
          <cx:pt idx="1304">7.4359999999999999</cx:pt>
          <cx:pt idx="1305">11.752799999999999</cx:pt>
          <cx:pt idx="1306">15.476999999999999</cx:pt>
          <cx:pt idx="1307">10.431389999999901</cx:pt>
          <cx:pt idx="1308">9.4451999999999998</cx:pt>
          <cx:pt idx="1309">9.8619000000000003</cx:pt>
          <cx:pt idx="1310">11.328000000000001</cx:pt>
          <cx:pt idx="1311">6.4239000000000006</cx:pt>
          <cx:pt idx="1312">10.834199999999999</cx:pt>
          <cx:pt idx="1313">5.2561999999999998</cx:pt>
          <cx:pt idx="1314">11.611199999999899</cx:pt>
          <cx:pt idx="1315">4.2305999999999999</cx:pt>
          <cx:pt idx="1316">17.533199999999997</cx:pt>
          <cx:pt idx="1317">12.602399999999999</cx:pt>
          <cx:pt idx="1318">14.8873999999999</cx:pt>
          <cx:pt idx="1319">5.7815099999999902</cx:pt>
          <cx:pt idx="1320">17.24098</cx:pt>
          <cx:pt idx="1321">6.6860999999999908</cx:pt>
          <cx:pt idx="1322">7.4359999999999999</cx:pt>
          <cx:pt idx="1323">47.022500000000001</cx:pt>
          <cx:pt idx="1324">16.764200000000002</cx:pt>
          <cx:pt idx="1325">9.722999999999999</cx:pt>
          <cx:pt idx="1326">7.8415999999999997</cx:pt>
          <cx:pt idx="1327">2.1922199999999998</cx:pt>
          <cx:pt idx="1328">5.7683999999999997</cx:pt>
          <cx:pt idx="1329">5.89949999999999</cx:pt>
          <cx:pt idx="1330">13.5924</cx:pt>
          <cx:pt idx="1331">8.6527999999999992</cx:pt>
          <cx:pt idx="1332">5.1279999999999903</cx:pt>
          <cx:pt idx="1333">7.7199199999999992</cx:pt>
          <cx:pt idx="1334">9.5840999999999994</cx:pt>
          <cx:pt idx="1335">6.2927999999999997</cx:pt>
          <cx:pt idx="1336">13.736999999999998</cx:pt>
          <cx:pt idx="1337">18.917400000000001</cx:pt>
          <cx:pt idx="1338">9.8619000000000003</cx:pt>
          <cx:pt idx="1339">4.3588000000000005</cx:pt>
          <cx:pt idx="1340">17.2256</cx:pt>
          <cx:pt idx="1341">14.1852599999999</cx:pt>
          <cx:pt idx="1342">7.9767999999999892</cx:pt>
          <cx:pt idx="1343">10.139699999999999</cx:pt>
          <cx:pt idx="1344">7.4495199999999997</cx:pt>
          <cx:pt idx="1345">4.4870000000000001</cx:pt>
          <cx:pt idx="1346">5.63729999999999</cx:pt>
          <cx:pt idx="1347">6.4370099999999999</cx:pt>
          <cx:pt idx="1348">10.848089999999901</cx:pt>
          <cx:pt idx="1349">4.8844199999999995</cx:pt>
          <cx:pt idx="1350">17.994599999999998</cx:pt>
          <cx:pt idx="1351">10.139699999999999</cx:pt>
          <cx:pt idx="1352">8.3823999999999987</cx:pt>
          <cx:pt idx="1353">6.5549999999999997</cx:pt>
          <cx:pt idx="1354">11.328000000000001</cx:pt>
          <cx:pt idx="1355">10.834199999999999</cx:pt>
          <cx:pt idx="1356">14.0261999999999</cx:pt>
          <cx:pt idx="1357">7.8415999999999997</cx:pt>
          <cx:pt idx="1358">19.378799999999998</cx:pt>
          <cx:pt idx="1359">6.6860999999999908</cx:pt>
          <cx:pt idx="1360">7.9767999999999892</cx:pt>
          <cx:pt idx="1361">11.894399999999999</cx:pt>
          <cx:pt idx="1362">16.917999999999999</cx:pt>
          <cx:pt idx="1363">5.89949999999999</cx:pt>
          <cx:pt idx="1364">10.139699999999999</cx:pt>
          <cx:pt idx="1365">10.834199999999999</cx:pt>
          <cx:pt idx="1366">9.3201899999999789</cx:pt>
          <cx:pt idx="1367">11.4696</cx:pt>
          <cx:pt idx="1368">6.1616999999999997</cx:pt>
          <cx:pt idx="1369">51.3216999999999</cx:pt>
          <cx:pt idx="1370">12.460799999999999</cx:pt>
          <cx:pt idx="1371">6.03059999999999</cx:pt>
          <cx:pt idx="1372">14.74</cx:pt>
          <cx:pt idx="1373">12.177599999999899</cx:pt>
          <cx:pt idx="1374">9.7368899999999989</cx:pt>
          <cx:pt idx="1375">7.7063999999999995</cx:pt>
          <cx:pt idx="1376">17.2256</cx:pt>
          <cx:pt idx="1377">6.1616999999999997</cx:pt>
          <cx:pt idx="1378">9.6118800000000206</cx:pt>
          <cx:pt idx="1379">4.7433999999999994</cx:pt>
          <cx:pt idx="1380">7.0439199999999991</cx:pt>
          <cx:pt idx="1381">13.447799999999898</cx:pt>
          <cx:pt idx="1382">3.7178000000000004</cx:pt>
          <cx:pt idx="1383">17.687000000000001</cx:pt>
          <cx:pt idx="1384">7.7199199999999992</cx:pt>
          <cx:pt idx="1385">19.378799999999998</cx:pt>
          <cx:pt idx="1386">6.4239000000000006</cx:pt>
          <cx:pt idx="1387">15.9192</cx:pt>
          <cx:pt idx="1388">5.89949999999999</cx:pt>
          <cx:pt idx="1389">6.8171999999999997</cx:pt>
          <cx:pt idx="1390">12.036</cx:pt>
          <cx:pt idx="1391">2.5639999999999898</cx:pt>
          <cx:pt idx="1392">6.4239000000000006</cx:pt>
          <cx:pt idx="1393">6.4239000000000006</cx:pt>
          <cx:pt idx="1394">6.1748099999999999</cx:pt>
          <cx:pt idx="1395">10.139699999999999</cx:pt>
          <cx:pt idx="1396">18.163779999999999</cx:pt>
          <cx:pt idx="1397">12.05016</cx:pt>
          <cx:pt idx="1398">8.2472000000000012</cx:pt>
          <cx:pt idx="1399">2.5639999999999898</cx:pt>
          <cx:pt idx="1400">12.333360000000001</cx:pt>
          <cx:pt idx="1401">42.212769999999999</cx:pt>
          <cx:pt idx="1402">6.4239000000000006</cx:pt>
          <cx:pt idx="1403">10.834199999999999</cx:pt>
          <cx:pt idx="1404">12.602399999999999</cx:pt>
          <cx:pt idx="1405">9.0583999999999989</cx:pt>
          <cx:pt idx="1406">12.825000000000001</cx:pt>
          <cx:pt idx="1407">4.4870000000000001</cx:pt>
          <cx:pt idx="1408">13.5924</cx:pt>
          <cx:pt idx="1409">8.7880000000000003</cx:pt>
          <cx:pt idx="1410">4.8715999999999999</cx:pt>
          <cx:pt idx="1411">10.7091899999999</cx:pt>
          <cx:pt idx="1412">9.8619000000000003</cx:pt>
          <cx:pt idx="1413">7.7063999999999995</cx:pt>
          <cx:pt idx="1414">11.4696</cx:pt>
          <cx:pt idx="1415">17.2256</cx:pt>
          <cx:pt idx="1416">17.533199999999997</cx:pt>
          <cx:pt idx="1417">13.447799999999999</cx:pt>
          <cx:pt idx="1418">8.2472000000000012</cx:pt>
          <cx:pt idx="1419">6.2927999999999997</cx:pt>
          <cx:pt idx="1420">4.9998000000000005</cx:pt>
          <cx:pt idx="1421">7.5712000000000002</cx:pt>
          <cx:pt idx="1422">6.5549999999999997</cx:pt>
          <cx:pt idx="1423">18.009979999999899</cx:pt>
          <cx:pt idx="1424">3.60242</cx:pt>
          <cx:pt idx="1425">2.4358</cx:pt>
          <cx:pt idx="1426">11.4696</cx:pt>
          <cx:pt idx="1427">7.8551199999999906</cx:pt>
          <cx:pt idx="1428">9.4451999999999998</cx:pt>
          <cx:pt idx="1429">4.9998000000000005</cx:pt>
          <cx:pt idx="1430">9.3201899999999895</cx:pt>
          <cx:pt idx="1431">15.476999999999999</cx:pt>
          <cx:pt idx="1432">7.5712000000000002</cx:pt>
          <cx:pt idx="1433">17.840799999999902</cx:pt>
          <cx:pt idx="1434">8.7880000000000003</cx:pt>
          <cx:pt idx="1435">13.447799999999999</cx:pt>
          <cx:pt idx="1436">12.474959999999999</cx:pt>
          <cx:pt idx="1437">6.1616999999999997</cx:pt>
          <cx:pt idx="1438">17.24098</cx:pt>
          <cx:pt idx="1439">10.834199999999999</cx:pt>
          <cx:pt idx="1440">7.1655999999999995</cx:pt>
          <cx:pt idx="1441">5.1279999999999903</cx:pt>
          <cx:pt idx="1442">17.3794</cx:pt>
          <cx:pt idx="1443">7.9767999999999892</cx:pt>
          <cx:pt idx="1444">7.4359999999999999</cx:pt>
          <cx:pt idx="1445">3.9741999999999997</cx:pt>
          <cx:pt idx="1446">19.071199999999997</cx:pt>
          <cx:pt idx="1447">5.89949999999999</cx:pt>
          <cx:pt idx="1448">9.722999999999999</cx:pt>
          <cx:pt idx="1449">5.5193099999999999</cx:pt>
          <cx:pt idx="1450">15.182200000000002</cx:pt>
          <cx:pt idx="1451">4.2305999999999999</cx:pt>
          <cx:pt idx="1452">9.4451999999999998</cx:pt>
          <cx:pt idx="1453">6.03059999999999</cx:pt>
          <cx:pt idx="1454">11.4696</cx:pt>
          <cx:pt idx="1455">10.278600000000001</cx:pt>
          <cx:pt idx="1456">6.6860999999999908</cx:pt>
          <cx:pt idx="1457">57.233099999999901</cx:pt>
          <cx:pt idx="1458">19.071199999999997</cx:pt>
          <cx:pt idx="1459">8.9367199999999993</cx:pt>
          <cx:pt idx="1460">3.8460000000000001</cx:pt>
          <cx:pt idx="1461">8.5311199999999907</cx:pt>
          <cx:pt idx="1462">35.1997</cx:pt>
          <cx:pt idx="1463">10.986989999999899</cx:pt>
          <cx:pt idx="1464">17.0718</cx:pt>
          <cx:pt idx="1465">8.7880000000000003</cx:pt>
          <cx:pt idx="1466">9.0583999999999989</cx:pt>
          <cx:pt idx="1467">7.8551199999999906</cx:pt>
          <cx:pt idx="1468">3.4613999999999998</cx:pt>
          <cx:pt idx="1469">10.848089999999901</cx:pt>
          <cx:pt idx="1470">4.9998000000000005</cx:pt>
          <cx:pt idx="1471">6.5549999999999997</cx:pt>
          <cx:pt idx="1472">8.7880000000000003</cx:pt>
          <cx:pt idx="1473">7.4359999999999999</cx:pt>
          <cx:pt idx="1474">10.5564</cx:pt>
          <cx:pt idx="1475">6.1748099999999999</cx:pt>
          <cx:pt idx="1476">5.7683999999999997</cx:pt>
          <cx:pt idx="1477">7.8415999999999997</cx:pt>
          <cx:pt idx="1478">6.4239000000000006</cx:pt>
          <cx:pt idx="1479">14.1708</cx:pt>
          <cx:pt idx="1480">50.031939999999999</cx:pt>
          <cx:pt idx="1481">18.7636</cx:pt>
          <cx:pt idx="1482">47.828600000000002</cx:pt>
          <cx:pt idx="1483">34.662300000000002</cx:pt>
          <cx:pt idx="1484">9.8619000000000003</cx:pt>
          <cx:pt idx="1485">11.752799999999999</cx:pt>
          <cx:pt idx="1486">9.0583999999999989</cx:pt>
          <cx:pt idx="1487">15.329599999999999</cx:pt>
          <cx:pt idx="1488">6.6860999999999908</cx:pt>
          <cx:pt idx="1489">7.4359999999999999</cx:pt>
          <cx:pt idx="1490">18.148399999999899</cx:pt>
          <cx:pt idx="1491">13.881599999999999</cx:pt>
          <cx:pt idx="1492">6.4239000000000006</cx:pt>
          <cx:pt idx="1493">9.0583999999999989</cx:pt>
          <cx:pt idx="1494">3.7178000000000004</cx:pt>
          <cx:pt idx="1495">6.03059999999999</cx:pt>
          <cx:pt idx="1496">15.9192</cx:pt>
          <cx:pt idx="1497">7.9767999999999892</cx:pt>
          <cx:pt idx="1498">4.4870000000000001</cx:pt>
          <cx:pt idx="1499">12.177599999999899</cx:pt>
          <cx:pt idx="1500">8.9232000000000014</cx:pt>
          <cx:pt idx="1501">6.2927999999999997</cx:pt>
          <cx:pt idx="1502">6.5549999999999997</cx:pt>
          <cx:pt idx="1503">12.177599999999899</cx:pt>
          <cx:pt idx="1504">7.1655999999999995</cx:pt>
          <cx:pt idx="1505">14.1708</cx:pt>
          <cx:pt idx="1506">1.55122</cx:pt>
          <cx:pt idx="1507">6.6860999999999908</cx:pt>
          <cx:pt idx="1508">5.1279999999999903</cx:pt>
          <cx:pt idx="1509">11.752799999999999</cx:pt>
          <cx:pt idx="1510">18.4713799999999</cx:pt>
          <cx:pt idx="1511">6.2927999999999997</cx:pt>
          <cx:pt idx="1512">17.533199999999997</cx:pt>
          <cx:pt idx="1513">12.61656</cx:pt>
          <cx:pt idx="1514">15.9192</cx:pt>
          <cx:pt idx="1515">6.2927999999999997</cx:pt>
          <cx:pt idx="1516">7.7063999999999995</cx:pt>
          <cx:pt idx="1517">2.0640200000000002</cx:pt>
          <cx:pt idx="1518">7.1655999999999995</cx:pt>
          <cx:pt idx="1519">19.378799999999998</cx:pt>
          <cx:pt idx="1520">41.137970000000003</cx:pt>
          <cx:pt idx="1521">1.9358199999999999</cx:pt>
          <cx:pt idx="1522">54.2774</cx:pt>
          <cx:pt idx="1523">48.930269999999695</cx:pt>
          <cx:pt idx="1524">4.4870000000000001</cx:pt>
          <cx:pt idx="1525">10.153589999999999</cx:pt>
          <cx:pt idx="1526">8.2472000000000012</cx:pt>
          <cx:pt idx="1527">11.766959999999999</cx:pt>
          <cx:pt idx="1528">7.4359999999999999</cx:pt>
          <cx:pt idx="1529">9.8619000000000003</cx:pt>
          <cx:pt idx="1530">9.4451999999999998</cx:pt>
          <cx:pt idx="1531">13.109999999999999</cx:pt>
          <cx:pt idx="1532">6.03059999999999</cx:pt>
          <cx:pt idx="1533">13.447799999999999</cx:pt>
          <cx:pt idx="1534">10.973099999999999</cx:pt>
          <cx:pt idx="1535">8.1120000000000001</cx:pt>
          <cx:pt idx="1536">5.89949999999999</cx:pt>
          <cx:pt idx="1537">8.2472000000000012</cx:pt>
          <cx:pt idx="1538">38.424100000000003</cx:pt>
          <cx:pt idx="1539">5.2561999999999998</cx:pt>
          <cx:pt idx="1540">10.5564</cx:pt>
          <cx:pt idx="1541">10.278600000000001</cx:pt>
          <cx:pt idx="1542">13.896059999999999</cx:pt>
          <cx:pt idx="1543">8.1120000000000001</cx:pt>
          <cx:pt idx="1544">11.611199999999899</cx:pt>
          <cx:pt idx="1545">11.4696</cx:pt>
          <cx:pt idx="1546">6.1748099999999999</cx:pt>
          <cx:pt idx="1547">6.6860999999999908</cx:pt>
          <cx:pt idx="1548">10.6952999999999</cx:pt>
          <cx:pt idx="1549">14.0261999999999</cx:pt>
          <cx:pt idx="1550">9.4451999999999998</cx:pt>
          <cx:pt idx="1551">2.1794000000000002</cx:pt>
          <cx:pt idx="1552">9.8619000000000003</cx:pt>
          <cx:pt idx="1553">8.2472000000000012</cx:pt>
          <cx:pt idx="1554">6.8171999999999997</cx:pt>
          <cx:pt idx="1555">2.5639999999999898</cx:pt>
          <cx:pt idx="1556">13.5924</cx:pt>
          <cx:pt idx="1557">12.177599999999899</cx:pt>
          <cx:pt idx="1558">11.766959999999999</cx:pt>
          <cx:pt idx="1559">18.778979999999901</cx:pt>
          <cx:pt idx="1560">7.9767999999999892</cx:pt>
          <cx:pt idx="1561">8.2472000000000012</cx:pt>
          <cx:pt idx="1562">13.462260000000001</cx:pt>
          <cx:pt idx="1563">7.8415999999999997</cx:pt>
          <cx:pt idx="1564">18.009979999999899</cx:pt>
          <cx:pt idx="1565">6.03059999999999</cx:pt>
          <cx:pt idx="1566">36.811899999999895</cx:pt>
          <cx:pt idx="1567">53.740000000000002</cx:pt>
          <cx:pt idx="1568">11.894399999999999</cx:pt>
          <cx:pt idx="1569">11.328000000000001</cx:pt>
          <cx:pt idx="1570">7.7063999999999995</cx:pt>
          <cx:pt idx="1571">9.5979900000000011</cx:pt>
          <cx:pt idx="1572">4.6151999999999997</cx:pt>
          <cx:pt idx="1573">7.4359999999999999</cx:pt>
          <cx:pt idx="1574">10.139699999999999</cx:pt>
          <cx:pt idx="1575">16.764200000000002</cx:pt>
          <cx:pt idx="1576">11.611199999999899</cx:pt>
          <cx:pt idx="1577">10.848089999999901</cx:pt>
          <cx:pt idx="1578">11.611199999999899</cx:pt>
          <cx:pt idx="1579">6.6860999999999908</cx:pt>
          <cx:pt idx="1580">8.6663199999999989</cx:pt>
          <cx:pt idx="1581">7.5847200000000008</cx:pt>
          <cx:pt idx="1582">9.7368899999999989</cx:pt>
          <cx:pt idx="1583">3.4742199999999896</cx:pt>
          <cx:pt idx="1584">5.9126099999999893</cx:pt>
          <cx:pt idx="1585">6.03059999999999</cx:pt>
          <cx:pt idx="1586">6.1616999999999997</cx:pt>
          <cx:pt idx="1587">17.994599999999998</cx:pt>
          <cx:pt idx="1588">5.5061999999999998</cx:pt>
          <cx:pt idx="1589">8.1120000000000001</cx:pt>
          <cx:pt idx="1590">2.6922000000000001</cx:pt>
          <cx:pt idx="1591">3.4613999999999998</cx:pt>
          <cx:pt idx="1592">6.5549999999999997</cx:pt>
          <cx:pt idx="1593">12.460799999999999</cx:pt>
          <cx:pt idx="1594">9.5840999999999994</cx:pt>
          <cx:pt idx="1595">39.498899999999999</cx:pt>
          <cx:pt idx="1596">5.5061999999999998</cx:pt>
          <cx:pt idx="1597">6.6860999999999908</cx:pt>
          <cx:pt idx="1598">2.6922000000000001</cx:pt>
          <cx:pt idx="1599">5.89949999999999</cx:pt>
          <cx:pt idx="1600">11.328000000000001</cx:pt>
          <cx:pt idx="1601">6.6860999999999908</cx:pt>
          <cx:pt idx="1602">8.2472000000000012</cx:pt>
          <cx:pt idx="1603">12.602399999999999</cx:pt>
          <cx:pt idx="1604">42.454599999999999</cx:pt>
          <cx:pt idx="1605">13.736999999999998</cx:pt>
          <cx:pt idx="1606">2.7050200000000002</cx:pt>
          <cx:pt idx="1607">13.5924</cx:pt>
          <cx:pt idx="1608">35.763969999999901</cx:pt>
          <cx:pt idx="1609">8.2472000000000012</cx:pt>
          <cx:pt idx="1610">6.03059999999999</cx:pt>
          <cx:pt idx="1611">4.4998199999999899</cx:pt>
          <cx:pt idx="1612">18.148399999999899</cx:pt>
          <cx:pt idx="1613">11.328000000000001</cx:pt>
          <cx:pt idx="1614">39.821339999999999</cx:pt>
          <cx:pt idx="1615">4.8715999999999999</cx:pt>
          <cx:pt idx="1616">18.163779999999999</cx:pt>
          <cx:pt idx="1617">12.177599999999899</cx:pt>
          <cx:pt idx="1618">18.148399999999899</cx:pt>
          <cx:pt idx="1619">7.5847200000000008</cx:pt>
          <cx:pt idx="1620">19.686400000000003</cx:pt>
          <cx:pt idx="1621">19.532599999999999</cx:pt>
          <cx:pt idx="1622">18.302199999999999</cx:pt>
          <cx:pt idx="1623">9.4590899999999998</cx:pt>
          <cx:pt idx="1624">7.4359999999999999</cx:pt>
          <cx:pt idx="1625">10.0008</cx:pt>
          <cx:pt idx="1626">13.5924</cx:pt>
          <cx:pt idx="1627">7.1655999999999995</cx:pt>
          <cx:pt idx="1628">7.7199199999999992</cx:pt>
          <cx:pt idx="1629">10.278600000000001</cx:pt>
          <cx:pt idx="1630">9.4590899999999998</cx:pt>
          <cx:pt idx="1631">2.4358</cx:pt>
          <cx:pt idx="1632">41.1111</cx:pt>
          <cx:pt idx="1633">11.894399999999999</cx:pt>
          <cx:pt idx="1634">12.319199999999899</cx:pt>
          <cx:pt idx="1635">5.9126099999999893</cx:pt>
          <cx:pt idx="1636">9.8619000000000003</cx:pt>
          <cx:pt idx="1637">7.1655999999999995</cx:pt>
          <cx:pt idx="1638">6.03059999999999</cx:pt>
          <cx:pt idx="1639">19.225000000000001</cx:pt>
          <cx:pt idx="1640">12.036</cx:pt>
          <cx:pt idx="1641">6.2927999999999997</cx:pt>
          <cx:pt idx="1642">2.5639999999999898</cx:pt>
          <cx:pt idx="1643">6.6860999999999908</cx:pt>
          <cx:pt idx="1644">14.1708</cx:pt>
          <cx:pt idx="1645">15.182200000000002</cx:pt>
          <cx:pt idx="1646">10.6952999999999</cx:pt>
          <cx:pt idx="1647">4.9998000000000005</cx:pt>
          <cx:pt idx="1648">14.0261999999999</cx:pt>
          <cx:pt idx="1649">11.328000000000001</cx:pt>
          <cx:pt idx="1650">6.03059999999999</cx:pt>
          <cx:pt idx="1651">2.6922000000000001</cx:pt>
          <cx:pt idx="1652">17.533199999999997</cx:pt>
          <cx:pt idx="1653">17.871559999999999</cx:pt>
          <cx:pt idx="1654">5.2561999999999998</cx:pt>
          <cx:pt idx="1655">18.302199999999999</cx:pt>
          <cx:pt idx="1656">2.4358</cx:pt>
          <cx:pt idx="1657">11.766959999999999</cx:pt>
          <cx:pt idx="1658">4.1023999999999994</cx:pt>
          <cx:pt idx="1659">10.973099999999999</cx:pt>
          <cx:pt idx="1660">7.9767999999999892</cx:pt>
          <cx:pt idx="1661">12.333360000000001</cx:pt>
          <cx:pt idx="1662">10.139699999999999</cx:pt>
          <cx:pt idx="1663">6.8171999999999997</cx:pt>
          <cx:pt idx="1664">3.3332000000000002</cx:pt>
          <cx:pt idx="1665">4.6151999999999997</cx:pt>
          <cx:pt idx="1666">7.8415999999999997</cx:pt>
          <cx:pt idx="1667">5.5193099999999999</cx:pt>
          <cx:pt idx="1668">10.278600000000001</cx:pt>
          <cx:pt idx="1669">12.177599999999899</cx:pt>
          <cx:pt idx="1670">9.8619000000000003</cx:pt>
          <cx:pt idx="1671">11.4696</cx:pt>
          <cx:pt idx="1672">3.4742199999999896</cx:pt>
          <cx:pt idx="1673">9.4451999999999998</cx:pt>
          <cx:pt idx="1674">6.2927999999999997</cx:pt>
          <cx:pt idx="1675">7.5712000000000002</cx:pt>
          <cx:pt idx="1676">5.2561999999999998</cx:pt>
          <cx:pt idx="1677">17.548580000000001</cx:pt>
          <cx:pt idx="1678">41.1111</cx:pt>
          <cx:pt idx="1679">50.273769999999999</cx:pt>
          <cx:pt idx="1680">6.5681099999999892</cx:pt>
          <cx:pt idx="1681">10.4175</cx:pt>
          <cx:pt idx="1682">6.0437099999999999</cx:pt>
          <cx:pt idx="1683">7.4495199999999997</cx:pt>
          <cx:pt idx="1684">9.4590899999999998</cx:pt>
          <cx:pt idx="1685">8.3959200000000003</cx:pt>
          <cx:pt idx="1686">13.736999999999998</cx:pt>
          <cx:pt idx="1687">3.34601999999999</cx:pt>
          <cx:pt idx="1688">34.984739999999995</cx:pt>
          <cx:pt idx="1689">6.6992099999999999</cx:pt>
          <cx:pt idx="1690">4.8844199999999995</cx:pt>
          <cx:pt idx="1691">8.1120000000000001</cx:pt>
          <cx:pt idx="1692">9.4451999999999998</cx:pt>
          <cx:pt idx="1693">3.60242</cx:pt>
          <cx:pt idx="1694">12.967500000000001</cx:pt>
          <cx:pt idx="1695">13.447799999999999</cx:pt>
          <cx:pt idx="1696">2.8332199999999998</cx:pt>
          <cx:pt idx="1697">10.139699999999999</cx:pt>
          <cx:pt idx="1698">14.0261999999999</cx:pt>
          <cx:pt idx="1699">2.44862</cx:pt>
          <cx:pt idx="1700">13.1242499999999</cx:pt>
          <cx:pt idx="1701">2.1922199999999998</cx:pt>
          <cx:pt idx="1702">5.7683999999999997</cx:pt>
          <cx:pt idx="1703">4.6280199999999905</cx:pt>
          <cx:pt idx="1704">9.3201899999999895</cx:pt>
          <cx:pt idx="1705">15.04954</cx:pt>
          <cx:pt idx="1706">8.7880000000000003</cx:pt>
          <cx:pt idx="1707">7.1655999999999995</cx:pt>
          <cx:pt idx="1708">2.6922000000000001</cx:pt>
          <cx:pt idx="1709">7.8551199999999906</cx:pt>
          <cx:pt idx="1710">4.9998000000000005</cx:pt>
          <cx:pt idx="1711">3.7178000000000004</cx:pt>
          <cx:pt idx="1712">5.63729999999999</cx:pt>
          <cx:pt idx="1713">6.4370099999999999</cx:pt>
          <cx:pt idx="1714">18.148399999999899</cx:pt>
          <cx:pt idx="1715">3.2178199999999997</cx:pt>
          <cx:pt idx="1716">10.834199999999999</cx:pt>
          <cx:pt idx="1717">36.543199999999999</cx:pt>
          <cx:pt idx="1718">11.894399999999999</cx:pt>
          <cx:pt idx="1719">12.602399999999999</cx:pt>
          <cx:pt idx="1720">8.5175999999999998</cx:pt>
          <cx:pt idx="1721">7.5712000000000002</cx:pt>
          <cx:pt idx="1722">13.109999999999999</cx:pt>
          <cx:pt idx="1723">11.752799999999999</cx:pt>
          <cx:pt idx="1724">5.7683999999999997</cx:pt>
          <cx:pt idx="1725">12.319199999999899</cx:pt>
          <cx:pt idx="1726">11.4696</cx:pt>
          <cx:pt idx="1727">9.8619000000000003</cx:pt>
          <cx:pt idx="1728">10.834199999999999</cx:pt>
          <cx:pt idx="1729">3.8460000000000001</cx:pt>
          <cx:pt idx="1730">7.3008000000000006</cx:pt>
          <cx:pt idx="1731">3.8460000000000001</cx:pt>
          <cx:pt idx="1732">10.139699999999999</cx:pt>
          <cx:pt idx="1733">52.127799999999901</cx:pt>
          <cx:pt idx="1734">6.6860999999999908</cx:pt>
          <cx:pt idx="1735">34.930999999999997</cx:pt>
          <cx:pt idx="1736">9.3201899999999895</cx:pt>
          <cx:pt idx="1737">5.5193099999999999</cx:pt>
          <cx:pt idx="1738">19.378799999999998</cx:pt>
          <cx:pt idx="1739">12.319199999999899</cx:pt>
          <cx:pt idx="1740">16.917999999999999</cx:pt>
          <cx:pt idx="1741">39.767599999999995</cx:pt>
          <cx:pt idx="1742">10.973099999999999</cx:pt>
          <cx:pt idx="1743">2.0640200000000002</cx:pt>
          <cx:pt idx="1744">7.5712000000000002</cx:pt>
          <cx:pt idx="1745">7.9903199999999996</cx:pt>
          <cx:pt idx="1746">17.994599999999998</cx:pt>
          <cx:pt idx="1747">4.2434199999999995</cx:pt>
          <cx:pt idx="1748">11.752799999999999</cx:pt>
          <cx:pt idx="1749">3.7178000000000004</cx:pt>
          <cx:pt idx="1750">12.602399999999999</cx:pt>
          <cx:pt idx="1751">7.5712000000000002</cx:pt>
          <cx:pt idx="1752">4.4870000000000001</cx:pt>
          <cx:pt idx="1753">7.3008000000000006</cx:pt>
          <cx:pt idx="1754">6.5549999999999997</cx:pt>
          <cx:pt idx="1755">8.7880000000000003</cx:pt>
          <cx:pt idx="1756">9.8619000000000003</cx:pt>
          <cx:pt idx="1757">8.5311199999999907</cx:pt>
          <cx:pt idx="1758">8.5175999999999998</cx:pt>
          <cx:pt idx="1759">19.071199999999997</cx:pt>
          <cx:pt idx="1760">12.177599999999899</cx:pt>
          <cx:pt idx="1761">4.4870000000000001</cx:pt>
          <cx:pt idx="1762">3.7178000000000004</cx:pt>
          <cx:pt idx="1763">4.4870000000000001</cx:pt>
          <cx:pt idx="1764">9.5840999999999994</cx:pt>
          <cx:pt idx="1765">3.8460000000000001</cx:pt>
          <cx:pt idx="1766">41.137970000000003</cx:pt>
          <cx:pt idx="1767">7.4359999999999999</cx:pt>
          <cx:pt idx="1768">7.9767999999999892</cx:pt>
          <cx:pt idx="1769">6.1616999999999997</cx:pt>
          <cx:pt idx="1770">4.3588000000000005</cx:pt>
          <cx:pt idx="1771">8.1120000000000001</cx:pt>
          <cx:pt idx="1772">8.5175999999999998</cx:pt>
          <cx:pt idx="1773">7.8551199999999906</cx:pt>
          <cx:pt idx="1774">11.4696</cx:pt>
          <cx:pt idx="1775">7.9767999999999892</cx:pt>
          <cx:pt idx="1776">9.722999999999999</cx:pt>
          <cx:pt idx="1777">13.5924</cx:pt>
          <cx:pt idx="1778">5.7815099999999902</cx:pt>
          <cx:pt idx="1779">7.9767999999999892</cx:pt>
          <cx:pt idx="1780">6.1616999999999997</cx:pt>
          <cx:pt idx="1781">6.5549999999999997</cx:pt>
          <cx:pt idx="1782">3.60242</cx:pt>
          <cx:pt idx="1783">8.6527999999999992</cx:pt>
          <cx:pt idx="1784">7.4359999999999999</cx:pt>
          <cx:pt idx="1785">6.8171999999999997</cx:pt>
          <cx:pt idx="1786">15.786539999999999</cx:pt>
          <cx:pt idx="1787">6.6860999999999908</cx:pt>
          <cx:pt idx="1788">6.5549999999999997</cx:pt>
          <cx:pt idx="1789">9.0583999999999989</cx:pt>
          <cx:pt idx="1790">12.19176</cx:pt>
          <cx:pt idx="1791">15.6244</cx:pt>
          <cx:pt idx="1792">4.3716200000000001</cx:pt>
          <cx:pt idx="1793">8.2472000000000012</cx:pt>
          <cx:pt idx="1794">8.2472000000000012</cx:pt>
          <cx:pt idx="1795">9.4451999999999998</cx:pt>
          <cx:pt idx="1796">19.225000000000001</cx:pt>
          <cx:pt idx="1797">13.751459999999899</cx:pt>
          <cx:pt idx="1798">4.7433999999999994</cx:pt>
          <cx:pt idx="1799">16.93338</cx:pt>
          <cx:pt idx="1800">34.662300000000002</cx:pt>
          <cx:pt idx="1801">9.4451999999999998</cx:pt>
          <cx:pt idx="1802">7.7063999999999995</cx:pt>
          <cx:pt idx="1803">14.1708</cx:pt>
          <cx:pt idx="1804">6.1748099999999999</cx:pt>
          <cx:pt idx="1805">4.1023999999999994</cx:pt>
          <cx:pt idx="1806">13.109999999999999</cx:pt>
          <cx:pt idx="1807">18.163779999999999</cx:pt>
          <cx:pt idx="1808">10.44528</cx:pt>
          <cx:pt idx="1809">36.811899999999895</cx:pt>
          <cx:pt idx="1810">9.5840999999999994</cx:pt>
          <cx:pt idx="1811">10.139699999999999</cx:pt>
          <cx:pt idx="1812">10.57029</cx:pt>
          <cx:pt idx="1813">16.764200000000002</cx:pt>
          <cx:pt idx="1814">14.74</cx:pt>
          <cx:pt idx="1815">7.0439199999999991</cx:pt>
          <cx:pt idx="1816">4.3588000000000005</cx:pt>
          <cx:pt idx="1817">7.3008000000000006</cx:pt>
          <cx:pt idx="1818">7.9767999999999892</cx:pt>
          <cx:pt idx="1819">5.7683999999999997</cx:pt>
          <cx:pt idx="1820">18.456</cx:pt>
          <cx:pt idx="1821">49.198969999999996</cx:pt>
          <cx:pt idx="1822">17.840799999999902</cx:pt>
          <cx:pt idx="1823">6.1616999999999997</cx:pt>
          <cx:pt idx="1824">6.8171999999999997</cx:pt>
          <cx:pt idx="1825">19.547980000000003</cx:pt>
          <cx:pt idx="1826">7.9767999999999892</cx:pt>
          <cx:pt idx="1827">11.752799999999999</cx:pt>
          <cx:pt idx="1828">10.0008</cx:pt>
          <cx:pt idx="1829">4.2305999999999999</cx:pt>
          <cx:pt idx="1830">6.03059999999999</cx:pt>
          <cx:pt idx="1831">47.559899999999999</cx:pt>
          <cx:pt idx="1832">4.2305999999999999</cx:pt>
          <cx:pt idx="1833">13.896059999999999</cx:pt>
          <cx:pt idx="1834">17.0718</cx:pt>
          <cx:pt idx="1835">4.4998199999999899</cx:pt>
          <cx:pt idx="1836">12.036</cx:pt>
          <cx:pt idx="1837">11.752799999999999</cx:pt>
          <cx:pt idx="1838">2.8203999999999998</cx:pt>
          <cx:pt idx="1839">12.036</cx:pt>
          <cx:pt idx="1840">4.8715999999999999</cx:pt>
          <cx:pt idx="1841">8.5175999999999998</cx:pt>
          <cx:pt idx="1842">12.967500000000001</cx:pt>
          <cx:pt idx="1843">15.182200000000002</cx:pt>
          <cx:pt idx="1844">18.4713799999999</cx:pt>
          <cx:pt idx="1845">7.8415999999999997</cx:pt>
          <cx:pt idx="1846">13.881599999999999</cx:pt>
          <cx:pt idx="1847">7.8551199999999906</cx:pt>
          <cx:pt idx="1848">12.333360000000001</cx:pt>
          <cx:pt idx="1849">12.177599999999899</cx:pt>
          <cx:pt idx="1850">2.1922199999999998</cx:pt>
          <cx:pt idx="1851">2.7050200000000002</cx:pt>
          <cx:pt idx="1852">18.148399999999899</cx:pt>
          <cx:pt idx="1853">8.1120000000000001</cx:pt>
          <cx:pt idx="1854">18.7636</cx:pt>
          <cx:pt idx="1855">58.307900000000004</cx:pt>
          <cx:pt idx="1856">8.2472000000000012</cx:pt>
          <cx:pt idx="1857">11.611199999999899</cx:pt>
          <cx:pt idx="1858">19.225000000000001</cx:pt>
          <cx:pt idx="1859">10.7091899999999</cx:pt>
          <cx:pt idx="1860">17.3794</cx:pt>
          <cx:pt idx="1861">4.7433999999999994</cx:pt>
          <cx:pt idx="1862">5.1279999999999903</cx:pt>
          <cx:pt idx="1863">11.894399999999999</cx:pt>
          <cx:pt idx="1864">6.8171999999999997</cx:pt>
          <cx:pt idx="1865">5.2561999999999998</cx:pt>
          <cx:pt idx="1866">12.177599999999899</cx:pt>
          <cx:pt idx="1867">7.1655999999999995</cx:pt>
          <cx:pt idx="1868">5.7683999999999997</cx:pt>
          <cx:pt idx="1869">8.1120000000000001</cx:pt>
          <cx:pt idx="1870">15.771799999999999</cx:pt>
          <cx:pt idx="1871">13.881599999999999</cx:pt>
          <cx:pt idx="1872">13.109999999999999</cx:pt>
          <cx:pt idx="1873">3.9741999999999997</cx:pt>
          <cx:pt idx="1874">4.1152199999999999</cx:pt>
          <cx:pt idx="1875">8.2472000000000012</cx:pt>
          <cx:pt idx="1876">18.932779999999998</cx:pt>
          <cx:pt idx="1877">9.0583999999999989</cx:pt>
          <cx:pt idx="1878">4.3588000000000005</cx:pt>
          <cx:pt idx="1879">11.328000000000001</cx:pt>
          <cx:pt idx="1880">7.5712000000000002</cx:pt>
          <cx:pt idx="1881">6.1616999999999997</cx:pt>
          <cx:pt idx="1882">2.6922000000000001</cx:pt>
          <cx:pt idx="1883">7.3008000000000006</cx:pt>
          <cx:pt idx="1884">16.625780000000002</cx:pt>
          <cx:pt idx="1885">10.292490000000001</cx:pt>
          <cx:pt idx="1886">10.139699999999999</cx:pt>
          <cx:pt idx="1887">7.8415999999999997</cx:pt>
          <cx:pt idx="1888">8.6527999999999992</cx:pt>
          <cx:pt idx="1889">7.5712000000000002</cx:pt>
          <cx:pt idx="1890">6.03059999999999</cx:pt>
          <cx:pt idx="1891">7.3008000000000006</cx:pt>
          <cx:pt idx="1892">6.6860999999999908</cx:pt>
          <cx:pt idx="1893">7.1791200000000002</cx:pt>
          <cx:pt idx="1894">13.5924</cx:pt>
          <cx:pt idx="1895">18.917400000000001</cx:pt>
          <cx:pt idx="1896">15.182200000000002</cx:pt>
          <cx:pt idx="1897">10.5564</cx:pt>
          <cx:pt idx="1898">6.6860999999999908</cx:pt>
          <cx:pt idx="1899">7.9767999999999892</cx:pt>
          <cx:pt idx="1900">5.7683999999999997</cx:pt>
          <cx:pt idx="1901">3.60242</cx:pt>
          <cx:pt idx="1902">11.328000000000001</cx:pt>
          <cx:pt idx="1903">4.2434199999999995</cx:pt>
          <cx:pt idx="1904">8.6527999999999992</cx:pt>
          <cx:pt idx="1905">7.7063999999999995</cx:pt>
          <cx:pt idx="1906">6.2927999999999997</cx:pt>
          <cx:pt idx="1907">6.5549999999999997</cx:pt>
          <cx:pt idx="1908">5.89949999999999</cx:pt>
          <cx:pt idx="1909">7.8415999999999997</cx:pt>
          <cx:pt idx="1910">12.05016</cx:pt>
          <cx:pt idx="1911">12.036</cx:pt>
          <cx:pt idx="1912">36.543199999999999</cx:pt>
          <cx:pt idx="1913">4.8715999999999999</cx:pt>
          <cx:pt idx="1914">4.7562199999999999</cx:pt>
          <cx:pt idx="1915">5.9126099999999893</cx:pt>
          <cx:pt idx="1916">5.1279999999999903</cx:pt>
          <cx:pt idx="1917">7.9767999999999892</cx:pt>
          <cx:pt idx="1918">13.462260000000001</cx:pt>
          <cx:pt idx="1919">5.89949999999999</cx:pt>
          <cx:pt idx="1920">10.0008</cx:pt>
          <cx:pt idx="1921">12.602399999999999</cx:pt>
          <cx:pt idx="1922">9.5840999999999994</cx:pt>
          <cx:pt idx="1923">10.139699999999999</cx:pt>
          <cx:pt idx="1924">6.03059999999999</cx:pt>
          <cx:pt idx="1925">5.7815099999999902</cx:pt>
          <cx:pt idx="1926">6.6860999999999908</cx:pt>
          <cx:pt idx="1927">13.751459999999998</cx:pt>
          <cx:pt idx="1928">6.1748099999999999</cx:pt>
          <cx:pt idx="1929">8.6527999999999992</cx:pt>
          <cx:pt idx="1930">8.2472000000000012</cx:pt>
          <cx:pt idx="1931">11.752799999999999</cx:pt>
          <cx:pt idx="1932">6.6860999999999908</cx:pt>
          <cx:pt idx="1933">11.4696</cx:pt>
          <cx:pt idx="1934">6.03059999999999</cx:pt>
          <cx:pt idx="1935">13.736999999999998</cx:pt>
          <cx:pt idx="1936">6.4239000000000006</cx:pt>
          <cx:pt idx="1937">4.1023999999999994</cx:pt>
          <cx:pt idx="1938">5.5193099999999999</cx:pt>
          <cx:pt idx="1939">7.1655999999999995</cx:pt>
          <cx:pt idx="1940">50.784299999999902</cx:pt>
          <cx:pt idx="1941">7.1791200000000002</cx:pt>
          <cx:pt idx="1942">4.2305999999999999</cx:pt>
          <cx:pt idx="1943">13.109999999999999</cx:pt>
          <cx:pt idx="1944">11.4696</cx:pt>
          <cx:pt idx="1945">7.9767999999999892</cx:pt>
          <cx:pt idx="1946">4.4870000000000001</cx:pt>
          <cx:pt idx="1947">19.071199999999997</cx:pt>
          <cx:pt idx="1948">5.5061999999999998</cx:pt>
          <cx:pt idx="1949">8.9232000000000014</cx:pt>
          <cx:pt idx="1950">2.0640200000000002</cx:pt>
          <cx:pt idx="1951">10.278600000000001</cx:pt>
          <cx:pt idx="1952">19.225000000000001</cx:pt>
          <cx:pt idx="1953">2.4358</cx:pt>
          <cx:pt idx="1954">6.3059099999999892</cx:pt>
          <cx:pt idx="1955">13.109999999999999</cx:pt>
          <cx:pt idx="1956">11.4696</cx:pt>
          <cx:pt idx="1957">4.9998000000000005</cx:pt>
          <cx:pt idx="1958">8.1120000000000001</cx:pt>
          <cx:pt idx="1959">8.1120000000000001</cx:pt>
          <cx:pt idx="1960">13.447799999999999</cx:pt>
          <cx:pt idx="1961">7.4359999999999999</cx:pt>
          <cx:pt idx="1962">5.7683999999999997</cx:pt>
          <cx:pt idx="1963">6.5549999999999997</cx:pt>
          <cx:pt idx="1964">12.177599999999899</cx:pt>
          <cx:pt idx="1965">5.0126199999999894</cx:pt>
          <cx:pt idx="1966">2.6922000000000001</cx:pt>
          <cx:pt idx="1967">7.8415999999999997</cx:pt>
          <cx:pt idx="1968">8.2472000000000012</cx:pt>
          <cx:pt idx="1969">6.6860999999999908</cx:pt>
          <cx:pt idx="1970">2.0511999999999997</cx:pt>
          <cx:pt idx="1971">10.973099999999999</cx:pt>
          <cx:pt idx="1972">6.2927999999999997</cx:pt>
          <cx:pt idx="1973">8.5175999999999998</cx:pt>
          <cx:pt idx="1974">3.4742199999999896</cx:pt>
          <cx:pt idx="1975">12.602399999999999</cx:pt>
          <cx:pt idx="1976">6.2927999999999997</cx:pt>
          <cx:pt idx="1977">14.0261999999999</cx:pt>
          <cx:pt idx="1978">5.2561999999999998</cx:pt>
          <cx:pt idx="1979">1.80762</cx:pt>
          <cx:pt idx="1980">8.3823999999999987</cx:pt>
          <cx:pt idx="1981">15.6244</cx:pt>
          <cx:pt idx="1982">2.3204199999999999</cx:pt>
          <cx:pt idx="1983">6.0437099999999999</cx:pt>
          <cx:pt idx="1984">5.7683999999999997</cx:pt>
          <cx:pt idx="1985">6.8171999999999997</cx:pt>
          <cx:pt idx="1986">10.5564</cx:pt>
          <cx:pt idx="1987">12.177599999999899</cx:pt>
          <cx:pt idx="1988">9.8619000000000003</cx:pt>
          <cx:pt idx="1989">6.5549999999999997</cx:pt>
          <cx:pt idx="1990">9.8619000000000003</cx:pt>
          <cx:pt idx="1991">5.63729999999999</cx:pt>
          <cx:pt idx="1992">9.722999999999999</cx:pt>
          <cx:pt idx="1993">11.894399999999999</cx:pt>
          <cx:pt idx="1994">5.2690199999999905</cx:pt>
          <cx:pt idx="1995">9.5840999999999994</cx:pt>
          <cx:pt idx="1996">10.848089999999901</cx:pt>
          <cx:pt idx="1997">10.153589999999999</cx:pt>
          <cx:pt idx="1998">6.2927999999999997</cx:pt>
          <cx:pt idx="1999">6.03059999999999</cx:pt>
          <cx:pt idx="2000">8.6527999999999992</cx:pt>
          <cx:pt idx="2001">2.6922000000000001</cx:pt>
          <cx:pt idx="2002">45.678999999999995</cx:pt>
          <cx:pt idx="2003">10.431389999999901</cx:pt>
          <cx:pt idx="2004">6.2927999999999997</cx:pt>
          <cx:pt idx="2005">54.546099999999996</cx:pt>
          <cx:pt idx="2006">8.2472000000000012</cx:pt>
          <cx:pt idx="2007">5.1279999999999903</cx:pt>
          <cx:pt idx="2008">6.1616999999999997</cx:pt>
          <cx:pt idx="2009">8.5175999999999998</cx:pt>
          <cx:pt idx="2010">5.2561999999999998</cx:pt>
          <cx:pt idx="2011">17.687000000000001</cx:pt>
          <cx:pt idx="2012">15.771799999999999</cx:pt>
          <cx:pt idx="2013">13.736999999999998</cx:pt>
          <cx:pt idx="2014">13.881599999999999</cx:pt>
          <cx:pt idx="2015">4.8844199999999995</cx:pt>
          <cx:pt idx="2016">10.834199999999999</cx:pt>
          <cx:pt idx="2017">9.5979900000000011</cx:pt>
          <cx:pt idx="2018">6.03059999999999</cx:pt>
          <cx:pt idx="2019">5.89949999999999</cx:pt>
          <cx:pt idx="2020">9.5840999999999994</cx:pt>
          <cx:pt idx="2021">11.328000000000001</cx:pt>
          <cx:pt idx="2022">3.5895999999999999</cx:pt>
          <cx:pt idx="2023">3.9741999999999997</cx:pt>
          <cx:pt idx="2024">10.973099999999999</cx:pt>
          <cx:pt idx="2025">4.4998199999999899</cx:pt>
          <cx:pt idx="2026">10.973099999999999</cx:pt>
          <cx:pt idx="2027">6.3059099999999892</cx:pt>
          <cx:pt idx="2028">35.1997</cx:pt>
          <cx:pt idx="2029">7.3008000000000006</cx:pt>
          <cx:pt idx="2030">4.4870000000000001</cx:pt>
          <cx:pt idx="2031">6.1748099999999999</cx:pt>
          <cx:pt idx="2032">8.6527999999999992</cx:pt>
          <cx:pt idx="2033">9.722999999999999</cx:pt>
          <cx:pt idx="2034">9.722999999999999</cx:pt>
          <cx:pt idx="2035">5.1279999999999903</cx:pt>
          <cx:pt idx="2036">7.3008000000000006</cx:pt>
          <cx:pt idx="2037">6.6860999999999908</cx:pt>
          <cx:pt idx="2038">6.2927999999999997</cx:pt>
          <cx:pt idx="2039">6.03059999999999</cx:pt>
          <cx:pt idx="2040">8.2472000000000012</cx:pt>
          <cx:pt idx="2041">17.533199999999997</cx:pt>
          <cx:pt idx="2042">12.460799999999999</cx:pt>
          <cx:pt idx="2043">12.319199999999899</cx:pt>
          <cx:pt idx="2044">12.177599999999899</cx:pt>
          <cx:pt idx="2045">3.9741999999999997</cx:pt>
          <cx:pt idx="2046">6.2927999999999997</cx:pt>
          <cx:pt idx="2047">12.460799999999999</cx:pt>
          <cx:pt idx="2048">13.881599999999999</cx:pt>
          <cx:pt idx="2049">3.4742199999999896</cx:pt>
          <cx:pt idx="2050">8.9367199999999993</cx:pt>
          <cx:pt idx="2051">10.4175</cx:pt>
          <cx:pt idx="2052">7.3008000000000006</cx:pt>
          <cx:pt idx="2053">17.687000000000001</cx:pt>
          <cx:pt idx="2054">6.4239000000000006</cx:pt>
          <cx:pt idx="2055">9.5840999999999994</cx:pt>
          <cx:pt idx="2056">5.9126099999999893</cx:pt>
          <cx:pt idx="2057">4.4870000000000001</cx:pt>
          <cx:pt idx="2058">7.7199199999999992</cx:pt>
          <cx:pt idx="2059">14.3154</cx:pt>
          <cx:pt idx="2060">4.8715999999999999</cx:pt>
          <cx:pt idx="2061">13.447799999999999</cx:pt>
          <cx:pt idx="2062">10.4175</cx:pt>
          <cx:pt idx="2063">7.7063999999999995</cx:pt>
          <cx:pt idx="2064">19.225000000000001</cx:pt>
          <cx:pt idx="2065">8.1120000000000001</cx:pt>
          <cx:pt idx="2066">17.0718</cx:pt>
          <cx:pt idx="2067">10.153589999999999</cx:pt>
          <cx:pt idx="2068">11.894399999999999</cx:pt>
          <cx:pt idx="2069">5.7683999999999997</cx:pt>
          <cx:pt idx="2070">8.80152</cx:pt>
          <cx:pt idx="2071">3.8460000000000001</cx:pt>
          <cx:pt idx="2072">2.1922199999999998</cx:pt>
          <cx:pt idx="2073">9.722999999999999</cx:pt>
          <cx:pt idx="2074">8.1390400000000191</cx:pt>
          <cx:pt idx="2075">15.491739999999901</cx:pt>
          <cx:pt idx="2076">6.2927999999999997</cx:pt>
          <cx:pt idx="2077">6.03059999999999</cx:pt>
          <cx:pt idx="2078">17.717759999999998</cx:pt>
          <cx:pt idx="2079">11.328000000000001</cx:pt>
          <cx:pt idx="2080">11.4696</cx:pt>
          <cx:pt idx="2081">8.3823999999999987</cx:pt>
          <cx:pt idx="2082">11.894399999999999</cx:pt>
          <cx:pt idx="2083">9.0583999999999989</cx:pt>
          <cx:pt idx="2084">15.19694</cx:pt>
          <cx:pt idx="2085">15.476999999999999</cx:pt>
          <cx:pt idx="2086">16.917999999999999</cx:pt>
          <cx:pt idx="2087">1.42302</cx:pt>
          <cx:pt idx="2088">10.5564</cx:pt>
          <cx:pt idx="2089">7.7063999999999995</cx:pt>
          <cx:pt idx="2090">15.034799999999901</cx:pt>
          <cx:pt idx="2091">12.825000000000001</cx:pt>
          <cx:pt idx="2092">19.532599999999999</cx:pt>
          <cx:pt idx="2093">5.7683999999999997</cx:pt>
          <cx:pt idx="2094">13.881599999999999</cx:pt>
          <cx:pt idx="2095">5.63729999999999</cx:pt>
          <cx:pt idx="2096">6.0437099999999999</cx:pt>
          <cx:pt idx="2097">38.424100000000003</cx:pt>
          <cx:pt idx="2098">8.2472000000000012</cx:pt>
          <cx:pt idx="2099">10.973099999999999</cx:pt>
          <cx:pt idx="2100">7.5847200000000008</cx:pt>
          <cx:pt idx="2101">6.4239000000000006</cx:pt>
          <cx:pt idx="2102">18.302199999999999</cx:pt>
          <cx:pt idx="2103">13.736999999999998</cx:pt>
          <cx:pt idx="2104">8.2472000000000012</cx:pt>
          <cx:pt idx="2105">15.329599999999999</cx:pt>
          <cx:pt idx="2106">3.9870200000000002</cx:pt>
          <cx:pt idx="2107">5.63729999999999</cx:pt>
          <cx:pt idx="2108">12.825000000000001</cx:pt>
          <cx:pt idx="2109">2.5768200000000001</cx:pt>
          <cx:pt idx="2110">6.5549999999999997</cx:pt>
          <cx:pt idx="2111">5.5193099999999999</cx:pt>
          <cx:pt idx="2112">8.260720000000001</cx:pt>
          <cx:pt idx="2113">6.6860999999999908</cx:pt>
          <cx:pt idx="2114">15.771799999999999</cx:pt>
          <cx:pt idx="2115">6.6860999999999908</cx:pt>
          <cx:pt idx="2116">9.6257700000000188</cx:pt>
          <cx:pt idx="2117">4.6151999999999997</cx:pt>
          <cx:pt idx="2118">5.1279999999999903</cx:pt>
          <cx:pt idx="2119">13.736999999999998</cx:pt>
          <cx:pt idx="2120">10.6952999999999</cx:pt>
          <cx:pt idx="2121">7.5712000000000002</cx:pt>
          <cx:pt idx="2122">12.967500000000001</cx:pt>
          <cx:pt idx="2123">17.840799999999902</cx:pt>
          <cx:pt idx="2124">2.1794000000000002</cx:pt>
          <cx:pt idx="2125">10.139699999999999</cx:pt>
          <cx:pt idx="2126">6.8171999999999997</cx:pt>
          <cx:pt idx="2127">6.5549999999999997</cx:pt>
          <cx:pt idx="2128">9.5840999999999994</cx:pt>
          <cx:pt idx="2129">11.328000000000001</cx:pt>
          <cx:pt idx="2130">14.74</cx:pt>
          <cx:pt idx="2131">18.917400000000001</cx:pt>
          <cx:pt idx="2132">17.394779999999898</cx:pt>
          <cx:pt idx="2133">36.811899999999895</cx:pt>
          <cx:pt idx="2134">2.1922199999999998</cx:pt>
          <cx:pt idx="2135">14.0406599999999</cx:pt>
          <cx:pt idx="2136">5.2818400000000203</cx:pt>
          <cx:pt idx="2137">8.7880000000000003</cx:pt>
          <cx:pt idx="2138">5.2561999999999998</cx:pt>
          <cx:pt idx="2139">5.2561999999999998</cx:pt>
          <cx:pt idx="2140">13.447799999999999</cx:pt>
          <cx:pt idx="2141">5.5061999999999998</cx:pt>
          <cx:pt idx="2142">13.5924</cx:pt>
          <cx:pt idx="2143">10.278600000000001</cx:pt>
          <cx:pt idx="2144">18.932779999999998</cx:pt>
          <cx:pt idx="2145">11.894399999999999</cx:pt>
          <cx:pt idx="2146">12.825000000000001</cx:pt>
          <cx:pt idx="2147">11.328000000000001</cx:pt>
          <cx:pt idx="2148">12.825000000000001</cx:pt>
          <cx:pt idx="2149">15.771799999999999</cx:pt>
          <cx:pt idx="2150">14.8873999999999</cx:pt>
          <cx:pt idx="2151">7.8415999999999997</cx:pt>
          <cx:pt idx="2152">10.5564</cx:pt>
          <cx:pt idx="2153">7.8551199999999906</cx:pt>
          <cx:pt idx="2154">12.177599999999899</cx:pt>
          <cx:pt idx="2155">18.456</cx:pt>
          <cx:pt idx="2156">10.57029</cx:pt>
          <cx:pt idx="2157">12.825000000000001</cx:pt>
          <cx:pt idx="2158">38.719670000000001</cx:pt>
          <cx:pt idx="2159">10.0008</cx:pt>
          <cx:pt idx="2160">8.80152</cx:pt>
          <cx:pt idx="2161">7.3008000000000006</cx:pt>
          <cx:pt idx="2162">7.1655999999999995</cx:pt>
          <cx:pt idx="2163">12.474959999999999</cx:pt>
          <cx:pt idx="2164">17.2256</cx:pt>
          <cx:pt idx="2165">17.0718</cx:pt>
          <cx:pt idx="2166">11.894399999999999</cx:pt>
          <cx:pt idx="2167">5.1279999999999903</cx:pt>
          <cx:pt idx="2168">19.071199999999997</cx:pt>
          <cx:pt idx="2169">9.722999999999999</cx:pt>
          <cx:pt idx="2170">8.2472000000000012</cx:pt>
          <cx:pt idx="2171">11.328000000000001</cx:pt>
          <cx:pt idx="2172">8.80152</cx:pt>
          <cx:pt idx="2173">9.5840999999999994</cx:pt>
          <cx:pt idx="2174">3.4613999999999998</cx:pt>
          <cx:pt idx="2175">10.278600000000001</cx:pt>
          <cx:pt idx="2176">10.834199999999999</cx:pt>
          <cx:pt idx="2177">7.4359999999999999</cx:pt>
          <cx:pt idx="2178">10.834199999999999</cx:pt>
          <cx:pt idx="2179">7.8415999999999997</cx:pt>
          <cx:pt idx="2180">16.917999999999999</cx:pt>
          <cx:pt idx="2181">11.611199999999899</cx:pt>
          <cx:pt idx="2182">5.63729999999999</cx:pt>
          <cx:pt idx="2183">6.1748099999999999</cx:pt>
          <cx:pt idx="2184">2.6922000000000001</cx:pt>
          <cx:pt idx="2185">11.328000000000001</cx:pt>
          <cx:pt idx="2186">3.9741999999999997</cx:pt>
          <cx:pt idx="2187">39.257069999999999</cx:pt>
          <cx:pt idx="2188">17.2256</cx:pt>
          <cx:pt idx="2189">18.6098</cx:pt>
          <cx:pt idx="2190">5.63729999999999</cx:pt>
          <cx:pt idx="2191">5.89949999999999</cx:pt>
          <cx:pt idx="2192">5.2561999999999998</cx:pt>
          <cx:pt idx="2193">8.7880000000000003</cx:pt>
          <cx:pt idx="2194">10.861980000000001</cx:pt>
          <cx:pt idx="2195">6.1748099999999999</cx:pt>
          <cx:pt idx="2196">12.460799999999999</cx:pt>
          <cx:pt idx="2197">17.533199999999997</cx:pt>
          <cx:pt idx="2198">11.894399999999999</cx:pt>
          <cx:pt idx="2199">11.611199999999899</cx:pt>
          <cx:pt idx="2200">8.7880000000000003</cx:pt>
          <cx:pt idx="2201">4.8715999999999999</cx:pt>
          <cx:pt idx="2202">7.9767999999999892</cx:pt>
          <cx:pt idx="2203">13.881599999999999</cx:pt>
          <cx:pt idx="2204">13.447799999999999</cx:pt>
          <cx:pt idx="2205">11.752799999999999</cx:pt>
          <cx:pt idx="2206">9.3201899999999895</cx:pt>
          <cx:pt idx="2207">5.5193099999999999</cx:pt>
          <cx:pt idx="2208">4.3588000000000005</cx:pt>
          <cx:pt idx="2209">7.3008000000000006</cx:pt>
          <cx:pt idx="2210">15.034799999999901</cx:pt>
          <cx:pt idx="2211">11.90856</cx:pt>
          <cx:pt idx="2212">12.967500000000001</cx:pt>
          <cx:pt idx="2213">4.8715999999999999</cx:pt>
          <cx:pt idx="2214">2.0640200000000002</cx:pt>
          <cx:pt idx="2215">10.278600000000001</cx:pt>
          <cx:pt idx="2216">10.848089999999901</cx:pt>
          <cx:pt idx="2217">18.778979999999901</cx:pt>
          <cx:pt idx="2218">18.7636</cx:pt>
          <cx:pt idx="2219">12.177599999999899</cx:pt>
          <cx:pt idx="2220">14.74</cx:pt>
          <cx:pt idx="2221">10.139699999999999</cx:pt>
          <cx:pt idx="2222">18.6098</cx:pt>
          <cx:pt idx="2223">17.0718</cx:pt>
          <cx:pt idx="2224">7.3008000000000006</cx:pt>
          <cx:pt idx="2225">15.359080000000001</cx:pt>
          <cx:pt idx="2226">12.967500000000001</cx:pt>
          <cx:pt idx="2227">8.5175999999999998</cx:pt>
          <cx:pt idx="2228">6.6860999999999908</cx:pt>
          <cx:pt idx="2229">14.8873999999999</cx:pt>
          <cx:pt idx="2230">13.5924</cx:pt>
          <cx:pt idx="2231">12.602399999999999</cx:pt>
          <cx:pt idx="2232">6.6860999999999908</cx:pt>
          <cx:pt idx="2233">8.260720000000001</cx:pt>
          <cx:pt idx="2234">42.185899999999997</cx:pt>
          <cx:pt idx="2235">10.5564</cx:pt>
          <cx:pt idx="2236">5.7683999999999997</cx:pt>
          <cx:pt idx="2237">6.03059999999999</cx:pt>
          <cx:pt idx="2238">5.5061999999999998</cx:pt>
          <cx:pt idx="2239">7.7063999999999995</cx:pt>
          <cx:pt idx="2240">11.752799999999999</cx:pt>
          <cx:pt idx="2241">12.036</cx:pt>
          <cx:pt idx="2242">15.6244</cx:pt>
          <cx:pt idx="2243">3.34601999999999</cx:pt>
          <cx:pt idx="2244">11.639520000000001</cx:pt>
          <cx:pt idx="2245">38.1554</cx:pt>
          <cx:pt idx="2246">9.8619000000000003</cx:pt>
          <cx:pt idx="2247">8.2472000000000012</cx:pt>
          <cx:pt idx="2248">8.2472000000000012</cx:pt>
          <cx:pt idx="2249">8.1255199999999999</cx:pt>
          <cx:pt idx="2250">11.4696</cx:pt>
          <cx:pt idx="2251">8.1255199999999999</cx:pt>
          <cx:pt idx="2252">12.474959999999999</cx:pt>
          <cx:pt idx="2253">4.6280199999999905</cx:pt>
          <cx:pt idx="2254">15.653880000000001</cx:pt>
          <cx:pt idx="2255">13.881599999999999</cx:pt>
          <cx:pt idx="2256">8.3823999999999987</cx:pt>
          <cx:pt idx="2257">8.2472000000000012</cx:pt>
          <cx:pt idx="2258">6.5681099999999892</cx:pt>
          <cx:pt idx="2259">6.4370099999999999</cx:pt>
          <cx:pt idx="2260">38.424100000000003</cx:pt>
          <cx:pt idx="2261">40.090040000000002</cx:pt>
          <cx:pt idx="2262">6.8171999999999997</cx:pt>
          <cx:pt idx="2263">13.881599999999899</cx:pt>
          <cx:pt idx="2264">14.8873999999999</cx:pt>
          <cx:pt idx="2265">2.5639999999999898</cx:pt>
          <cx:pt idx="2266">12.333360000000001</cx:pt>
          <cx:pt idx="2267">3.9741999999999997</cx:pt>
          <cx:pt idx="2268">8.260720000000001</cx:pt>
          <cx:pt idx="2269">9.0583999999999989</cx:pt>
          <cx:pt idx="2270">10.0008</cx:pt>
          <cx:pt idx="2271">17.3794</cx:pt>
          <cx:pt idx="2272">7.3008000000000006</cx:pt>
          <cx:pt idx="2273">4.6151999999999997</cx:pt>
          <cx:pt idx="2274">7.7063999999999995</cx:pt>
          <cx:pt idx="2275">10.278600000000001</cx:pt>
          <cx:pt idx="2276">15.329599999999999</cx:pt>
          <cx:pt idx="2277">8.7880000000000003</cx:pt>
          <cx:pt idx="2278">7.4359999999999999</cx:pt>
          <cx:pt idx="2279">4.6151999999999997</cx:pt>
          <cx:pt idx="2280">6.5549999999999997</cx:pt>
          <cx:pt idx="2281">5.89949999999999</cx:pt>
          <cx:pt idx="2282">7.1655999999999995</cx:pt>
          <cx:pt idx="2283">50.515599999999907</cx:pt>
          <cx:pt idx="2284">8.80152</cx:pt>
          <cx:pt idx="2285">9.8757900000000003</cx:pt>
          <cx:pt idx="2286">9.8619000000000003</cx:pt>
          <cx:pt idx="2287">8.2472000000000012</cx:pt>
          <cx:pt idx="2288">17.687000000000001</cx:pt>
          <cx:pt idx="2289">12.460799999999999</cx:pt>
          <cx:pt idx="2290">7.1655999999999995</cx:pt>
          <cx:pt idx="2291">2.8332199999999998</cx:pt>
          <cx:pt idx="2292">6.8171999999999997</cx:pt>
          <cx:pt idx="2293">7.5712000000000002</cx:pt>
          <cx:pt idx="2294">7.5712000000000002</cx:pt>
          <cx:pt idx="2295">8.9367199999999993</cx:pt>
          <cx:pt idx="2296">7.4359999999999999</cx:pt>
          <cx:pt idx="2297">19.686400000000003</cx:pt>
          <cx:pt idx="2298">16.764200000000002</cx:pt>
          <cx:pt idx="2299">8.1120000000000001</cx:pt>
          <cx:pt idx="2300">10.4175</cx:pt>
          <cx:pt idx="2301">35.468400000000003</cx:pt>
          <cx:pt idx="2302">13.447799999999999</cx:pt>
          <cx:pt idx="2303">34.930999999999997</cx:pt>
          <cx:pt idx="2304">12.967500000000001</cx:pt>
          <cx:pt idx="2305">6.2927999999999997</cx:pt>
          <cx:pt idx="2306">12.05016</cx:pt>
          <cx:pt idx="2307">12.602399999999999</cx:pt>
          <cx:pt idx="2308">4.7433999999999994</cx:pt>
          <cx:pt idx="2309">9.8619000000000003</cx:pt>
          <cx:pt idx="2310">7.8415999999999997</cx:pt>
          <cx:pt idx="2311">10.6952999999999</cx:pt>
          <cx:pt idx="2312">7.9767999999999892</cx:pt>
          <cx:pt idx="2313">3.4742199999999896</cx:pt>
          <cx:pt idx="2314">7.3008000000000006</cx:pt>
          <cx:pt idx="2315">12.967500000000001</cx:pt>
          <cx:pt idx="2316">8.3823999999999987</cx:pt>
          <cx:pt idx="2317">6.3059099999999892</cx:pt>
          <cx:pt idx="2318">7.7199199999999992</cx:pt>
          <cx:pt idx="2319">6.6860999999999908</cx:pt>
          <cx:pt idx="2320">4.8715999999999999</cx:pt>
          <cx:pt idx="2321">6.4370099999999999</cx:pt>
          <cx:pt idx="2322">6.1616999999999997</cx:pt>
          <cx:pt idx="2323">7.8551199999999906</cx:pt>
          <cx:pt idx="2324">9.0583999999999989</cx:pt>
          <cx:pt idx="2325">2.1922199999999998</cx:pt>
          <cx:pt idx="2326">2.0640200000000002</cx:pt>
          <cx:pt idx="2327">11.4696</cx:pt>
          <cx:pt idx="2328">5.2561999999999998</cx:pt>
          <cx:pt idx="2329">6.03059999999999</cx:pt>
          <cx:pt idx="2330">12.177599999999899</cx:pt>
          <cx:pt idx="2331">9.5840999999999994</cx:pt>
          <cx:pt idx="2332">14.315399999999901</cx:pt>
          <cx:pt idx="2333">7.3008000000000006</cx:pt>
          <cx:pt idx="2334">12.967500000000001</cx:pt>
          <cx:pt idx="2335">12.825000000000001</cx:pt>
          <cx:pt idx="2336">13.1242499999999</cx:pt>
          <cx:pt idx="2337">12.036</cx:pt>
          <cx:pt idx="2338">6.1748099999999999</cx:pt>
          <cx:pt idx="2339">10.4175</cx:pt>
          <cx:pt idx="2340">8.5175999999999998</cx:pt>
          <cx:pt idx="2341">17.856179999999998</cx:pt>
          <cx:pt idx="2342">3.2178199999999997</cx:pt>
          <cx:pt idx="2343">5.6504099999999999</cx:pt>
          <cx:pt idx="2344">7.9767999999999892</cx:pt>
          <cx:pt idx="2345">9.5840999999999994</cx:pt>
          <cx:pt idx="2346">10.973099999999999</cx:pt>
          <cx:pt idx="2347">4.1023999999999994</cx:pt>
          <cx:pt idx="2348">10.6952999999999</cx:pt>
          <cx:pt idx="2349">1.9358199999999999</cx:pt>
          <cx:pt idx="2350">6.1748099999999999</cx:pt>
          <cx:pt idx="2351">15.19694</cx:pt>
          <cx:pt idx="2352">5.9126099999999893</cx:pt>
          <cx:pt idx="2353">8.7880000000000003</cx:pt>
          <cx:pt idx="2354">7.8551199999999906</cx:pt>
          <cx:pt idx="2355">11.766959999999999</cx:pt>
          <cx:pt idx="2356">6.03059999999999</cx:pt>
          <cx:pt idx="2357">11.611199999999899</cx:pt>
          <cx:pt idx="2358">3.2178199999999997</cx:pt>
          <cx:pt idx="2359">12.602399999999999</cx:pt>
          <cx:pt idx="2360">7.1655999999999995</cx:pt>
          <cx:pt idx="2361">3.8460000000000001</cx:pt>
          <cx:pt idx="2362">9.8757900000000003</cx:pt>
          <cx:pt idx="2363">15.329599999999999</cx:pt>
          <cx:pt idx="2364">13.5924</cx:pt>
          <cx:pt idx="2365">18.4713799999999</cx:pt>
          <cx:pt idx="2366">12.177599999999899</cx:pt>
          <cx:pt idx="2367">15.771799999999999</cx:pt>
          <cx:pt idx="2368">13.462260000000001</cx:pt>
          <cx:pt idx="2369">8.1120000000000001</cx:pt>
          <cx:pt idx="2370">19.071199999999997</cx:pt>
          <cx:pt idx="2371">13.736999999999998</cx:pt>
          <cx:pt idx="2372">15.9192</cx:pt>
          <cx:pt idx="2373">18.009979999999899</cx:pt>
          <cx:pt idx="2374">8.9232000000000014</cx:pt>
          <cx:pt idx="2375">11.4696</cx:pt>
          <cx:pt idx="2376">8.1120000000000001</cx:pt>
          <cx:pt idx="2377">6.03059999999999</cx:pt>
          <cx:pt idx="2378">13.447799999999999</cx:pt>
          <cx:pt idx="2379">4.7433999999999994</cx:pt>
          <cx:pt idx="2380">10.6952999999999</cx:pt>
          <cx:pt idx="2381">12.460799999999999</cx:pt>
          <cx:pt idx="2382">8.6527999999999992</cx:pt>
          <cx:pt idx="2383">36.301369999999999</cx:pt>
          <cx:pt idx="2384">10.834199999999999</cx:pt>
          <cx:pt idx="2385">18.148399999999899</cx:pt>
          <cx:pt idx="2386">6.03059999999999</cx:pt>
          <cx:pt idx="2387">14.3154</cx:pt>
          <cx:pt idx="2388">10.848089999999901</cx:pt>
          <cx:pt idx="2389">40.86927</cx:pt>
          <cx:pt idx="2390">2.5639999999999898</cx:pt>
          <cx:pt idx="2391">12.05016</cx:pt>
          <cx:pt idx="2392">5.7683999999999997</cx:pt>
          <cx:pt idx="2393">34.930999999999997</cx:pt>
          <cx:pt idx="2394">19.547980000000003</cx:pt>
          <cx:pt idx="2395">9.4451999999999998</cx:pt>
          <cx:pt idx="2396">7.8415999999999997</cx:pt>
          <cx:pt idx="2397">11.4696</cx:pt>
          <cx:pt idx="2398">8.2472000000000012</cx:pt>
          <cx:pt idx="2399">10.278600000000001</cx:pt>
          <cx:pt idx="2400">15.9192</cx:pt>
          <cx:pt idx="2401">3.9741999999999997</cx:pt>
          <cx:pt idx="2402">10.973099999999999</cx:pt>
          <cx:pt idx="2403">5.1408199999999997</cx:pt>
          <cx:pt idx="2404">13.736999999999998</cx:pt>
          <cx:pt idx="2405">6.8171999999999997</cx:pt>
          <cx:pt idx="2406">5.89949999999999</cx:pt>
          <cx:pt idx="2407">9.5840999999999994</cx:pt>
          <cx:pt idx="2408">43.314439999999998</cx:pt>
          <cx:pt idx="2409">12.19176</cx:pt>
          <cx:pt idx="2410">3.6280600000000196</cx:pt>
          <cx:pt idx="2411">10.4175</cx:pt>
          <cx:pt idx="2412">4.9998000000000005</cx:pt>
          <cx:pt idx="2413">11.48376</cx:pt>
          <cx:pt idx="2414">7.1655999999999995</cx:pt>
          <cx:pt idx="2415">10.6952999999999</cx:pt>
          <cx:pt idx="2416">4.8844199999999995</cx:pt>
          <cx:pt idx="2417">8.7880000000000003</cx:pt>
          <cx:pt idx="2418">10.139699999999999</cx:pt>
          <cx:pt idx="2419">8.6527999999999992</cx:pt>
          <cx:pt idx="2420">6.4239000000000006</cx:pt>
          <cx:pt idx="2421">6.03059999999999</cx:pt>
          <cx:pt idx="2422">7.1655999999999995</cx:pt>
          <cx:pt idx="2423">7.8415999999999997</cx:pt>
          <cx:pt idx="2424">4.9998000000000005</cx:pt>
          <cx:pt idx="2425">8.2472000000000012</cx:pt>
          <cx:pt idx="2426">7.9767999999999892</cx:pt>
          <cx:pt idx="2427">10.0008</cx:pt>
          <cx:pt idx="2428">10.4175</cx:pt>
          <cx:pt idx="2429">6.5549999999999997</cx:pt>
          <cx:pt idx="2430">8.1120000000000001</cx:pt>
          <cx:pt idx="2431">6.5549999999999997</cx:pt>
          <cx:pt idx="2432">7.9767999999999892</cx:pt>
          <cx:pt idx="2433">8.2472000000000012</cx:pt>
          <cx:pt idx="2434">10.4175</cx:pt>
          <cx:pt idx="2435">12.177599999999899</cx:pt>
          <cx:pt idx="2436">10.5564</cx:pt>
          <cx:pt idx="2437">8.3823999999999987</cx:pt>
          <cx:pt idx="2438">51.644139999999908</cx:pt>
          <cx:pt idx="2439">11.328000000000001</cx:pt>
          <cx:pt idx="2440">6.4239000000000006</cx:pt>
          <cx:pt idx="2441">8.9232000000000014</cx:pt>
          <cx:pt idx="2442">17.994599999999998</cx:pt>
          <cx:pt idx="2443">6.6860999999999908</cx:pt>
          <cx:pt idx="2444">11.328000000000001</cx:pt>
          <cx:pt idx="2445">2.3075999999999999</cx:pt>
          <cx:pt idx="2446">11.766959999999999</cx:pt>
          <cx:pt idx="2447">11.4696</cx:pt>
          <cx:pt idx="2448">10.834199999999999</cx:pt>
          <cx:pt idx="2449">13.881599999999999</cx:pt>
          <cx:pt idx="2450">1.6794199999999999</cx:pt>
          <cx:pt idx="2451">9.0583999999999989</cx:pt>
          <cx:pt idx="2452">34.662300000000002</cx:pt>
          <cx:pt idx="2453">7.1655999999999995</cx:pt>
          <cx:pt idx="2454">4.4998199999999899</cx:pt>
          <cx:pt idx="2455">12.967500000000001</cx:pt>
          <cx:pt idx="2456">6.8171999999999997</cx:pt>
          <cx:pt idx="2457">8.3959200000000003</cx:pt>
          <cx:pt idx="2458">6.4239000000000006</cx:pt>
          <cx:pt idx="2459">9.0583999999999989</cx:pt>
          <cx:pt idx="2460">3.4613999999999998</cx:pt>
          <cx:pt idx="2461">10.6952999999999</cx:pt>
          <cx:pt idx="2462">10.834199999999999</cx:pt>
          <cx:pt idx="2463">36.032670000000003</cx:pt>
          <cx:pt idx="2464">8.1120000000000001</cx:pt>
          <cx:pt idx="2465">15.6244</cx:pt>
          <cx:pt idx="2466">8.9232000000000014</cx:pt>
          <cx:pt idx="2467">11.894399999999999</cx:pt>
          <cx:pt idx="2468">17.840799999999902</cx:pt>
          <cx:pt idx="2469">7.5847200000000008</cx:pt>
          <cx:pt idx="2470">35.737099999999998</cx:pt>
          <cx:pt idx="2471">5.9126099999999893</cx:pt>
          <cx:pt idx="2472">4.4998199999999899</cx:pt>
          <cx:pt idx="2473">7.9767999999999892</cx:pt>
          <cx:pt idx="2474">7.5712000000000002</cx:pt>
          <cx:pt idx="2475">11.328000000000001</cx:pt>
          <cx:pt idx="2476">12.319199999999899</cx:pt>
          <cx:pt idx="2477">4.9998000000000005</cx:pt>
          <cx:pt idx="2478">6.6860999999999908</cx:pt>
          <cx:pt idx="2479">12.825000000000001</cx:pt>
          <cx:pt idx="2480">5.5061999999999998</cx:pt>
          <cx:pt idx="2481">5.7683999999999997</cx:pt>
          <cx:pt idx="2482">6.4239000000000006</cx:pt>
          <cx:pt idx="2483">11.4696</cx:pt>
          <cx:pt idx="2484">10.292490000000001</cx:pt>
          <cx:pt idx="2485">3.7178000000000004</cx:pt>
          <cx:pt idx="2486">10.4175</cx:pt>
          <cx:pt idx="2487">8.1120000000000001</cx:pt>
          <cx:pt idx="2488">5.89949999999999</cx:pt>
          <cx:pt idx="2489">7.8415999999999997</cx:pt>
          <cx:pt idx="2490">37.886699999999998</cx:pt>
          <cx:pt idx="2491">3.4613999999999998</cx:pt>
          <cx:pt idx="2492">8.7880000000000003</cx:pt>
          <cx:pt idx="2493">8.5175999999999998</cx:pt>
          <cx:pt idx="2494">3.9741999999999997</cx:pt>
          <cx:pt idx="2495">3.60242</cx:pt>
          <cx:pt idx="2496">11.894399999999999</cx:pt>
          <cx:pt idx="2497">42.454599999999999</cx:pt>
          <cx:pt idx="2498">14.769479999999998</cx:pt>
          <cx:pt idx="2499">8.6527999999999992</cx:pt>
          <cx:pt idx="2500">6.2927999999999997</cx:pt>
          <cx:pt idx="2501">7.9767999999999892</cx:pt>
          <cx:pt idx="2502">7.5712000000000002</cx:pt>
          <cx:pt idx="2503">5.5061999999999998</cx:pt>
          <cx:pt idx="2504">5.89949999999999</cx:pt>
          <cx:pt idx="2505">4.7433999999999994</cx:pt>
          <cx:pt idx="2506">5.5061999999999998</cx:pt>
          <cx:pt idx="2507">11.625360000000001</cx:pt>
          <cx:pt idx="2508">4.7433999999999994</cx:pt>
          <cx:pt idx="2509">12.602399999999999</cx:pt>
          <cx:pt idx="2510">8.2472000000000012</cx:pt>
          <cx:pt idx="2511">7.9767999999999892</cx:pt>
          <cx:pt idx="2512">37.91357</cx:pt>
          <cx:pt idx="2513">7.9767999999999892</cx:pt>
          <cx:pt idx="2514">6.1748099999999999</cx:pt>
          <cx:pt idx="2515">12.177599999999899</cx:pt>
          <cx:pt idx="2516">6.2927999999999997</cx:pt>
          <cx:pt idx="2517">5.89949999999999</cx:pt>
          <cx:pt idx="2518">8.7880000000000003</cx:pt>
          <cx:pt idx="2519">9.4451999999999998</cx:pt>
          <cx:pt idx="2520">4.2305999999999999</cx:pt>
          <cx:pt idx="2521">6.4239000000000006</cx:pt>
          <cx:pt idx="2522">6.03059999999999</cx:pt>
          <cx:pt idx="2523">5.2561999999999998</cx:pt>
          <cx:pt idx="2524">12.036</cx:pt>
          <cx:pt idx="2525">7.0439199999999991</cx:pt>
          <cx:pt idx="2526">11.894399999999999</cx:pt>
          <cx:pt idx="2527">19.240380000000002</cx:pt>
          <cx:pt idx="2528">8.6527999999999992</cx:pt>
          <cx:pt idx="2529">8.2472000000000012</cx:pt>
          <cx:pt idx="2530">7.0439199999999991</cx:pt>
          <cx:pt idx="2531">8.3823999999999987</cx:pt>
          <cx:pt idx="2532">18.6098</cx:pt>
          <cx:pt idx="2533">6.2927999999999997</cx:pt>
          <cx:pt idx="2534">11.894399999999999</cx:pt>
          <cx:pt idx="2535">12.825000000000001</cx:pt>
          <cx:pt idx="2536">10.973099999999999</cx:pt>
          <cx:pt idx="2537">8.6663199999999989</cx:pt>
          <cx:pt idx="2538">10.0008</cx:pt>
          <cx:pt idx="2539">5.7683999999999997</cx:pt>
          <cx:pt idx="2540">9.722999999999999</cx:pt>
          <cx:pt idx="2541">7.4359999999999999</cx:pt>
          <cx:pt idx="2542">2.1794000000000002</cx:pt>
          <cx:pt idx="2543">8.80152</cx:pt>
          <cx:pt idx="2544">14.0261999999999</cx:pt>
          <cx:pt idx="2545">7.4495199999999997</cx:pt>
          <cx:pt idx="2546">8.6527999999999992</cx:pt>
          <cx:pt idx="2547">12.711</cx:pt>
          <cx:pt idx="2548">12.967500000000001</cx:pt>
          <cx:pt idx="2549">15.9192</cx:pt>
          <cx:pt idx="2550">4.2434199999999995</cx:pt>
          <cx:pt idx="2551">11.4696</cx:pt>
          <cx:pt idx="2552">14.8873999999999</cx:pt>
          <cx:pt idx="2553">15.034799999999901</cx:pt>
          <cx:pt idx="2554">8.1120000000000001</cx:pt>
          <cx:pt idx="2555">5.5061999999999998</cx:pt>
          <cx:pt idx="2556">13.1242499999999</cx:pt>
          <cx:pt idx="2557">11.752799999999999</cx:pt>
          <cx:pt idx="2558">4.8844199999999995</cx:pt>
          <cx:pt idx="2559">10.0146899999999</cx:pt>
          <cx:pt idx="2560">5.5061999999999998</cx:pt>
          <cx:pt idx="2561">17.0718</cx:pt>
          <cx:pt idx="2562">11.766959999999999</cx:pt>
          <cx:pt idx="2563">5.89949999999999</cx:pt>
          <cx:pt idx="2564">6.5681099999999892</cx:pt>
          <cx:pt idx="2565">1.9358199999999999</cx:pt>
          <cx:pt idx="2566">8.1120000000000001</cx:pt>
          <cx:pt idx="2567">6.6860999999999908</cx:pt>
          <cx:pt idx="2568">12.967500000000001</cx:pt>
          <cx:pt idx="2569">3.5895999999999999</cx:pt>
          <cx:pt idx="2570">5.7683999999999997</cx:pt>
          <cx:pt idx="2571">9.3201899999999895</cx:pt>
          <cx:pt idx="2572">12.602399999999999</cx:pt>
          <cx:pt idx="2573">17.840799999999902</cx:pt>
          <cx:pt idx="2574">7.5712000000000002</cx:pt>
          <cx:pt idx="2575">6.03059999999999</cx:pt>
          <cx:pt idx="2576">12.036</cx:pt>
          <cx:pt idx="2577">12.050159999999901</cx:pt>
          <cx:pt idx="2578">36.274499999999996</cx:pt>
          <cx:pt idx="2579">9.8619000000000003</cx:pt>
          <cx:pt idx="2580">12.460799999999999</cx:pt>
          <cx:pt idx="2581">7.5712000000000002</cx:pt>
          <cx:pt idx="2582">17.533199999999997</cx:pt>
          <cx:pt idx="2583">4.9998000000000005</cx:pt>
          <cx:pt idx="2584">15.04954</cx:pt>
          <cx:pt idx="2585">17.994599999999998</cx:pt>
          <cx:pt idx="2586">19.686400000000003</cx:pt>
          <cx:pt idx="2587">3.7178000000000004</cx:pt>
          <cx:pt idx="2588">11.752799999999999</cx:pt>
          <cx:pt idx="2589">17.533199999999997</cx:pt>
          <cx:pt idx="2590">7.8415999999999997</cx:pt>
          <cx:pt idx="2591">9.7368899999999989</cx:pt>
          <cx:pt idx="2592">12.319199999999899</cx:pt>
          <cx:pt idx="2593">8.7880000000000003</cx:pt>
          <cx:pt idx="2594">16.79496</cx:pt>
          <cx:pt idx="2595">6.2927999999999997</cx:pt>
          <cx:pt idx="2596">5.63729999999999</cx:pt>
          <cx:pt idx="2597">10.153589999999999</cx:pt>
          <cx:pt idx="2598">15.182200000000002</cx:pt>
          <cx:pt idx="2599">41.917200000000001</cx:pt>
          <cx:pt idx="2600">9.8619000000000003</cx:pt>
          <cx:pt idx="2601">5.1279999999999903</cx:pt>
          <cx:pt idx="2602">2.9614199999999999</cx:pt>
          <cx:pt idx="2603">5.2561999999999998</cx:pt>
          <cx:pt idx="2604">5.89949999999999</cx:pt>
          <cx:pt idx="2605">7.9767999999999892</cx:pt>
          <cx:pt idx="2606">7.8415999999999997</cx:pt>
          <cx:pt idx="2607">6.6860999999999908</cx:pt>
          <cx:pt idx="2608">6.3059099999999892</cx:pt>
          <cx:pt idx="2609">12.474959999999999</cx:pt>
          <cx:pt idx="2610">11.4696</cx:pt>
          <cx:pt idx="2611">13.109999999999999</cx:pt>
          <cx:pt idx="2612">10.139699999999999</cx:pt>
          <cx:pt idx="2613">10.5564</cx:pt>
          <cx:pt idx="2614">5.7815099999999902</cx:pt>
          <cx:pt idx="2615">5.63729999999999</cx:pt>
          <cx:pt idx="2616">10.278600000000001</cx:pt>
          <cx:pt idx="2617">6.0437099999999999</cx:pt>
          <cx:pt idx="2618">5.6504099999999999</cx:pt>
          <cx:pt idx="2619">3.4742199999999896</cx:pt>
          <cx:pt idx="2620">9.8619000000000003</cx:pt>
          <cx:pt idx="2621">12.61656</cx:pt>
          <cx:pt idx="2622">38.450969999999998</cx:pt>
          <cx:pt idx="2623">8.7880000000000003</cx:pt>
          <cx:pt idx="2624">39.230199999999897</cx:pt>
          <cx:pt idx="2625">8.1120000000000001</cx:pt>
          <cx:pt idx="2626">7.9767999999999892</cx:pt>
          <cx:pt idx="2627">3.6280600000000196</cx:pt>
          <cx:pt idx="2628">4.1023999999999994</cx:pt>
          <cx:pt idx="2629">10.278600000000001</cx:pt>
          <cx:pt idx="2630">18.302199999999999</cx:pt>
          <cx:pt idx="2631">7.3008000000000006</cx:pt>
          <cx:pt idx="2632">14.1708</cx:pt>
          <cx:pt idx="2633">4.8715999999999999</cx:pt>
          <cx:pt idx="2634">35.737099999999998</cx:pt>
          <cx:pt idx="2635">47.586769999999902</cx:pt>
          <cx:pt idx="2636">17.24098</cx:pt>
          <cx:pt idx="2637">15.06428</cx:pt>
          <cx:pt idx="2638">11.328000000000001</cx:pt>
          <cx:pt idx="2639">10.0008</cx:pt>
          <cx:pt idx="2640">17.2256</cx:pt>
          <cx:pt idx="2641">7.9767999999999892</cx:pt>
          <cx:pt idx="2642">6.8171999999999997</cx:pt>
          <cx:pt idx="2643">10.4175</cx:pt>
          <cx:pt idx="2644">17.0718</cx:pt>
          <cx:pt idx="2645">6.0437099999999999</cx:pt>
          <cx:pt idx="2646">6.3059099999999892</cx:pt>
          <cx:pt idx="2647">10.5564</cx:pt>
          <cx:pt idx="2648">5.2561999999999998</cx:pt>
          <cx:pt idx="2649">5.89949999999999</cx:pt>
          <cx:pt idx="2650">13.736999999999998</cx:pt>
          <cx:pt idx="2651">12.036</cx:pt>
          <cx:pt idx="2652">17.3794</cx:pt>
          <cx:pt idx="2653">8.3959200000000003</cx:pt>
          <cx:pt idx="2654">6.03059999999999</cx:pt>
          <cx:pt idx="2655">3.5895999999999999</cx:pt>
          <cx:pt idx="2656">8.2472000000000012</cx:pt>
          <cx:pt idx="2657">39.498899999999999</cx:pt>
          <cx:pt idx="2658">34.662300000000002</cx:pt>
          <cx:pt idx="2659">5.7683999999999997</cx:pt>
          <cx:pt idx="2660">6.8171999999999997</cx:pt>
          <cx:pt idx="2661">3.9741999999999997</cx:pt>
          <cx:pt idx="2662">13.881599999999999</cx:pt>
          <cx:pt idx="2663">4.9998000000000005</cx:pt>
          <cx:pt idx="2664">11.611199999999899</cx:pt>
          <cx:pt idx="2665">8.2742400000000202</cx:pt>
          <cx:pt idx="2666">16.764200000000002</cx:pt>
          <cx:pt idx="2667">11.328000000000001</cx:pt>
          <cx:pt idx="2668">5.89949999999999</cx:pt>
          <cx:pt idx="2669">6.5549999999999997</cx:pt>
          <cx:pt idx="2670">3.4742199999999896</cx:pt>
          <cx:pt idx="2671">11.894399999999999</cx:pt>
          <cx:pt idx="2672">6.5549999999999997</cx:pt>
          <cx:pt idx="2673">12.177599999999899</cx:pt>
          <cx:pt idx="2674">8.1255199999999999</cx:pt>
          <cx:pt idx="2675">3.9741999999999997</cx:pt>
          <cx:pt idx="2676">15.476999999999999</cx:pt>
          <cx:pt idx="2677">5.0126199999999894</cx:pt>
          <cx:pt idx="2678">5.1279999999999903</cx:pt>
          <cx:pt idx="2679">11.894399999999999</cx:pt>
          <cx:pt idx="2680">5.1279999999999903</cx:pt>
          <cx:pt idx="2681">52.396500000000003</cx:pt>
          <cx:pt idx="2682">10.278600000000001</cx:pt>
          <cx:pt idx="2683">7.8415999999999997</cx:pt>
          <cx:pt idx="2684">13.881599999999999</cx:pt>
          <cx:pt idx="2685">6.03059999999999</cx:pt>
          <cx:pt idx="2686">11.328000000000001</cx:pt>
          <cx:pt idx="2687">43.529399999999903</cx:pt>
          <cx:pt idx="2688">5.2561999999999998</cx:pt>
          <cx:pt idx="2689">19.071199999999997</cx:pt>
          <cx:pt idx="2690">6.6860999999999908</cx:pt>
          <cx:pt idx="2691">9.8619000000000003</cx:pt>
          <cx:pt idx="2692">10.01469</cx:pt>
          <cx:pt idx="2693">19.532599999999999</cx:pt>
          <cx:pt idx="2694">8.2472000000000012</cx:pt>
          <cx:pt idx="2695">9.5840999999999994</cx:pt>
          <cx:pt idx="2696">4.3588000000000005</cx:pt>
          <cx:pt idx="2697">6.4239000000000006</cx:pt>
          <cx:pt idx="2698">2.5639999999999898</cx:pt>
          <cx:pt idx="2699">7.7063999999999995</cx:pt>
          <cx:pt idx="2700">19.701779999999999</cx:pt>
          <cx:pt idx="2701">7.7063999999999995</cx:pt>
          <cx:pt idx="2702">4.8715999999999999</cx:pt>
          <cx:pt idx="2703">7.1655999999999995</cx:pt>
          <cx:pt idx="2704">6.5812200000000196</cx:pt>
          <cx:pt idx="2705">6.6860999999999908</cx:pt>
          <cx:pt idx="2706">37.080599999999905</cx:pt>
          <cx:pt idx="2707">42.750169999999898</cx:pt>
          <cx:pt idx="2708">11.752799999999999</cx:pt>
          <cx:pt idx="2709">5.2561999999999998</cx:pt>
          <cx:pt idx="2710">10.0008</cx:pt>
          <cx:pt idx="2711">6.8171999999999997</cx:pt>
          <cx:pt idx="2712">6.6860999999999908</cx:pt>
          <cx:pt idx="2713">6.3059099999999892</cx:pt>
          <cx:pt idx="2714">13.736999999999998</cx:pt>
          <cx:pt idx="2715">5.7683999999999997</cx:pt>
          <cx:pt idx="2716">7.9767999999999892</cx:pt>
          <cx:pt idx="2717">7.4359999999999999</cx:pt>
          <cx:pt idx="2718">13.447799999999999</cx:pt>
          <cx:pt idx="2719">36.811899999999895</cx:pt>
          <cx:pt idx="2720">8.2472000000000012</cx:pt>
          <cx:pt idx="2721">12.602399999999999</cx:pt>
          <cx:pt idx="2722">7.8415999999999997</cx:pt>
          <cx:pt idx="2723">5.2561999999999998</cx:pt>
          <cx:pt idx="2724">5.2561999999999998</cx:pt>
          <cx:pt idx="2725">10.0008</cx:pt>
          <cx:pt idx="2726">4.9998000000000005</cx:pt>
          <cx:pt idx="2727">12.967500000000001</cx:pt>
          <cx:pt idx="2728">6.4239000000000006</cx:pt>
          <cx:pt idx="2729">10.834199999999999</cx:pt>
          <cx:pt idx="2730">16.917999999999999</cx:pt>
          <cx:pt idx="2731">6.0437099999999999</cx:pt>
          <cx:pt idx="2732">2.3075999999999999</cx:pt>
          <cx:pt idx="2733">10.01469</cx:pt>
          <cx:pt idx="2734">3.9741999999999997</cx:pt>
          <cx:pt idx="2735">11.611199999999899</cx:pt>
          <cx:pt idx="2736">6.6860999999999908</cx:pt>
          <cx:pt idx="2737">16.764200000000002</cx:pt>
          <cx:pt idx="2738">14.0406599999999</cx:pt>
          <cx:pt idx="2739">7.0439199999999991</cx:pt>
          <cx:pt idx="2740">6.8171999999999997</cx:pt>
          <cx:pt idx="2741">6.8171999999999997</cx:pt>
          <cx:pt idx="2742">3.4613999999999998</cx:pt>
          <cx:pt idx="2743">13.1242499999999</cx:pt>
          <cx:pt idx="2744">11.611199999999899</cx:pt>
          <cx:pt idx="2745">8.2472000000000012</cx:pt>
          <cx:pt idx="2746">4.7562199999999999</cx:pt>
          <cx:pt idx="2747">18.948160000000001</cx:pt>
          <cx:pt idx="2748">6.03059999999999</cx:pt>
          <cx:pt idx="2749">7.5847200000000008</cx:pt>
          <cx:pt idx="2750">8.6527999999999992</cx:pt>
          <cx:pt idx="2751">11.894399999999999</cx:pt>
          <cx:pt idx="2752">13.462259999999901</cx:pt>
          <cx:pt idx="2753">11.611199999999899</cx:pt>
          <cx:pt idx="2754">4.4870000000000001</cx:pt>
          <cx:pt idx="2755">10.4175</cx:pt>
          <cx:pt idx="2756">6.1748099999999999</cx:pt>
          <cx:pt idx="2757">3.2050000000000001</cx:pt>
          <cx:pt idx="2758">7.3008000000000006</cx:pt>
          <cx:pt idx="2759">37.080599999999905</cx:pt>
          <cx:pt idx="2760">18.302199999999999</cx:pt>
          <cx:pt idx="2761">10.139699999999999</cx:pt>
          <cx:pt idx="2762">6.8171999999999997</cx:pt>
          <cx:pt idx="2763">7.4359999999999999</cx:pt>
          <cx:pt idx="2764">11.90856</cx:pt>
          <cx:pt idx="2765">8.9232000000000014</cx:pt>
          <cx:pt idx="2766">6.3059099999999892</cx:pt>
          <cx:pt idx="2767">12.967500000000001</cx:pt>
          <cx:pt idx="2768">5.89949999999999</cx:pt>
          <cx:pt idx="2769">6.1616999999999997</cx:pt>
          <cx:pt idx="2770">13.447799999999999</cx:pt>
          <cx:pt idx="2771">19.547980000000003</cx:pt>
          <cx:pt idx="2772">18.917400000000001</cx:pt>
          <cx:pt idx="2773">17.2256</cx:pt>
          <cx:pt idx="2774">58.845299999999703</cx:pt>
          <cx:pt idx="2775">10.4175</cx:pt>
          <cx:pt idx="2776">10.278600000000001</cx:pt>
          <cx:pt idx="2777">6.4370099999999999</cx:pt>
          <cx:pt idx="2778">14.0261999999999</cx:pt>
          <cx:pt idx="2779">8.7880000000000003</cx:pt>
          <cx:pt idx="2780">3.34601999999999</cx:pt>
          <cx:pt idx="2781">4.6151999999999997</cx:pt>
          <cx:pt idx="2782">7.5712000000000002</cx:pt>
          <cx:pt idx="2783">9.7507800000000202</cx:pt>
          <cx:pt idx="2784">8.2472000000000012</cx:pt>
          <cx:pt idx="2785">12.177599999999899</cx:pt>
          <cx:pt idx="2786">10.57029</cx:pt>
          <cx:pt idx="2787">11.4696</cx:pt>
          <cx:pt idx="2788">11.328000000000001</cx:pt>
          <cx:pt idx="2789">5.6504099999999999</cx:pt>
          <cx:pt idx="2790">8.9232000000000014</cx:pt>
          <cx:pt idx="2791">14.1708</cx:pt>
          <cx:pt idx="2792">10.278600000000001</cx:pt>
          <cx:pt idx="2793">6.6860999999999908</cx:pt>
          <cx:pt idx="2794">52.960769999999904</cx:pt>
          <cx:pt idx="2795">5.89949999999999</cx:pt>
          <cx:pt idx="2796">5.89949999999999</cx:pt>
          <cx:pt idx="2797">13.447799999999999</cx:pt>
          <cx:pt idx="2798">14.74</cx:pt>
          <cx:pt idx="2799">6.1616999999999997</cx:pt>
          <cx:pt idx="2800">9.0583999999999989</cx:pt>
          <cx:pt idx="2801">19.378799999999998</cx:pt>
          <cx:pt idx="2802">12.177599999999899</cx:pt>
          <cx:pt idx="2803">4.6151999999999997</cx:pt>
          <cx:pt idx="2804">5.6504099999999999</cx:pt>
          <cx:pt idx="2805">19.086580000000001</cx:pt>
          <cx:pt idx="2806">8.2472000000000012</cx:pt>
          <cx:pt idx="2807">10.139699999999999</cx:pt>
          <cx:pt idx="2808">4.9998000000000005</cx:pt>
          <cx:pt idx="2809">12.177599999999899</cx:pt>
          <cx:pt idx="2810">4.6151999999999997</cx:pt>
          <cx:pt idx="2811">11.894399999999999</cx:pt>
          <cx:pt idx="2812">6.03059999999999</cx:pt>
          <cx:pt idx="2813">7.4359999999999999</cx:pt>
          <cx:pt idx="2814">2.0640200000000002</cx:pt>
          <cx:pt idx="2815">13.109999999999999</cx:pt>
          <cx:pt idx="2816">13.5924</cx:pt>
          <cx:pt idx="2817">12.967500000000001</cx:pt>
          <cx:pt idx="2818">5.2561999999999998</cx:pt>
          <cx:pt idx="2819">17.994599999999998</cx:pt>
          <cx:pt idx="2820">10.139699999999999</cx:pt>
          <cx:pt idx="2821">10.5564</cx:pt>
          <cx:pt idx="2822">10.6952999999999</cx:pt>
          <cx:pt idx="2823">12.036</cx:pt>
          <cx:pt idx="2824">7.5712000000000002</cx:pt>
          <cx:pt idx="2825">12.61656</cx:pt>
          <cx:pt idx="2826">14.607339999999899</cx:pt>
          <cx:pt idx="2827">17.08718</cx:pt>
          <cx:pt idx="2828">11.328000000000001</cx:pt>
          <cx:pt idx="2829">12.98175</cx:pt>
          <cx:pt idx="2830">6.4239000000000006</cx:pt>
          <cx:pt idx="2831">17.687000000000001</cx:pt>
          <cx:pt idx="2832">10.973099999999999</cx:pt>
          <cx:pt idx="2833">15.034799999999901</cx:pt>
          <cx:pt idx="2834">14.1708</cx:pt>
          <cx:pt idx="2835">4.4998199999999899</cx:pt>
          <cx:pt idx="2836">6.6860999999999908</cx:pt>
          <cx:pt idx="2837">10.5564</cx:pt>
          <cx:pt idx="2838">8.1120000000000001</cx:pt>
          <cx:pt idx="2839">11.766959999999999</cx:pt>
          <cx:pt idx="2840">36.274499999999996</cx:pt>
          <cx:pt idx="2841">10.4175</cx:pt>
          <cx:pt idx="2842">12.319199999999899</cx:pt>
          <cx:pt idx="2843">7.8415999999999997</cx:pt>
          <cx:pt idx="2844">6.6992099999999999</cx:pt>
          <cx:pt idx="2845">17.24098</cx:pt>
          <cx:pt idx="2846">5.7683999999999997</cx:pt>
          <cx:pt idx="2847">41.917200000000001</cx:pt>
          <cx:pt idx="2848">14.74</cx:pt>
          <cx:pt idx="2849">19.686400000000003</cx:pt>
          <cx:pt idx="2850">7.4495199999999997</cx:pt>
          <cx:pt idx="2851">7.0439199999999991</cx:pt>
          <cx:pt idx="2852">8.5175999999999998</cx:pt>
          <cx:pt idx="2853">11.894399999999999</cx:pt>
          <cx:pt idx="2854">7.3008000000000006</cx:pt>
          <cx:pt idx="2855">6.4239000000000006</cx:pt>
          <cx:pt idx="2856">6.1748099999999999</cx:pt>
          <cx:pt idx="2857">18.4713799999999</cx:pt>
          <cx:pt idx="2858">12.177599999999899</cx:pt>
          <cx:pt idx="2859">8.1120000000000001</cx:pt>
          <cx:pt idx="2860">10.278600000000001</cx:pt>
          <cx:pt idx="2861">8.9232000000000014</cx:pt>
          <cx:pt idx="2862">7.3143200000000004</cx:pt>
          <cx:pt idx="2863">13.896059999999999</cx:pt>
          <cx:pt idx="2864">9.4451999999999998</cx:pt>
          <cx:pt idx="2865">4.4870000000000001</cx:pt>
          <cx:pt idx="2866">6.4239000000000006</cx:pt>
          <cx:pt idx="2867">54.2774</cx:pt>
          <cx:pt idx="2868">5.63729999999999</cx:pt>
          <cx:pt idx="2869">12.825000000000001</cx:pt>
          <cx:pt idx="2870">8.2472000000000012</cx:pt>
          <cx:pt idx="2871">7.4359999999999999</cx:pt>
          <cx:pt idx="2872">6.1748099999999999</cx:pt>
          <cx:pt idx="2873">4.4870000000000001</cx:pt>
          <cx:pt idx="2874">37.886699999999998</cx:pt>
          <cx:pt idx="2875">8.1120000000000001</cx:pt>
          <cx:pt idx="2876">8.1120000000000001</cx:pt>
          <cx:pt idx="2877">11.611199999999899</cx:pt>
          <cx:pt idx="2878">6.2927999999999997</cx:pt>
          <cx:pt idx="2879">7.4495199999999997</cx:pt>
          <cx:pt idx="2880">16.779579999999999</cx:pt>
          <cx:pt idx="2881">5.0126199999999894</cx:pt>
          <cx:pt idx="2882">6.1748099999999999</cx:pt>
          <cx:pt idx="2883">9.5840999999999994</cx:pt>
          <cx:pt idx="2884">5.5061999999999998</cx:pt>
          <cx:pt idx="2885">12.3333599999999</cx:pt>
          <cx:pt idx="2886">10.986989999999899</cx:pt>
          <cx:pt idx="2887">18.6098</cx:pt>
          <cx:pt idx="2888">6.03059999999999</cx:pt>
          <cx:pt idx="2889">3.9741999999999997</cx:pt>
          <cx:pt idx="2890">6.5549999999999997</cx:pt>
          <cx:pt idx="2891">18.4713799999999</cx:pt>
          <cx:pt idx="2892">10.278600000000001</cx:pt>
          <cx:pt idx="2893">10.4175</cx:pt>
          <cx:pt idx="2894">6.1748099999999999</cx:pt>
          <cx:pt idx="2895">11.752799999999999</cx:pt>
          <cx:pt idx="2896">6.8171999999999997</cx:pt>
          <cx:pt idx="2897">4.3716200000000001</cx:pt>
          <cx:pt idx="2898">4.9998000000000005</cx:pt>
          <cx:pt idx="2899">7.9767999999999892</cx:pt>
          <cx:pt idx="2900">7.3008000000000006</cx:pt>
          <cx:pt idx="2901">15.476999999999999</cx:pt>
          <cx:pt idx="2902">5.1279999999999903</cx:pt>
          <cx:pt idx="2903">10.973099999999999</cx:pt>
          <cx:pt idx="2904">10.4175</cx:pt>
          <cx:pt idx="2905">12.460799999999999</cx:pt>
          <cx:pt idx="2906">9.8619000000000003</cx:pt>
          <cx:pt idx="2907">8.3823999999999987</cx:pt>
          <cx:pt idx="2908">10.834199999999999</cx:pt>
          <cx:pt idx="2909">17.533199999999997</cx:pt>
          <cx:pt idx="2910">19.701779999999999</cx:pt>
          <cx:pt idx="2911">43.556270000000005</cx:pt>
          <cx:pt idx="2912">2.1922199999999998</cx:pt>
          <cx:pt idx="2913">6.6860999999999908</cx:pt>
          <cx:pt idx="2914">9.722999999999999</cx:pt>
          <cx:pt idx="2915">12.036</cx:pt>
          <cx:pt idx="2916">8.5175999999999998</cx:pt>
          <cx:pt idx="2917">4.3588000000000005</cx:pt>
          <cx:pt idx="2918">9.5840999999999994</cx:pt>
          <cx:pt idx="2919">5.63729999999999</cx:pt>
          <cx:pt idx="2920">2.4358</cx:pt>
          <cx:pt idx="2921">11.752799999999999</cx:pt>
          <cx:pt idx="2922">40.036300000000004</cx:pt>
          <cx:pt idx="2923">4.9998000000000005</cx:pt>
          <cx:pt idx="2924">8.7880000000000003</cx:pt>
          <cx:pt idx="2925">34.662300000000002</cx:pt>
          <cx:pt idx="2926">55.647769999999994</cx:pt>
          <cx:pt idx="2927">17.687000000000001</cx:pt>
          <cx:pt idx="2928">6.4239000000000006</cx:pt>
          <cx:pt idx="2929">5.63729999999999</cx:pt>
          <cx:pt idx="2930">6.8171999999999997</cx:pt>
          <cx:pt idx="2931">11.752799999999999</cx:pt>
          <cx:pt idx="2932">18.3175799999999</cx:pt>
          <cx:pt idx="2933">10.973099999999999</cx:pt>
          <cx:pt idx="2934">12.036</cx:pt>
          <cx:pt idx="2935">34.95787</cx:pt>
          <cx:pt idx="2936">7.4359999999999999</cx:pt>
          <cx:pt idx="2937">11.4696</cx:pt>
          <cx:pt idx="2938">8.2472000000000012</cx:pt>
          <cx:pt idx="2939">40.600570000000005</cx:pt>
          <cx:pt idx="2940">6.3059099999999892</cx:pt>
          <cx:pt idx="2941">5.89949999999999</cx:pt>
          <cx:pt idx="2942">17.24098</cx:pt>
          <cx:pt idx="2943">9.8619000000000003</cx:pt>
          <cx:pt idx="2944">10.278600000000001</cx:pt>
          <cx:pt idx="2945">45.947700000000005</cx:pt>
          <cx:pt idx="2946">5.5193099999999999</cx:pt>
          <cx:pt idx="2947">11.611199999999899</cx:pt>
          <cx:pt idx="2948">6.3059099999999892</cx:pt>
          <cx:pt idx="2949">5.1279999999999903</cx:pt>
          <cx:pt idx="2950">2.6922000000000001</cx:pt>
          <cx:pt idx="2951">9.3201899999999895</cx:pt>
          <cx:pt idx="2952">11.4696</cx:pt>
          <cx:pt idx="2953">2.9485999999999999</cx:pt>
          <cx:pt idx="2954">11.611199999999899</cx:pt>
          <cx:pt idx="2955">34.930999999999997</cx:pt>
          <cx:pt idx="2956">9.722999999999999</cx:pt>
          <cx:pt idx="2957">2.0640200000000002</cx:pt>
          <cx:pt idx="2958">11.752799999999999</cx:pt>
          <cx:pt idx="2959">10.973099999999999</cx:pt>
          <cx:pt idx="2960">6.6860999999999908</cx:pt>
          <cx:pt idx="2961">5.7683999999999997</cx:pt>
          <cx:pt idx="2962">10.278600000000001</cx:pt>
          <cx:pt idx="2963">13.5924</cx:pt>
          <cx:pt idx="2964">17.840799999999902</cx:pt>
          <cx:pt idx="2965">34.930999999999997</cx:pt>
          <cx:pt idx="2966">6.2927999999999997</cx:pt>
          <cx:pt idx="2967">5.5061999999999998</cx:pt>
          <cx:pt idx="2968">11.894399999999999</cx:pt>
          <cx:pt idx="2969">10.278600000000001</cx:pt>
          <cx:pt idx="2970">12.036</cx:pt>
          <cx:pt idx="2971">42.185899999999997</cx:pt>
          <cx:pt idx="2972">9.722999999999999</cx:pt>
          <cx:pt idx="2973">17.702379999999902</cx:pt>
          <cx:pt idx="2974">3.5895999999999999</cx:pt>
          <cx:pt idx="2975">12.61656</cx:pt>
          <cx:pt idx="2976">9.8619000000000003</cx:pt>
          <cx:pt idx="2977">10.139699999999999</cx:pt>
          <cx:pt idx="2978">3.9741999999999997</cx:pt>
          <cx:pt idx="2979">8.3823999999999987</cx:pt>
          <cx:pt idx="2980">6.6860999999999908</cx:pt>
          <cx:pt idx="2981">7.8551199999999906</cx:pt>
          <cx:pt idx="2982">48.366</cx:pt>
          <cx:pt idx="2983">8.80152</cx:pt>
          <cx:pt idx="2984">14.0406599999999</cx:pt>
          <cx:pt idx="2985">6.4239000000000006</cx:pt>
          <cx:pt idx="2986">6.2927999999999997</cx:pt>
          <cx:pt idx="2987">37.080599999999905</cx:pt>
          <cx:pt idx="2988">18.148399999999899</cx:pt>
          <cx:pt idx="2989">39.230199999999897</cx:pt>
          <cx:pt idx="2990">14.8873999999999</cx:pt>
          <cx:pt idx="2991">8.3823999999999987</cx:pt>
          <cx:pt idx="2992">6.03059999999999</cx:pt>
          <cx:pt idx="2993">37.3492999999999</cx:pt>
          <cx:pt idx="2994">10.292490000000001</cx:pt>
          <cx:pt idx="2995">7.7063999999999995</cx:pt>
          <cx:pt idx="2996">17.840799999999902</cx:pt>
          <cx:pt idx="2997">2.3075999999999999</cx:pt>
          <cx:pt idx="2998">17.687000000000001</cx:pt>
          <cx:pt idx="2999">18.7636</cx:pt>
          <cx:pt idx="3000">15.476999999999999</cx:pt>
          <cx:pt idx="3001">8.9232000000000014</cx:pt>
          <cx:pt idx="3002">35.1997</cx:pt>
          <cx:pt idx="3003">7.1655999999999995</cx:pt>
          <cx:pt idx="3004">8.3823999999999987</cx:pt>
          <cx:pt idx="3005">13.5924</cx:pt>
          <cx:pt idx="3006">8.1120000000000001</cx:pt>
          <cx:pt idx="3007">6.5549999999999997</cx:pt>
          <cx:pt idx="3008">15.476999999999999</cx:pt>
          <cx:pt idx="3009">11.894399999999999</cx:pt>
          <cx:pt idx="3010">14.607339999999999</cx:pt>
          <cx:pt idx="3011">10.4175</cx:pt>
          <cx:pt idx="3012">10.973099999999999</cx:pt>
          <cx:pt idx="3013">16.764200000000002</cx:pt>
          <cx:pt idx="3014">9.8619000000000003</cx:pt>
          <cx:pt idx="3015">10.6952999999999</cx:pt>
          <cx:pt idx="3016">15.476999999999999</cx:pt>
          <cx:pt idx="3017">8.3823999999999987</cx:pt>
          <cx:pt idx="3018">36.811899999999895</cx:pt>
          <cx:pt idx="3019">11.894399999999999</cx:pt>
          <cx:pt idx="3020">47.291199999999698</cx:pt>
          <cx:pt idx="3021">7.8415999999999997</cx:pt>
          <cx:pt idx="3022">6.1748099999999999</cx:pt>
          <cx:pt idx="3023">8.2472000000000012</cx:pt>
          <cx:pt idx="3024">8.7880000000000003</cx:pt>
          <cx:pt idx="3025">6.03059999999999</cx:pt>
          <cx:pt idx="3026">6.4239000000000006</cx:pt>
          <cx:pt idx="3027">7.7063999999999995</cx:pt>
          <cx:pt idx="3028">9.5840999999999994</cx:pt>
          <cx:pt idx="3029">4.3588000000000005</cx:pt>
          <cx:pt idx="3030">9.5840999999999994</cx:pt>
          <cx:pt idx="3031">8.6527999999999992</cx:pt>
          <cx:pt idx="3032">7.1655999999999995</cx:pt>
          <cx:pt idx="3033">12.602399999999999</cx:pt>
          <cx:pt idx="3034">8.5175999999999998</cx:pt>
          <cx:pt idx="3035">41.648499999999999</cx:pt>
          <cx:pt idx="3036">38.692799999999998</cx:pt>
          <cx:pt idx="3037">5.89949999999999</cx:pt>
          <cx:pt idx="3038">5.63729999999999</cx:pt>
          <cx:pt idx="3039">2.1922199999999998</cx:pt>
          <cx:pt idx="3040">11.328000000000001</cx:pt>
          <cx:pt idx="3041">2.4358</cx:pt>
          <cx:pt idx="3042">5.5061999999999998</cx:pt>
          <cx:pt idx="3043">5.2690199999999905</cx:pt>
          <cx:pt idx="3044">12.460799999999999</cx:pt>
          <cx:pt idx="3045">12.319199999999899</cx:pt>
          <cx:pt idx="3046">8.1120000000000001</cx:pt>
          <cx:pt idx="3047">7.7199199999999992</cx:pt>
          <cx:pt idx="3048">13.447799999999999</cx:pt>
          <cx:pt idx="3049">16.917999999999999</cx:pt>
          <cx:pt idx="3050">6.4239000000000006</cx:pt>
          <cx:pt idx="3051">12.48912</cx:pt>
          <cx:pt idx="3052">10.986989999999899</cx:pt>
          <cx:pt idx="3053">11.611199999999899</cx:pt>
          <cx:pt idx="3054">14.74</cx:pt>
          <cx:pt idx="3055">6.03059999999999</cx:pt>
          <cx:pt idx="3056">10.7091899999999</cx:pt>
          <cx:pt idx="3057">8.1120000000000001</cx:pt>
          <cx:pt idx="3058">15.329599999999999</cx:pt>
          <cx:pt idx="3059">10.139699999999999</cx:pt>
          <cx:pt idx="3060">6.2927999999999997</cx:pt>
          <cx:pt idx="3061">5.63729999999999</cx:pt>
          <cx:pt idx="3062">18.148399999999899</cx:pt>
          <cx:pt idx="3063">41.379800000000003</cx:pt>
          <cx:pt idx="3064">5.1279999999999903</cx:pt>
          <cx:pt idx="3065">17.0718</cx:pt>
          <cx:pt idx="3066">7.8415999999999997</cx:pt>
          <cx:pt idx="3067">6.03059999999999</cx:pt>
          <cx:pt idx="3068">7.7063999999999995</cx:pt>
          <cx:pt idx="3069">17.548580000000001</cx:pt>
          <cx:pt idx="3070">13.447799999999999</cx:pt>
          <cx:pt idx="3071">10.6952999999999</cx:pt>
          <cx:pt idx="3072">48.124169999999999</cx:pt>
          <cx:pt idx="3073">6.5549999999999997</cx:pt>
          <cx:pt idx="3074">7.1655999999999995</cx:pt>
          <cx:pt idx="3075">4.7433999999999994</cx:pt>
          <cx:pt idx="3076">3.3332000000000002</cx:pt>
          <cx:pt idx="3077">5.7683999999999997</cx:pt>
          <cx:pt idx="3078">6.5549999999999997</cx:pt>
          <cx:pt idx="3079">9.5979900000000011</cx:pt>
          <cx:pt idx="3080">8.3823999999999987</cx:pt>
          <cx:pt idx="3081">9.4590899999999998</cx:pt>
          <cx:pt idx="3082">17.687000000000001</cx:pt>
          <cx:pt idx="3083">10.834199999999999</cx:pt>
          <cx:pt idx="3084">5.63729999999999</cx:pt>
          <cx:pt idx="3085">5.63729999999999</cx:pt>
          <cx:pt idx="3086">40.86927</cx:pt>
          <cx:pt idx="3087">18.917400000000001</cx:pt>
          <cx:pt idx="3088">4.4998199999999899</cx:pt>
          <cx:pt idx="3089">18.456</cx:pt>
          <cx:pt idx="3090">7.1655999999999995</cx:pt>
          <cx:pt idx="3091">6.6860999999999908</cx:pt>
          <cx:pt idx="3092">10.5564</cx:pt>
          <cx:pt idx="3093">38.961499999999901</cx:pt>
          <cx:pt idx="3094">18.456</cx:pt>
          <cx:pt idx="3095">8.2472000000000012</cx:pt>
          <cx:pt idx="3096">14.0261999999999</cx:pt>
          <cx:pt idx="3097">5.8077300000000198</cx:pt>
          <cx:pt idx="3098">43.556270000000005</cx:pt>
          <cx:pt idx="3099">8.7880000000000003</cx:pt>
          <cx:pt idx="3100">62.096569999999993</cx:pt>
          <cx:pt idx="3101">10.278600000000001</cx:pt>
          <cx:pt idx="3102">10.5564</cx:pt>
          <cx:pt idx="3103">9.722999999999999</cx:pt>
          <cx:pt idx="3104">13.47672</cx:pt>
          <cx:pt idx="3105">5.89949999999999</cx:pt>
          <cx:pt idx="3106">11.752799999999999</cx:pt>
          <cx:pt idx="3107">2.6922000000000001</cx:pt>
          <cx:pt idx="3108">5.89949999999999</cx:pt>
          <cx:pt idx="3109">5.5193099999999999</cx:pt>
          <cx:pt idx="3110">10.973099999999999</cx:pt>
          <cx:pt idx="3111">13.881599999999999</cx:pt>
          <cx:pt idx="3112">10.834199999999999</cx:pt>
          <cx:pt idx="3113">5.63729999999999</cx:pt>
          <cx:pt idx="3114">3.8460000000000001</cx:pt>
          <cx:pt idx="3115">16.764200000000002</cx:pt>
          <cx:pt idx="3116">7.9767999999999892</cx:pt>
          <cx:pt idx="3117">10.4175</cx:pt>
          <cx:pt idx="3118">8.1120000000000001</cx:pt>
          <cx:pt idx="3119">18.148399999999899</cx:pt>
          <cx:pt idx="3120">3.9741999999999997</cx:pt>
          <cx:pt idx="3121">7.1655999999999995</cx:pt>
          <cx:pt idx="3122">4.9998000000000005</cx:pt>
          <cx:pt idx="3123">6.2927999999999997</cx:pt>
          <cx:pt idx="3124">40.331869999999995</cx:pt>
          <cx:pt idx="3125">13.109999999999999</cx:pt>
          <cx:pt idx="3126">11.894399999999999</cx:pt>
          <cx:pt idx="3127">6.1748099999999999</cx:pt>
          <cx:pt idx="3128">7.9767999999999892</cx:pt>
          <cx:pt idx="3129">11.34216</cx:pt>
          <cx:pt idx="3130">10.139699999999999</cx:pt>
          <cx:pt idx="3131">6.1748099999999999</cx:pt>
          <cx:pt idx="3132">8.5311199999999907</cx:pt>
          <cx:pt idx="3133">5.63729999999999</cx:pt>
          <cx:pt idx="3134">7.9767999999999892</cx:pt>
          <cx:pt idx="3135">9.5840999999999994</cx:pt>
          <cx:pt idx="3136">12.177599999999899</cx:pt>
          <cx:pt idx="3137">6.1616999999999997</cx:pt>
          <cx:pt idx="3138">12.967500000000001</cx:pt>
          <cx:pt idx="3139">12.319199999999899</cx:pt>
          <cx:pt idx="3140">7.3008000000000006</cx:pt>
          <cx:pt idx="3141">8.2472000000000012</cx:pt>
          <cx:pt idx="3142">18.7636</cx:pt>
          <cx:pt idx="3143">10.57029</cx:pt>
          <cx:pt idx="3144">6.2927999999999997</cx:pt>
          <cx:pt idx="3145">7.4359999999999999</cx:pt>
          <cx:pt idx="3146">4.8844199999999995</cx:pt>
          <cx:pt idx="3147">5.6504099999999999</cx:pt>
          <cx:pt idx="3148">5.2561999999999998</cx:pt>
          <cx:pt idx="3149">11.328000000000001</cx:pt>
          <cx:pt idx="3150">17.2256</cx:pt>
          <cx:pt idx="3151">5.63729999999999</cx:pt>
          <cx:pt idx="3152">10.431389999999901</cx:pt>
          <cx:pt idx="3153">6.03059999999999</cx:pt>
          <cx:pt idx="3154">7.0439199999999991</cx:pt>
          <cx:pt idx="3155">17.0718</cx:pt>
          <cx:pt idx="3156">10.986989999999899</cx:pt>
          <cx:pt idx="3157">5.63729999999999</cx:pt>
          <cx:pt idx="3158">8.3823999999999987</cx:pt>
          <cx:pt idx="3159">4.7433999999999994</cx:pt>
          <cx:pt idx="3160">17.840799999999902</cx:pt>
          <cx:pt idx="3161">6.03059999999999</cx:pt>
          <cx:pt idx="3162">6.6860999999999908</cx:pt>
          <cx:pt idx="3163">5.1279999999999903</cx:pt>
          <cx:pt idx="3164">4.3588000000000005</cx:pt>
          <cx:pt idx="3165">11.35632</cx:pt>
          <cx:pt idx="3166">19.378799999999998</cx:pt>
          <cx:pt idx="3167">41.433540000000001</cx:pt>
          <cx:pt idx="3168">4.1023999999999994</cx:pt>
          <cx:pt idx="3169">8.7880000000000003</cx:pt>
          <cx:pt idx="3170">6.6860999999999908</cx:pt>
          <cx:pt idx="3171">7.8415999999999997</cx:pt>
          <cx:pt idx="3172">9.722999999999999</cx:pt>
          <cx:pt idx="3173">7.1655999999999995</cx:pt>
          <cx:pt idx="3174">9.8619000000000003</cx:pt>
          <cx:pt idx="3175">15.06428</cx:pt>
          <cx:pt idx="3176">11.4696</cx:pt>
          <cx:pt idx="3177">14.3154</cx:pt>
          <cx:pt idx="3178">13.5924</cx:pt>
          <cx:pt idx="3179">50.784299999999703</cx:pt>
          <cx:pt idx="3180">7.7063999999999995</cx:pt>
          <cx:pt idx="3181">6.6860999999999908</cx:pt>
          <cx:pt idx="3182">7.5847200000000008</cx:pt>
          <cx:pt idx="3183">5.89949999999999</cx:pt>
          <cx:pt idx="3184">10.834199999999999</cx:pt>
          <cx:pt idx="3185">7.8415999999999997</cx:pt>
          <cx:pt idx="3186">13.881599999999999</cx:pt>
          <cx:pt idx="3187">3.4613999999999998</cx:pt>
          <cx:pt idx="3188">5.5061999999999998</cx:pt>
          <cx:pt idx="3189">3.7178000000000004</cx:pt>
          <cx:pt idx="3190">12.602399999999999</cx:pt>
          <cx:pt idx="3191">11.328000000000001</cx:pt>
          <cx:pt idx="3192">7.4359999999999999</cx:pt>
          <cx:pt idx="3193">5.1279999999999903</cx:pt>
          <cx:pt idx="3194">7.4359999999999999</cx:pt>
          <cx:pt idx="3195">18.6098</cx:pt>
          <cx:pt idx="3196">3.34601999999999</cx:pt>
          <cx:pt idx="3197">4.7562199999999999</cx:pt>
          <cx:pt idx="3198">10.278600000000001</cx:pt>
          <cx:pt idx="3199">13.736999999999998</cx:pt>
          <cx:pt idx="3200">4.9998000000000005</cx:pt>
          <cx:pt idx="3201">3.4613999999999998</cx:pt>
          <cx:pt idx="3202">12.602399999999999</cx:pt>
          <cx:pt idx="3203">13.462260000000001</cx:pt>
          <cx:pt idx="3204">9.4451999999999998</cx:pt>
          <cx:pt idx="3205">5.7683999999999997</cx:pt>
          <cx:pt idx="3206">52.6651999999997</cx:pt>
          <cx:pt idx="3207">34.662300000000002</cx:pt>
          <cx:pt idx="3208">2.8332199999999998</cx:pt>
          <cx:pt idx="3209">11.328000000000001</cx:pt>
          <cx:pt idx="3210">9.4451999999999998</cx:pt>
          <cx:pt idx="3211">3.9741999999999997</cx:pt>
          <cx:pt idx="3212">7.8551199999999906</cx:pt>
          <cx:pt idx="3213">6.6860999999999908</cx:pt>
          <cx:pt idx="3214">4.8715999999999999</cx:pt>
          <cx:pt idx="3215">5.5061999999999998</cx:pt>
          <cx:pt idx="3216">6.6860999999999908</cx:pt>
          <cx:pt idx="3217">6.8171999999999997</cx:pt>
          <cx:pt idx="3218">5.2690199999999905</cx:pt>
          <cx:pt idx="3219">5.5193099999999999</cx:pt>
          <cx:pt idx="3220">4.3588000000000005</cx:pt>
          <cx:pt idx="3221">4.9998000000000005</cx:pt>
          <cx:pt idx="3222">8.5311199999999907</cx:pt>
          <cx:pt idx="3223">18.302199999999999</cx:pt>
          <cx:pt idx="3224">44.604199999999999</cx:pt>
          <cx:pt idx="3225">2.3204199999999999</cx:pt>
          <cx:pt idx="3226">7.8415999999999997</cx:pt>
          <cx:pt idx="3227">36.570070000000001</cx:pt>
          <cx:pt idx="3228">40.842399999999998</cx:pt>
          <cx:pt idx="3229">7.5712000000000002</cx:pt>
          <cx:pt idx="3230">8.2472000000000012</cx:pt>
          <cx:pt idx="3231">9.0583999999999989</cx:pt>
          <cx:pt idx="3232">7.7063999999999995</cx:pt>
          <cx:pt idx="3233">9.4451999999999998</cx:pt>
          <cx:pt idx="3234">9.8619000000000003</cx:pt>
          <cx:pt idx="3235">17.994599999999998</cx:pt>
          <cx:pt idx="3236">7.1655999999999995</cx:pt>
          <cx:pt idx="3237">15.771799999999999</cx:pt>
          <cx:pt idx="3238">17.3794</cx:pt>
          <cx:pt idx="3239">14.902139999999999</cx:pt>
          <cx:pt idx="3240">12.825000000000001</cx:pt>
          <cx:pt idx="3241">14.74</cx:pt>
          <cx:pt idx="3242">5.7683999999999997</cx:pt>
          <cx:pt idx="3243">6.6860999999999908</cx:pt>
          <cx:pt idx="3244">11.752799999999999</cx:pt>
          <cx:pt idx="3245">2.4358</cx:pt>
          <cx:pt idx="3246">3.8460000000000001</cx:pt>
          <cx:pt idx="3247">38.424100000000003</cx:pt>
          <cx:pt idx="3248">2.0640200000000002</cx:pt>
          <cx:pt idx="3249">11.752799999999999</cx:pt>
          <cx:pt idx="3250">18.6098</cx:pt>
          <cx:pt idx="3251">12.602399999999999</cx:pt>
          <cx:pt idx="3252">9.722999999999999</cx:pt>
          <cx:pt idx="3253">6.03059999999999</cx:pt>
          <cx:pt idx="3254">4.2305999999999999</cx:pt>
          <cx:pt idx="3255">17.687000000000001</cx:pt>
          <cx:pt idx="3256">3.5895999999999999</cx:pt>
          <cx:pt idx="3257">12.602399999999999</cx:pt>
          <cx:pt idx="3258">5.7683999999999997</cx:pt>
          <cx:pt idx="3259">7.8551199999999906</cx:pt>
          <cx:pt idx="3260">13.736999999999998</cx:pt>
          <cx:pt idx="3261">12.602399999999999</cx:pt>
          <cx:pt idx="3262">9.4451999999999998</cx:pt>
          <cx:pt idx="3263">15.6244</cx:pt>
          <cx:pt idx="3264">16.93338</cx:pt>
          <cx:pt idx="3265">11.328000000000001</cx:pt>
          <cx:pt idx="3266">5.5061999999999998</cx:pt>
          <cx:pt idx="3267">11.328000000000001</cx:pt>
          <cx:pt idx="3268">7.7199199999999992</cx:pt>
          <cx:pt idx="3269">9.3340800000000197</cx:pt>
          <cx:pt idx="3270">15.344340000000001</cx:pt>
          <cx:pt idx="3271">9.0583999999999989</cx:pt>
          <cx:pt idx="3272">2.34606000000002</cx:pt>
          <cx:pt idx="3273">12.177599999999899</cx:pt>
          <cx:pt idx="3274">7.9767999999999892</cx:pt>
          <cx:pt idx="3275">5.2561999999999998</cx:pt>
          <cx:pt idx="3276">10.986989999999899</cx:pt>
          <cx:pt idx="3277">13.881599999999999</cx:pt>
          <cx:pt idx="3278">7.3008000000000006</cx:pt>
          <cx:pt idx="3279">3.7178000000000004</cx:pt>
          <cx:pt idx="3280">5.7683999999999997</cx:pt>
          <cx:pt idx="3281">7.1791200000000002</cx:pt>
          <cx:pt idx="3282">11.4696</cx:pt>
          <cx:pt idx="3283">6.5549999999999997</cx:pt>
          <cx:pt idx="3284">11.328000000000001</cx:pt>
          <cx:pt idx="3285">8.2472000000000012</cx:pt>
          <cx:pt idx="3286">4.7433999999999994</cx:pt>
          <cx:pt idx="3287">6.6860999999999908</cx:pt>
          <cx:pt idx="3288">7.0439199999999991</cx:pt>
          <cx:pt idx="3289">6.4239000000000006</cx:pt>
          <cx:pt idx="3290">9.3201899999999895</cx:pt>
          <cx:pt idx="3291">6.8171999999999997</cx:pt>
          <cx:pt idx="3292">38.424100000000003</cx:pt>
          <cx:pt idx="3293">17.687000000000001</cx:pt>
          <cx:pt idx="3294">5.6635200000000196</cx:pt>
          <cx:pt idx="3295">15.6244</cx:pt>
          <cx:pt idx="3296">3.7178000000000004</cx:pt>
          <cx:pt idx="3297">16.764200000000002</cx:pt>
          <cx:pt idx="3298">8.1120000000000001</cx:pt>
          <cx:pt idx="3299">13.447799999999999</cx:pt>
          <cx:pt idx="3300">11.894399999999999</cx:pt>
          <cx:pt idx="3301">11.611199999999899</cx:pt>
          <cx:pt idx="3302">4.6280199999999905</cx:pt>
          <cx:pt idx="3303">8.5175999999999998</cx:pt>
          <cx:pt idx="3304">36.838769999999997</cx:pt>
          <cx:pt idx="3305">12.967500000000001</cx:pt>
          <cx:pt idx="3306">10.4175</cx:pt>
          <cx:pt idx="3307">9.722999999999999</cx:pt>
          <cx:pt idx="3308">10.973099999999999</cx:pt>
          <cx:pt idx="3309">9.8757900000000003</cx:pt>
          <cx:pt idx="3310">9.8757900000000003</cx:pt>
          <cx:pt idx="3311">41.648499999999999</cx:pt>
          <cx:pt idx="3312">19.086580000000001</cx:pt>
          <cx:pt idx="3313">17.702379999999902</cx:pt>
          <cx:pt idx="3314">4.1023999999999994</cx:pt>
          <cx:pt idx="3315">9.8619000000000003</cx:pt>
          <cx:pt idx="3316">4.9998000000000005</cx:pt>
          <cx:pt idx="3317">6.5681099999999892</cx:pt>
          <cx:pt idx="3318">10.848089999999901</cx:pt>
          <cx:pt idx="3319">7.8551199999999906</cx:pt>
          <cx:pt idx="3320">5.7683999999999997</cx:pt>
          <cx:pt idx="3321">12.825000000000001</cx:pt>
          <cx:pt idx="3322">7.7063999999999995</cx:pt>
          <cx:pt idx="3323">6.2927999999999997</cx:pt>
          <cx:pt idx="3324">8.1120000000000001</cx:pt>
          <cx:pt idx="3325">12.036</cx:pt>
          <cx:pt idx="3326">6.03059999999999</cx:pt>
          <cx:pt idx="3327">3.34601999999999</cx:pt>
          <cx:pt idx="3328">19.225000000000001</cx:pt>
          <cx:pt idx="3329">8.1120000000000001</cx:pt>
          <cx:pt idx="3330">11.4696</cx:pt>
          <cx:pt idx="3331">9.5840999999999994</cx:pt>
          <cx:pt idx="3332">12.967500000000001</cx:pt>
          <cx:pt idx="3333">8.2472000000000012</cx:pt>
          <cx:pt idx="3334">8.3959200000000003</cx:pt>
          <cx:pt idx="3335">39.230199999999897</cx:pt>
          <cx:pt idx="3336">7.5712000000000002</cx:pt>
          <cx:pt idx="3337">7.7063999999999995</cx:pt>
          <cx:pt idx="3338">5.5061999999999998</cx:pt>
          <cx:pt idx="3339">8.3823999999999987</cx:pt>
          <cx:pt idx="3340">12.967500000000001</cx:pt>
          <cx:pt idx="3341">18.456</cx:pt>
          <cx:pt idx="3342">8.7880000000000003</cx:pt>
          <cx:pt idx="3343">15.786539999999999</cx:pt>
          <cx:pt idx="3344">11.752799999999999</cx:pt>
          <cx:pt idx="3345">9.8619000000000003</cx:pt>
          <cx:pt idx="3346">7.8551199999999906</cx:pt>
          <cx:pt idx="3347">13.447799999999999</cx:pt>
          <cx:pt idx="3348">13.109999999999999</cx:pt>
          <cx:pt idx="3349">13.736999999999998</cx:pt>
          <cx:pt idx="3350">10.848089999999901</cx:pt>
          <cx:pt idx="3351">4.4870000000000001</cx:pt>
          <cx:pt idx="3352">18.625179999999901</cx:pt>
          <cx:pt idx="3353">14.74</cx:pt>
          <cx:pt idx="3354">42.77704</cx:pt>
          <cx:pt idx="3355">12.602399999999999</cx:pt>
          <cx:pt idx="3356">6.1616999999999997</cx:pt>
          <cx:pt idx="3357">9.8757900000000003</cx:pt>
          <cx:pt idx="3358">11.4696</cx:pt>
          <cx:pt idx="3359">12.177599999999899</cx:pt>
          <cx:pt idx="3360">47.318069999999899</cx:pt>
          <cx:pt idx="3361">11.894399999999999</cx:pt>
          <cx:pt idx="3362">10.973099999999999</cx:pt>
          <cx:pt idx="3363">8.6527999999999992</cx:pt>
          <cx:pt idx="3364">6.5549999999999997</cx:pt>
          <cx:pt idx="3365">18.6098</cx:pt>
          <cx:pt idx="3366">6.1616999999999997</cx:pt>
          <cx:pt idx="3367">7.8551199999999906</cx:pt>
          <cx:pt idx="3368">4.8715999999999999</cx:pt>
          <cx:pt idx="3369">9.5840999999999994</cx:pt>
          <cx:pt idx="3370">7.4359999999999999</cx:pt>
          <cx:pt idx="3371">7.8415999999999997</cx:pt>
          <cx:pt idx="3372">6.03059999999999</cx:pt>
          <cx:pt idx="3373">19.686400000000003</cx:pt>
          <cx:pt idx="3374">10.278600000000001</cx:pt>
          <cx:pt idx="3375">2.9485999999999999</cx:pt>
          <cx:pt idx="3376">34.930999999999997</cx:pt>
          <cx:pt idx="3377">9.4451999999999998</cx:pt>
          <cx:pt idx="3378">5.7683999999999997</cx:pt>
          <cx:pt idx="3379">11.894399999999999</cx:pt>
          <cx:pt idx="3380">17.840799999999902</cx:pt>
          <cx:pt idx="3381">2.1794000000000002</cx:pt>
          <cx:pt idx="3382">47.586769999999902</cx:pt>
          <cx:pt idx="3383">6.03059999999999</cx:pt>
          <cx:pt idx="3384">6.5549999999999997</cx:pt>
          <cx:pt idx="3385">10.44528</cx:pt>
          <cx:pt idx="3386">11.752799999999999</cx:pt>
          <cx:pt idx="3387">3.9741999999999997</cx:pt>
          <cx:pt idx="3388">15.04954</cx:pt>
          <cx:pt idx="3389">9.8619000000000003</cx:pt>
          <cx:pt idx="3390">11.34216</cx:pt>
          <cx:pt idx="3391">5.5061999999999998</cx:pt>
          <cx:pt idx="3392">19.071199999999997</cx:pt>
          <cx:pt idx="3393">50.273769999999999</cx:pt>
          <cx:pt idx="3394">2.3204199999999999</cx:pt>
          <cx:pt idx="3395">62.338399999999908</cx:pt>
          <cx:pt idx="3396">9.722999999999999</cx:pt>
          <cx:pt idx="3397">7.5712000000000002</cx:pt>
          <cx:pt idx="3398">9.722999999999999</cx:pt>
          <cx:pt idx="3399">10.0008</cx:pt>
          <cx:pt idx="3400">4.4998199999999899</cx:pt>
          <cx:pt idx="3401">10.834199999999999</cx:pt>
          <cx:pt idx="3402">3.9741999999999997</cx:pt>
          <cx:pt idx="3403">7.5712000000000002</cx:pt>
          <cx:pt idx="3404">10.834199999999999</cx:pt>
          <cx:pt idx="3405">11.90856</cx:pt>
          <cx:pt idx="3406">5.7683999999999997</cx:pt>
          <cx:pt idx="3407">6.2927999999999997</cx:pt>
          <cx:pt idx="3408">6.6860999999999908</cx:pt>
          <cx:pt idx="3409">10.278600000000001</cx:pt>
          <cx:pt idx="3410">5.2561999999999998</cx:pt>
          <cx:pt idx="3411">9.8619000000000003</cx:pt>
          <cx:pt idx="3412">8.3823999999999987</cx:pt>
          <cx:pt idx="3413">7.1791200000000002</cx:pt>
          <cx:pt idx="3414">11.611199999999899</cx:pt>
          <cx:pt idx="3415">6.1616999999999997</cx:pt>
          <cx:pt idx="3416">6.1616999999999997</cx:pt>
          <cx:pt idx="3417">17.3794</cx:pt>
          <cx:pt idx="3418">4.1023999999999994</cx:pt>
          <cx:pt idx="3419">6.2927999999999997</cx:pt>
          <cx:pt idx="3420">8.2472000000000012</cx:pt>
          <cx:pt idx="3421">6.6860999999999908</cx:pt>
          <cx:pt idx="3422">1.9358199999999999</cx:pt>
          <cx:pt idx="3423">7.7063999999999995</cx:pt>
          <cx:pt idx="3424">4.3716200000000001</cx:pt>
          <cx:pt idx="3425">4.8715999999999999</cx:pt>
          <cx:pt idx="3426">10.278600000000001</cx:pt>
          <cx:pt idx="3427">14.916879999999999</cx:pt>
          <cx:pt idx="3428">5.1279999999999903</cx:pt>
          <cx:pt idx="3429">48.366</cx:pt>
          <cx:pt idx="3430">4.6280199999999905</cx:pt>
          <cx:pt idx="3431">7.9767999999999892</cx:pt>
          <cx:pt idx="3432">6.8171999999999997</cx:pt>
          <cx:pt idx="3433">10.5564</cx:pt>
          <cx:pt idx="3434">9.8619000000000003</cx:pt>
          <cx:pt idx="3435">10.292490000000001</cx:pt>
          <cx:pt idx="3436">10.986989999999899</cx:pt>
          <cx:pt idx="3437">7.8551199999999906</cx:pt>
          <cx:pt idx="3438">10.431389999999901</cx:pt>
          <cx:pt idx="3439">13.881599999999999</cx:pt>
          <cx:pt idx="3440">5.63729999999999</cx:pt>
          <cx:pt idx="3441">6.4239000000000006</cx:pt>
          <cx:pt idx="3442">8.2472000000000012</cx:pt>
          <cx:pt idx="3443">11.894399999999999</cx:pt>
          <cx:pt idx="3444">16.779579999999999</cx:pt>
          <cx:pt idx="3445">6.5549999999999997</cx:pt>
          <cx:pt idx="3446">9.4590899999999998</cx:pt>
          <cx:pt idx="3447">12.711</cx:pt>
          <cx:pt idx="3448">10.5564</cx:pt>
          <cx:pt idx="3449">9.722999999999999</cx:pt>
          <cx:pt idx="3450">12.036</cx:pt>
          <cx:pt idx="3451">5.63729999999999</cx:pt>
          <cx:pt idx="3452">5.2561999999999998</cx:pt>
          <cx:pt idx="3453">6.03059999999999</cx:pt>
          <cx:pt idx="3454">9.5979900000000011</cx:pt>
          <cx:pt idx="3455">7.5712000000000002</cx:pt>
          <cx:pt idx="3456">10.278600000000001</cx:pt>
          <cx:pt idx="3457">39.767599999999995</cx:pt>
          <cx:pt idx="3458">2.8203999999999998</cx:pt>
          <cx:pt idx="3459">7.5712000000000002</cx:pt>
          <cx:pt idx="3460">13.881599999999999</cx:pt>
          <cx:pt idx="3461">6.4239000000000006</cx:pt>
          <cx:pt idx="3462">9.8619000000000003</cx:pt>
          <cx:pt idx="3463">4.9998000000000005</cx:pt>
          <cx:pt idx="3464">9.3201899999999895</cx:pt>
          <cx:pt idx="3465">8.2472000000000012</cx:pt>
          <cx:pt idx="3466">17.687000000000001</cx:pt>
          <cx:pt idx="3467">5.5061999999999998</cx:pt>
          <cx:pt idx="3468">11.625360000000001</cx:pt>
          <cx:pt idx="3469">8.80152</cx:pt>
          <cx:pt idx="3470">3.4742199999999896</cx:pt>
          <cx:pt idx="3471">11.4696</cx:pt>
          <cx:pt idx="3472">2.9485999999999999</cx:pt>
          <cx:pt idx="3473">16.917999999999999</cx:pt>
          <cx:pt idx="3474">13.5924</cx:pt>
          <cx:pt idx="3475">7.7063999999999995</cx:pt>
          <cx:pt idx="3476">3.34601999999999</cx:pt>
          <cx:pt idx="3477">14.8873999999999</cx:pt>
          <cx:pt idx="3478">4.6151999999999997</cx:pt>
          <cx:pt idx="3479">9.5840999999999994</cx:pt>
          <cx:pt idx="3480">5.5193099999999999</cx:pt>
          <cx:pt idx="3481">2.3204199999999999</cx:pt>
          <cx:pt idx="3482">8.7880000000000003</cx:pt>
          <cx:pt idx="3483">6.03059999999999</cx:pt>
          <cx:pt idx="3484">3.7178000000000004</cx:pt>
          <cx:pt idx="3485">9.5840999999999994</cx:pt>
          <cx:pt idx="3486">4.4998199999999899</cx:pt>
          <cx:pt idx="3487">12.333360000000001</cx:pt>
          <cx:pt idx="3488">12.967500000000001</cx:pt>
          <cx:pt idx="3489">13.881599999999999</cx:pt>
          <cx:pt idx="3490">6.03059999999999</cx:pt>
          <cx:pt idx="3491">11.752799999999999</cx:pt>
          <cx:pt idx="3492">11.4696</cx:pt>
          <cx:pt idx="3493">11.766959999999999</cx:pt>
          <cx:pt idx="3494">6.4239000000000006</cx:pt>
          <cx:pt idx="3495">11.752799999999999</cx:pt>
          <cx:pt idx="3496">43.2607</cx:pt>
          <cx:pt idx="3497">13.736999999999998</cx:pt>
          <cx:pt idx="3498">13.447799999999999</cx:pt>
          <cx:pt idx="3499">17.2256</cx:pt>
          <cx:pt idx="3500">35.468400000000003</cx:pt>
          <cx:pt idx="3501">7.8415999999999997</cx:pt>
          <cx:pt idx="3502">7.9767999999999892</cx:pt>
          <cx:pt idx="3503">13.736999999999998</cx:pt>
          <cx:pt idx="3504">10.973099999999999</cx:pt>
          <cx:pt idx="3505">42.454599999999999</cx:pt>
          <cx:pt idx="3506">18.778979999999901</cx:pt>
          <cx:pt idx="3507">11.752799999999999</cx:pt>
          <cx:pt idx="3508">5.6504099999999999</cx:pt>
          <cx:pt idx="3509">12.177599999999899</cx:pt>
          <cx:pt idx="3510">17.840799999999902</cx:pt>
          <cx:pt idx="3511">9.8619000000000003</cx:pt>
          <cx:pt idx="3512">9.5840999999999994</cx:pt>
          <cx:pt idx="3513">13.881599999999999</cx:pt>
          <cx:pt idx="3514">19.532599999999999</cx:pt>
          <cx:pt idx="3515">5.2561999999999998</cx:pt>
          <cx:pt idx="3516">6.4239000000000006</cx:pt>
          <cx:pt idx="3517">11.766959999999999</cx:pt>
          <cx:pt idx="3518">17.0718</cx:pt>
          <cx:pt idx="3519">15.6244</cx:pt>
          <cx:pt idx="3520">17.0718</cx:pt>
          <cx:pt idx="3521">13.5924</cx:pt>
          <cx:pt idx="3522">6.6860999999999908</cx:pt>
          <cx:pt idx="3523">10.278600000000001</cx:pt>
          <cx:pt idx="3524">6.6860999999999908</cx:pt>
          <cx:pt idx="3525">8.1120000000000001</cx:pt>
          <cx:pt idx="3526">6.03059999999999</cx:pt>
          <cx:pt idx="3527">8.1120000000000001</cx:pt>
          <cx:pt idx="3528">7.7063999999999995</cx:pt>
          <cx:pt idx="3529">2.8203999999999998</cx:pt>
          <cx:pt idx="3530">9.0583999999999989</cx:pt>
          <cx:pt idx="3531">13.896059999999899</cx:pt>
          <cx:pt idx="3532">9.4590899999999998</cx:pt>
          <cx:pt idx="3533">39.794469999999997</cx:pt>
          <cx:pt idx="3534">7.7199199999999992</cx:pt>
          <cx:pt idx="3535">8.5175999999999998</cx:pt>
          <cx:pt idx="3536">6.5549999999999997</cx:pt>
          <cx:pt idx="3537">36.032670000000003</cx:pt>
          <cx:pt idx="3538">5.5061999999999998</cx:pt>
          <cx:pt idx="3539">12.460799999999999</cx:pt>
          <cx:pt idx="3540">11.4696</cx:pt>
          <cx:pt idx="3541">2.7050200000000002</cx:pt>
          <cx:pt idx="3542">3.4613999999999998</cx:pt>
          <cx:pt idx="3543">8.5175999999999998</cx:pt>
          <cx:pt idx="3544">7.7199199999999992</cx:pt>
          <cx:pt idx="3545">10.973099999999999</cx:pt>
          <cx:pt idx="3546">8.6527999999999992</cx:pt>
          <cx:pt idx="3547">61.532299999999694</cx:pt>
          <cx:pt idx="3548">10.834199999999999</cx:pt>
          <cx:pt idx="3549">41.379800000000003</cx:pt>
          <cx:pt idx="3550">8.2472000000000012</cx:pt>
          <cx:pt idx="3551">5.63729999999999</cx:pt>
          <cx:pt idx="3552">10.973099999999999</cx:pt>
          <cx:pt idx="3553">2.6922000000000001</cx:pt>
          <cx:pt idx="3554">17.702379999999902</cx:pt>
          <cx:pt idx="3555">2.6922000000000001</cx:pt>
          <cx:pt idx="3556">17.533199999999997</cx:pt>
          <cx:pt idx="3557">7.1655999999999995</cx:pt>
          <cx:pt idx="3558">1.6794199999999999</cx:pt>
          <cx:pt idx="3559">6.03059999999999</cx:pt>
          <cx:pt idx="3560">6.6992099999999999</cx:pt>
          <cx:pt idx="3561">8.2742400000000202</cx:pt>
          <cx:pt idx="3562">5.63729999999999</cx:pt>
          <cx:pt idx="3563">6.8171999999999997</cx:pt>
          <cx:pt idx="3564">12.967500000000001</cx:pt>
          <cx:pt idx="3565">11.752799999999999</cx:pt>
          <cx:pt idx="3566">10.153589999999999</cx:pt>
          <cx:pt idx="3567">6.03059999999999</cx:pt>
          <cx:pt idx="3568">3.7178000000000004</cx:pt>
          <cx:pt idx="3569">10.4175</cx:pt>
          <cx:pt idx="3570">4.9998000000000005</cx:pt>
          <cx:pt idx="3571">6.1616999999999997</cx:pt>
          <cx:pt idx="3572">6.4239000000000006</cx:pt>
          <cx:pt idx="3573">11.4696</cx:pt>
          <cx:pt idx="3574">6.03059999999999</cx:pt>
          <cx:pt idx="3575">17.533199999999997</cx:pt>
          <cx:pt idx="3576">8.3823999999999987</cx:pt>
          <cx:pt idx="3577">13.736999999999998</cx:pt>
          <cx:pt idx="3578">6.5549999999999997</cx:pt>
          <cx:pt idx="3579">11.48376</cx:pt>
          <cx:pt idx="3580">45.437169999999696</cx:pt>
          <cx:pt idx="3581">10.834199999999999</cx:pt>
          <cx:pt idx="3582">17.3794</cx:pt>
          <cx:pt idx="3583">7.7063999999999995</cx:pt>
          <cx:pt idx="3584">13.447799999999999</cx:pt>
          <cx:pt idx="3585">6.1616999999999997</cx:pt>
          <cx:pt idx="3586">6.1748099999999999</cx:pt>
          <cx:pt idx="3587">5.5061999999999998</cx:pt>
          <cx:pt idx="3588">5.2690199999999905</cx:pt>
          <cx:pt idx="3589">6.03059999999999</cx:pt>
          <cx:pt idx="3590">5.5061999999999998</cx:pt>
          <cx:pt idx="3591">11.611199999999899</cx:pt>
          <cx:pt idx="3592">4.9998000000000005</cx:pt>
          <cx:pt idx="3593">16.917999999999999</cx:pt>
          <cx:pt idx="3594">7.9767999999999892</cx:pt>
          <cx:pt idx="3595">17.0718</cx:pt>
          <cx:pt idx="3596">6.4239000000000006</cx:pt>
          <cx:pt idx="3597">13.736999999999899</cx:pt>
          <cx:pt idx="3598">6.1748099999999999</cx:pt>
          <cx:pt idx="3599">11.4696</cx:pt>
          <cx:pt idx="3600">46.753799999999998</cx:pt>
          <cx:pt idx="3601">12.61656</cx:pt>
          <cx:pt idx="3602">3.9741999999999997</cx:pt>
          <cx:pt idx="3603">6.4239000000000006</cx:pt>
          <cx:pt idx="3604">10.4175</cx:pt>
          <cx:pt idx="3605">4.6151999999999997</cx:pt>
          <cx:pt idx="3606">10.4175</cx:pt>
          <cx:pt idx="3607">5.63729999999999</cx:pt>
          <cx:pt idx="3608">6.5549999999999997</cx:pt>
          <cx:pt idx="3609">4.1023999999999994</cx:pt>
          <cx:pt idx="3610">15.182200000000002</cx:pt>
          <cx:pt idx="3611">6.4239000000000006</cx:pt>
          <cx:pt idx="3612">4.7433999999999994</cx:pt>
          <cx:pt idx="3613">4.8715999999999999</cx:pt>
          <cx:pt idx="3614">4.3588000000000005</cx:pt>
          <cx:pt idx="3615">9.8757900000000003</cx:pt>
          <cx:pt idx="3616">40.86927</cx:pt>
          <cx:pt idx="3617">36.355110000000003</cx:pt>
          <cx:pt idx="3618">43.556270000000005</cx:pt>
          <cx:pt idx="3619">2.5639999999999898</cx:pt>
          <cx:pt idx="3620">18.7636</cx:pt>
          <cx:pt idx="3621">3.7178000000000004</cx:pt>
          <cx:pt idx="3622">10.5564</cx:pt>
          <cx:pt idx="3623">10.278600000000001</cx:pt>
          <cx:pt idx="3624">5.7683999999999997</cx:pt>
          <cx:pt idx="3625">13.736999999999998</cx:pt>
          <cx:pt idx="3626">6.6860999999999908</cx:pt>
          <cx:pt idx="3627">8.9367199999999993</cx:pt>
          <cx:pt idx="3628">8.9367199999999993</cx:pt>
          <cx:pt idx="3629">15.771799999999999</cx:pt>
          <cx:pt idx="3630">5.89949999999999</cx:pt>
          <cx:pt idx="3631">5.63729999999999</cx:pt>
          <cx:pt idx="3632">6.1748099999999999</cx:pt>
          <cx:pt idx="3633">44.066799999999901</cx:pt>
          <cx:pt idx="3634">17.2256</cx:pt>
          <cx:pt idx="3635">10.278600000000001</cx:pt>
          <cx:pt idx="3636">4.7433999999999994</cx:pt>
          <cx:pt idx="3637">5.1279999999999903</cx:pt>
          <cx:pt idx="3638">9.722999999999999</cx:pt>
          <cx:pt idx="3639">3.9741999999999997</cx:pt>
          <cx:pt idx="3640">12.474959999999999</cx:pt>
          <cx:pt idx="3641">14.74</cx:pt>
          <cx:pt idx="3642">5.2561999999999998</cx:pt>
          <cx:pt idx="3643">11.90856</cx:pt>
          <cx:pt idx="3644">6.5549999999999997</cx:pt>
          <cx:pt idx="3645">12.825000000000001</cx:pt>
          <cx:pt idx="3646">60.7261999999997</cx:pt>
          <cx:pt idx="3647">12.3333599999999</cx:pt>
          <cx:pt idx="3648">10.834199999999999</cx:pt>
          <cx:pt idx="3649">11.328000000000001</cx:pt>
          <cx:pt idx="3650">36.811899999999895</cx:pt>
          <cx:pt idx="3651">6.5549999999999997</cx:pt>
          <cx:pt idx="3652">15.04954</cx:pt>
          <cx:pt idx="3653">10.278600000000001</cx:pt>
          <cx:pt idx="3654">35.737099999999998</cx:pt>
          <cx:pt idx="3655">9.722999999999999</cx:pt>
          <cx:pt idx="3656">4.7433999999999994</cx:pt>
          <cx:pt idx="3657">19.225000000000001</cx:pt>
          <cx:pt idx="3658">8.5175999999999998</cx:pt>
          <cx:pt idx="3659">15.786539999999999</cx:pt>
          <cx:pt idx="3660">6.03059999999999</cx:pt>
          <cx:pt idx="3661">4.4870000000000001</cx:pt>
          <cx:pt idx="3662">11.752799999999999</cx:pt>
          <cx:pt idx="3663">3.9741999999999997</cx:pt>
          <cx:pt idx="3664">7.3413600000000203</cx:pt>
          <cx:pt idx="3665">9.5840999999999994</cx:pt>
          <cx:pt idx="3666">11.328000000000001</cx:pt>
          <cx:pt idx="3667">10.139699999999999</cx:pt>
          <cx:pt idx="3668">7.8415999999999997</cx:pt>
          <cx:pt idx="3669">36.543199999999999</cx:pt>
          <cx:pt idx="3670">8.2472000000000012</cx:pt>
          <cx:pt idx="3671">10.4175</cx:pt>
          <cx:pt idx="3672">9.722999999999999</cx:pt>
          <cx:pt idx="3673">6.1748099999999999</cx:pt>
          <cx:pt idx="3674">2.4358</cx:pt>
          <cx:pt idx="3675">6.2927999999999997</cx:pt>
          <cx:pt idx="3676">6.2927999999999997</cx:pt>
          <cx:pt idx="3677">19.547980000000003</cx:pt>
          <cx:pt idx="3678">37.080599999999905</cx:pt>
          <cx:pt idx="3679">37.618000000000002</cx:pt>
          <cx:pt idx="3680">6.03059999999999</cx:pt>
          <cx:pt idx="3681">8.2472000000000012</cx:pt>
          <cx:pt idx="3682">2.6922000000000001</cx:pt>
          <cx:pt idx="3683">5.7683999999999997</cx:pt>
          <cx:pt idx="3684">8.1120000000000001</cx:pt>
          <cx:pt idx="3685">10.973099999999999</cx:pt>
          <cx:pt idx="3686">6.6860999999999908</cx:pt>
          <cx:pt idx="3687">6.2927999999999997</cx:pt>
          <cx:pt idx="3688">5.89949999999999</cx:pt>
          <cx:pt idx="3689">9.722999999999999</cx:pt>
          <cx:pt idx="3690">10.834199999999999</cx:pt>
          <cx:pt idx="3691">12.711</cx:pt>
          <cx:pt idx="3692">10.431389999999901</cx:pt>
          <cx:pt idx="3693">6.03059999999999</cx:pt>
          <cx:pt idx="3694">7.1655999999999995</cx:pt>
          <cx:pt idx="3695">8.6527999999999992</cx:pt>
          <cx:pt idx="3696">11.4696</cx:pt>
          <cx:pt idx="3697">9.3201899999999895</cx:pt>
          <cx:pt idx="3698">9.8619000000000003</cx:pt>
          <cx:pt idx="3699">6.4239000000000006</cx:pt>
          <cx:pt idx="3700">11.611199999999899</cx:pt>
          <cx:pt idx="3701">19.378799999999998</cx:pt>
          <cx:pt idx="3702">14.8873999999999</cx:pt>
          <cx:pt idx="3703">3.0768</cx:pt>
          <cx:pt idx="3704">17.3794</cx:pt>
          <cx:pt idx="3705">9.722999999999999</cx:pt>
          <cx:pt idx="3706">9.4451999999999998</cx:pt>
          <cx:pt idx="3707">8.9232000000000014</cx:pt>
          <cx:pt idx="3708">6.5681099999999892</cx:pt>
          <cx:pt idx="3709">11.752799999999999</cx:pt>
          <cx:pt idx="3710">11.752799999999999</cx:pt>
          <cx:pt idx="3711">7.8415999999999997</cx:pt>
          <cx:pt idx="3712">42.992000000000004</cx:pt>
          <cx:pt idx="3713">11.328000000000001</cx:pt>
          <cx:pt idx="3714">11.4696</cx:pt>
          <cx:pt idx="3715">8.2472000000000012</cx:pt>
          <cx:pt idx="3716">18.148399999999899</cx:pt>
          <cx:pt idx="3717">5.5061999999999998</cx:pt>
          <cx:pt idx="3718">15.182200000000002</cx:pt>
          <cx:pt idx="3719">11.611199999999899</cx:pt>
          <cx:pt idx="3720">7.7063999999999995</cx:pt>
          <cx:pt idx="3721">5.1279999999999903</cx:pt>
          <cx:pt idx="3722">7.0439199999999991</cx:pt>
          <cx:pt idx="3723">10.278600000000001</cx:pt>
          <cx:pt idx="3724">5.5061999999999998</cx:pt>
          <cx:pt idx="3725">7.8551199999999906</cx:pt>
          <cx:pt idx="3726">9.4451999999999998</cx:pt>
          <cx:pt idx="3727">6.6860999999999908</cx:pt>
          <cx:pt idx="3728">16.93338</cx:pt>
          <cx:pt idx="3729">5.89949999999999</cx:pt>
          <cx:pt idx="3730">8.2472000000000012</cx:pt>
          <cx:pt idx="3731">12.825000000000001</cx:pt>
          <cx:pt idx="3732">6.2927999999999997</cx:pt>
          <cx:pt idx="3733">12.177599999999899</cx:pt>
          <cx:pt idx="3734">12.825000000000001</cx:pt>
          <cx:pt idx="3735">6.8171999999999997</cx:pt>
          <cx:pt idx="3736">6.6860999999999908</cx:pt>
          <cx:pt idx="3737">12.460799999999999</cx:pt>
          <cx:pt idx="3738">12.460799999999999</cx:pt>
          <cx:pt idx="3739">12.98175</cx:pt>
          <cx:pt idx="3740">19.532599999999999</cx:pt>
          <cx:pt idx="3741">3.8460000000000001</cx:pt>
          <cx:pt idx="3742">10.973099999999999</cx:pt>
          <cx:pt idx="3743">3.9741999999999997</cx:pt>
          <cx:pt idx="3744">9.5840999999999994</cx:pt>
          <cx:pt idx="3745">37.107469999999999</cx:pt>
          <cx:pt idx="3746">8.2472000000000012</cx:pt>
          <cx:pt idx="3747">13.1242499999999</cx:pt>
          <cx:pt idx="3748">2.6922000000000001</cx:pt>
          <cx:pt idx="3749">9.5840999999999994</cx:pt>
          <cx:pt idx="3750">11.328000000000001</cx:pt>
          <cx:pt idx="3751">9.8619000000000003</cx:pt>
          <cx:pt idx="3752">5.5061999999999998</cx:pt>
          <cx:pt idx="3753">6.03059999999999</cx:pt>
          <cx:pt idx="3754">7.7063999999999995</cx:pt>
          <cx:pt idx="3755">15.476999999999999</cx:pt>
          <cx:pt idx="3756">18.302199999999999</cx:pt>
          <cx:pt idx="3757">6.6860999999999908</cx:pt>
          <cx:pt idx="3758">13.462260000000001</cx:pt>
          <cx:pt idx="3759">15.786539999999999</cx:pt>
          <cx:pt idx="3760">3.4742199999999896</cx:pt>
          <cx:pt idx="3761">11.752799999999999</cx:pt>
          <cx:pt idx="3762">6.5549999999999997</cx:pt>
          <cx:pt idx="3763">72.280299999999698</cx:pt>
          <cx:pt idx="3764">4.3588000000000005</cx:pt>
          <cx:pt idx="3765">7.1655999999999995</cx:pt>
          <cx:pt idx="3766">8.1120000000000001</cx:pt>
          <cx:pt idx="3767">36.543199999999999</cx:pt>
          <cx:pt idx="3768">7.5712000000000002</cx:pt>
          <cx:pt idx="3769">7.8551199999999906</cx:pt>
          <cx:pt idx="3770">17.994599999999998</cx:pt>
          <cx:pt idx="3771">4.7562199999999999</cx:pt>
          <cx:pt idx="3772">8.9232000000000014</cx:pt>
          <cx:pt idx="3773">12.333360000000001</cx:pt>
          <cx:pt idx="3774">4.7433999999999994</cx:pt>
          <cx:pt idx="3775">10.4175</cx:pt>
          <cx:pt idx="3776">4.4870000000000001</cx:pt>
          <cx:pt idx="3777">12.460799999999999</cx:pt>
          <cx:pt idx="3778">10.4175</cx:pt>
          <cx:pt idx="3779">7.4359999999999999</cx:pt>
          <cx:pt idx="3780">8.7880000000000003</cx:pt>
          <cx:pt idx="3781">10.153589999999999</cx:pt>
          <cx:pt idx="3782">13.5924</cx:pt>
          <cx:pt idx="3783">10.973099999999999</cx:pt>
          <cx:pt idx="3784">5.7683999999999997</cx:pt>
          <cx:pt idx="3785">2.0640200000000002</cx:pt>
          <cx:pt idx="3786">12.036</cx:pt>
          <cx:pt idx="3787">12.05016</cx:pt>
          <cx:pt idx="3788">7.7063999999999995</cx:pt>
          <cx:pt idx="3789">17.2256</cx:pt>
          <cx:pt idx="3790">11.894399999999999</cx:pt>
          <cx:pt idx="3791">11.752799999999999</cx:pt>
          <cx:pt idx="3792">12.06432</cx:pt>
          <cx:pt idx="3793">18.6098</cx:pt>
          <cx:pt idx="3794">12.177599999999899</cx:pt>
          <cx:pt idx="3795">2.1794000000000002</cx:pt>
          <cx:pt idx="3796">11.4696</cx:pt>
          <cx:pt idx="3797">48.903400000000005</cx:pt>
          <cx:pt idx="3798">8.3959200000000003</cx:pt>
          <cx:pt idx="3799">6.03059999999999</cx:pt>
          <cx:pt idx="3800">8.5311199999999907</cx:pt>
          <cx:pt idx="3801">8.9232000000000014</cx:pt>
          <cx:pt idx="3802">17.533199999999997</cx:pt>
          <cx:pt idx="3803">3.7178000000000004</cx:pt>
          <cx:pt idx="3804">6.4239000000000006</cx:pt>
          <cx:pt idx="3805">3.8588200000000001</cx:pt>
          <cx:pt idx="3806">4.1152199999999999</cx:pt>
          <cx:pt idx="3807">15.182200000000002</cx:pt>
          <cx:pt idx="3808">18.302199999999999</cx:pt>
          <cx:pt idx="3809">11.92272</cx:pt>
          <cx:pt idx="3810">11.752799999999999</cx:pt>
          <cx:pt idx="3811">5.7683999999999997</cx:pt>
          <cx:pt idx="3812">10.153589999999999</cx:pt>
          <cx:pt idx="3813">9.722999999999999</cx:pt>
          <cx:pt idx="3814">6.2927999999999997</cx:pt>
          <cx:pt idx="3815">9.4451999999999998</cx:pt>
          <cx:pt idx="3816">12.825000000000001</cx:pt>
          <cx:pt idx="3817">11.752799999999999</cx:pt>
          <cx:pt idx="3818">10.278600000000001</cx:pt>
          <cx:pt idx="3819">3.9741999999999997</cx:pt>
          <cx:pt idx="3820">4.4998199999999899</cx:pt>
          <cx:pt idx="3821">6.03059999999999</cx:pt>
          <cx:pt idx="3822">11.752799999999999</cx:pt>
          <cx:pt idx="3823">15.329599999999999</cx:pt>
          <cx:pt idx="3824">8.7880000000000003</cx:pt>
          <cx:pt idx="3825">5.5061999999999998</cx:pt>
          <cx:pt idx="3826">5.1279999999999903</cx:pt>
          <cx:pt idx="3827">6.8171999999999997</cx:pt>
          <cx:pt idx="3828">15.034799999999901</cx:pt>
          <cx:pt idx="3829">5.7683999999999997</cx:pt>
          <cx:pt idx="3830">5.7683999999999997</cx:pt>
          <cx:pt idx="3831">41.1111</cx:pt>
          <cx:pt idx="3832">3.5895999999999999</cx:pt>
          <cx:pt idx="3833">10.4175</cx:pt>
          <cx:pt idx="3834">5.7815099999999902</cx:pt>
          <cx:pt idx="3835">9.722999999999999</cx:pt>
          <cx:pt idx="3836">11.90856</cx:pt>
          <cx:pt idx="3837">11.328000000000001</cx:pt>
          <cx:pt idx="3838">40.842399999999998</cx:pt>
          <cx:pt idx="3839">5.9126099999999893</cx:pt>
          <cx:pt idx="3840">19.686400000000003</cx:pt>
          <cx:pt idx="3841">8.7880000000000003</cx:pt>
          <cx:pt idx="3842">10.0008</cx:pt>
          <cx:pt idx="3843">3.9741999999999997</cx:pt>
          <cx:pt idx="3844">9.722999999999999</cx:pt>
          <cx:pt idx="3845">40.573700000000002</cx:pt>
          <cx:pt idx="3846">18.456</cx:pt>
          <cx:pt idx="3847">12.967500000000001</cx:pt>
          <cx:pt idx="3848">4.6151999999999997</cx:pt>
          <cx:pt idx="3849">7.3008000000000006</cx:pt>
          <cx:pt idx="3850">11.611199999999899</cx:pt>
          <cx:pt idx="3851">10.986989999999899</cx:pt>
          <cx:pt idx="3852">5.5193099999999999</cx:pt>
          <cx:pt idx="3853">15.034799999999901</cx:pt>
          <cx:pt idx="3854">7.3008000000000006</cx:pt>
          <cx:pt idx="3855">4.9998000000000005</cx:pt>
          <cx:pt idx="3856">38.182270000000003</cx:pt>
          <cx:pt idx="3857">17.3794</cx:pt>
          <cx:pt idx="3858">7.1655999999999995</cx:pt>
          <cx:pt idx="3859">16.93338</cx:pt>
          <cx:pt idx="3860">8.7880000000000003</cx:pt>
          <cx:pt idx="3861">8.9232000000000014</cx:pt>
          <cx:pt idx="3862">6.6860999999999908</cx:pt>
          <cx:pt idx="3863">6.5549999999999997</cx:pt>
          <cx:pt idx="3864">12.967500000000001</cx:pt>
          <cx:pt idx="3865">48.661569999999998</cx:pt>
          <cx:pt idx="3866">7.5712000000000002</cx:pt>
          <cx:pt idx="3867">7.7199199999999992</cx:pt>
          <cx:pt idx="3868">15.786539999999999</cx:pt>
          <cx:pt idx="3869">36.570070000000001</cx:pt>
          <cx:pt idx="3870">6.5214599999999994</cx:pt>
          <cx:pt idx="3871">1.42301999999999</cx:pt>
          <cx:pt idx="3872">33.076969999999903</cx:pt>
          <cx:pt idx="3873">12.473180000000001</cx:pt>
          <cx:pt idx="3874">10.92234</cx:pt>
          <cx:pt idx="3875">1.9358199999999999</cx:pt>
          <cx:pt idx="3876">13.549779999999901</cx:pt>
          <cx:pt idx="3877">31.196069999999899</cx:pt>
          <cx:pt idx="3878">2.1922199999999998</cx:pt>
          <cx:pt idx="3879">5.6781600000000001</cx:pt>
          <cx:pt idx="3880">1.16662</cx:pt>
          <cx:pt idx="3881">9.890539999999989</cx:pt>
          <cx:pt idx="3882">4.8807199999999895</cx:pt>
          <cx:pt idx="3883">4.74552</cx:pt>
          <cx:pt idx="3884">13.54978</cx:pt>
          <cx:pt idx="3885">31.733470000000004</cx:pt>
          <cx:pt idx="3886">12.93458</cx:pt>
          <cx:pt idx="3887">10.62754</cx:pt>
          <cx:pt idx="3888">2.1922199999999998</cx:pt>
          <cx:pt idx="3889">1.6794199999999999</cx:pt>
          <cx:pt idx="3890">3.08962</cx:pt>
          <cx:pt idx="3891">5.0159200000000004</cx:pt>
          <cx:pt idx="3892">11.85798</cx:pt>
          <cx:pt idx="3893">2.44862</cx:pt>
          <cx:pt idx="3894">0.91021999999999992</cx:pt>
          <cx:pt idx="3895">36.838769999999897</cx:pt>
          <cx:pt idx="3896">13.549779999999901</cx:pt>
          <cx:pt idx="3897">6.6660599999999999</cx:pt>
          <cx:pt idx="3898">2.44862</cx:pt>
          <cx:pt idx="3899">31.733469999999901</cx:pt>
          <cx:pt idx="3900">4.20472</cx:pt>
          <cx:pt idx="3901">28.777769999999904</cx:pt>
          <cx:pt idx="3902">10.92234</cx:pt>
          <cx:pt idx="3903">13.54978</cx:pt>
          <cx:pt idx="3904">8.8587399999999992</cx:pt>
          <cx:pt idx="3905">30.121269999999999</cx:pt>
          <cx:pt idx="3906">35.763969999999901</cx:pt>
          <cx:pt idx="3907">4.8807200000000002</cx:pt>
          <cx:pt idx="3908">1.80762</cx:pt>
          <cx:pt idx="3909">27.702970000000001</cx:pt>
          <cx:pt idx="3910">3.94611</cx:pt>
          <cx:pt idx="3911">32.270870000000002</cx:pt>
          <cx:pt idx="3912">10.48014</cx:pt>
          <cx:pt idx="3913">13.2421799999999</cx:pt>
          <cx:pt idx="3914">47.586769999999902</cx:pt>
          <cx:pt idx="3915">2.1922199999999998</cx:pt>
          <cx:pt idx="3916">3.42171</cx:pt>
          <cx:pt idx="3917">9.44834</cx:pt>
          <cx:pt idx="3918">5.4309900000000004</cx:pt>
          <cx:pt idx="3919">2.3204199999999999</cx:pt>
        </cx:lvl>
      </cx:numDim>
    </cx:data>
    <cx:data id="6">
      <cx:numDim type="val">
        <cx:f>Sheet2!$G$2:$G$11265</cx:f>
        <cx:lvl ptCount="11264" formatCode="General">
          <cx:pt idx="0">9.8619000000000003</cx:pt>
          <cx:pt idx="1">5.5324200000000197</cx:pt>
          <cx:pt idx="2">7.1791200000000002</cx:pt>
          <cx:pt idx="3">8.3823999999999987</cx:pt>
          <cx:pt idx="4">5.63729999999999</cx:pt>
          <cx:pt idx="5">7.8415999999999997</cx:pt>
          <cx:pt idx="6">5.2561999999999998</cx:pt>
          <cx:pt idx="7">4.4870000000000001</cx:pt>
          <cx:pt idx="8">7.3008000000000006</cx:pt>
          <cx:pt idx="9">12.98175</cx:pt>
          <cx:pt idx="10">4.6151999999999997</cx:pt>
          <cx:pt idx="11">42.508339999999997</cx:pt>
          <cx:pt idx="12">11.328000000000001</cx:pt>
          <cx:pt idx="13">5.63729999999999</cx:pt>
          <cx:pt idx="14">10.6952999999999</cx:pt>
          <cx:pt idx="15">18.009979999999899</cx:pt>
          <cx:pt idx="16">14.74</cx:pt>
          <cx:pt idx="17">3.4742199999999896</cx:pt>
          <cx:pt idx="18">6.3190200000000196</cx:pt>
          <cx:pt idx="19">6.4239000000000006</cx:pt>
          <cx:pt idx="20">3.8460000000000001</cx:pt>
          <cx:pt idx="21">4.2305999999999999</cx:pt>
          <cx:pt idx="22">5.63729999999999</cx:pt>
          <cx:pt idx="23">10.139699999999999</cx:pt>
          <cx:pt idx="24">3.8460000000000001</cx:pt>
          <cx:pt idx="25">7.1655999999999995</cx:pt>
          <cx:pt idx="26">10.5564</cx:pt>
          <cx:pt idx="27">39.498899999999999</cx:pt>
          <cx:pt idx="28">45.141599999999997</cx:pt>
          <cx:pt idx="29">16.764200000000002</cx:pt>
          <cx:pt idx="30">10.5564</cx:pt>
          <cx:pt idx="31">5.89949999999999</cx:pt>
          <cx:pt idx="32">8.9232000000000014</cx:pt>
          <cx:pt idx="33">17.702379999999902</cx:pt>
          <cx:pt idx="34">12.177599999999899</cx:pt>
          <cx:pt idx="35">18.917400000000001</cx:pt>
          <cx:pt idx="36">9.5979900000000011</cx:pt>
          <cx:pt idx="37">10.139699999999999</cx:pt>
          <cx:pt idx="38">4.4870000000000001</cx:pt>
          <cx:pt idx="39">15.034799999999901</cx:pt>
          <cx:pt idx="40">8.7880000000000003</cx:pt>
          <cx:pt idx="41">4.4870000000000001</cx:pt>
          <cx:pt idx="42">11.4696</cx:pt>
          <cx:pt idx="43">2.9485999999999999</cx:pt>
          <cx:pt idx="44">6.2927999999999997</cx:pt>
          <cx:pt idx="45">4.6151999999999997</cx:pt>
          <cx:pt idx="46">5.2561999999999998</cx:pt>
          <cx:pt idx="47">10.973099999999999</cx:pt>
          <cx:pt idx="48">7.7063999999999995</cx:pt>
          <cx:pt idx="49">35.1997</cx:pt>
          <cx:pt idx="50">4.9998000000000005</cx:pt>
          <cx:pt idx="51">9.0583999999999989</cx:pt>
          <cx:pt idx="52">8.5175999999999998</cx:pt>
          <cx:pt idx="53">12.177599999999899</cx:pt>
          <cx:pt idx="54">6.0437099999999999</cx:pt>
          <cx:pt idx="55">9.5840999999999994</cx:pt>
          <cx:pt idx="56">11.92272</cx:pt>
          <cx:pt idx="57">8.6527999999999992</cx:pt>
          <cx:pt idx="58">13.5924</cx:pt>
          <cx:pt idx="59">18.917400000000001</cx:pt>
          <cx:pt idx="60">8.9232000000000014</cx:pt>
          <cx:pt idx="61">8.6527999999999992</cx:pt>
          <cx:pt idx="62">8.2472000000000012</cx:pt>
          <cx:pt idx="63">36.274499999999996</cx:pt>
          <cx:pt idx="64">5.5061999999999998</cx:pt>
          <cx:pt idx="65">4.9998000000000005</cx:pt>
          <cx:pt idx="66">4.7690400000000199</cx:pt>
          <cx:pt idx="67">10.278600000000001</cx:pt>
          <cx:pt idx="68">10.0008</cx:pt>
          <cx:pt idx="69">10.973099999999999</cx:pt>
          <cx:pt idx="70">10.5564</cx:pt>
          <cx:pt idx="71">8.260720000000001</cx:pt>
          <cx:pt idx="72">5.63729999999999</cx:pt>
          <cx:pt idx="73">5.2561999999999998</cx:pt>
          <cx:pt idx="74">9.8619000000000003</cx:pt>
          <cx:pt idx="75">11.328000000000001</cx:pt>
          <cx:pt idx="76">5.63729999999999</cx:pt>
          <cx:pt idx="77">8.3823999999999987</cx:pt>
          <cx:pt idx="78">3.7178000000000004</cx:pt>
          <cx:pt idx="79">9.722999999999999</cx:pt>
          <cx:pt idx="80">44.066799999999901</cx:pt>
          <cx:pt idx="81">19.532599999999999</cx:pt>
          <cx:pt idx="82">2.9614199999999999</cx:pt>
          <cx:pt idx="83">5.5061999999999998</cx:pt>
          <cx:pt idx="84">5.1279999999999903</cx:pt>
          <cx:pt idx="85">3.9870200000000002</cx:pt>
          <cx:pt idx="86">10.973099999999999</cx:pt>
          <cx:pt idx="87">10.4175</cx:pt>
          <cx:pt idx="88">15.04954</cx:pt>
          <cx:pt idx="89">10.5564</cx:pt>
          <cx:pt idx="90">8.2472000000000012</cx:pt>
          <cx:pt idx="91">5.2561999999999998</cx:pt>
          <cx:pt idx="92">3.7178000000000004</cx:pt>
          <cx:pt idx="93">8.3823999999999987</cx:pt>
          <cx:pt idx="94">4.1152199999999999</cx:pt>
          <cx:pt idx="95">3.9741999999999997</cx:pt>
          <cx:pt idx="96">37.3492999999999</cx:pt>
          <cx:pt idx="97">6.4239000000000006</cx:pt>
          <cx:pt idx="98">4.8715999999999999</cx:pt>
          <cx:pt idx="99">13.447799999999999</cx:pt>
          <cx:pt idx="100">7.5712000000000002</cx:pt>
          <cx:pt idx="101">11.752799999999999</cx:pt>
          <cx:pt idx="102">6.03059999999999</cx:pt>
          <cx:pt idx="103">4.3588000000000005</cx:pt>
          <cx:pt idx="104">6.6860999999999908</cx:pt>
          <cx:pt idx="105">4.2305999999999999</cx:pt>
          <cx:pt idx="106">3.8460000000000001</cx:pt>
          <cx:pt idx="107">8.1120000000000001</cx:pt>
          <cx:pt idx="108">2.9485999999999999</cx:pt>
          <cx:pt idx="109">4.6151999999999997</cx:pt>
          <cx:pt idx="110">4.6151999999999997</cx:pt>
          <cx:pt idx="111">4.9998000000000005</cx:pt>
          <cx:pt idx="112">9.4451999999999998</cx:pt>
          <cx:pt idx="113">4.4870000000000001</cx:pt>
          <cx:pt idx="114">12.967500000000001</cx:pt>
          <cx:pt idx="115">4.9998000000000005</cx:pt>
          <cx:pt idx="116">3.4742199999999896</cx:pt>
          <cx:pt idx="117">62.902669999999702</cx:pt>
          <cx:pt idx="118">11.894399999999999</cx:pt>
          <cx:pt idx="119">35.468400000000003</cx:pt>
          <cx:pt idx="120">4.9998000000000005</cx:pt>
          <cx:pt idx="121">10.4175</cx:pt>
          <cx:pt idx="122">15.19694</cx:pt>
          <cx:pt idx="123">47.828600000000002</cx:pt>
          <cx:pt idx="124">8.5175999999999998</cx:pt>
          <cx:pt idx="125">3.3332000000000002</cx:pt>
          <cx:pt idx="126">15.476999999999999</cx:pt>
          <cx:pt idx="127">10.6952999999999</cx:pt>
          <cx:pt idx="128">10.278600000000001</cx:pt>
          <cx:pt idx="129">11.328000000000001</cx:pt>
          <cx:pt idx="130">43.2607</cx:pt>
          <cx:pt idx="131">4.6151999999999997</cx:pt>
          <cx:pt idx="132">10.973099999999999</cx:pt>
          <cx:pt idx="133">9.0583999999999989</cx:pt>
          <cx:pt idx="134">14.8873999999999</cx:pt>
          <cx:pt idx="135">12.825000000000001</cx:pt>
          <cx:pt idx="136">4.9998000000000005</cx:pt>
          <cx:pt idx="137">11.328000000000001</cx:pt>
          <cx:pt idx="138">6.03059999999999</cx:pt>
          <cx:pt idx="139">8.1120000000000001</cx:pt>
          <cx:pt idx="140">9.4451999999999998</cx:pt>
          <cx:pt idx="141">17.2256</cx:pt>
          <cx:pt idx="142">5.89949999999999</cx:pt>
          <cx:pt idx="143">5.1279999999999903</cx:pt>
          <cx:pt idx="144">11.328000000000001</cx:pt>
          <cx:pt idx="145">11.328000000000001</cx:pt>
          <cx:pt idx="146">19.225000000000001</cx:pt>
          <cx:pt idx="147">36.865639999999999</cx:pt>
          <cx:pt idx="148">4.6151999999999997</cx:pt>
          <cx:pt idx="149">6.6860999999999908</cx:pt>
          <cx:pt idx="150">48.903400000000005</cx:pt>
          <cx:pt idx="151">12.460799999999999</cx:pt>
          <cx:pt idx="152">9.5840999999999994</cx:pt>
          <cx:pt idx="153">7.7063999999999995</cx:pt>
          <cx:pt idx="154">3.9741999999999997</cx:pt>
          <cx:pt idx="155">5.5061999999999998</cx:pt>
          <cx:pt idx="156">4.9998000000000005</cx:pt>
          <cx:pt idx="157">6.1616999999999997</cx:pt>
          <cx:pt idx="158">6.1616999999999997</cx:pt>
          <cx:pt idx="159">6.2927999999999997</cx:pt>
          <cx:pt idx="160">5.7683999999999997</cx:pt>
          <cx:pt idx="161">3.4613999999999998</cx:pt>
          <cx:pt idx="162">12.036</cx:pt>
          <cx:pt idx="163">7.8415999999999997</cx:pt>
          <cx:pt idx="164">5.2561999999999998</cx:pt>
          <cx:pt idx="165">6.6860999999999908</cx:pt>
          <cx:pt idx="166">5.7683999999999997</cx:pt>
          <cx:pt idx="167">47.559899999999999</cx:pt>
          <cx:pt idx="168">5.89949999999999</cx:pt>
          <cx:pt idx="169">9.4451999999999998</cx:pt>
          <cx:pt idx="170">49.198969999999697</cx:pt>
          <cx:pt idx="171">12.319199999999899</cx:pt>
          <cx:pt idx="172">10.278600000000001</cx:pt>
          <cx:pt idx="173">15.9192</cx:pt>
          <cx:pt idx="174">8.2472000000000012</cx:pt>
          <cx:pt idx="175">18.794359999999998</cx:pt>
          <cx:pt idx="176">6.2927999999999997</cx:pt>
          <cx:pt idx="177">11.328000000000001</cx:pt>
          <cx:pt idx="178">47.882339999999999</cx:pt>
          <cx:pt idx="179">10.5564</cx:pt>
          <cx:pt idx="180">3.4613999999999998</cx:pt>
          <cx:pt idx="181">7.7063999999999995</cx:pt>
          <cx:pt idx="182">8.5175999999999998</cx:pt>
          <cx:pt idx="183">18.3175799999999</cx:pt>
          <cx:pt idx="184">4.9998000000000005</cx:pt>
          <cx:pt idx="185">7.4359999999999999</cx:pt>
          <cx:pt idx="186">3.8460000000000001</cx:pt>
          <cx:pt idx="187">4.4870000000000001</cx:pt>
          <cx:pt idx="188">4.4870000000000001</cx:pt>
          <cx:pt idx="189">5.63729999999999</cx:pt>
          <cx:pt idx="190">4.4870000000000001</cx:pt>
          <cx:pt idx="191">7.5712000000000002</cx:pt>
          <cx:pt idx="192">8.6527999999999992</cx:pt>
          <cx:pt idx="193">18.917400000000001</cx:pt>
          <cx:pt idx="194">19.101960000000002</cx:pt>
          <cx:pt idx="195">4.2305999999999999</cx:pt>
          <cx:pt idx="196">10.278600000000001</cx:pt>
          <cx:pt idx="197">16.764200000000002</cx:pt>
          <cx:pt idx="198">12.4607999999999</cx:pt>
          <cx:pt idx="199">10.4175</cx:pt>
          <cx:pt idx="200">9.5840999999999994</cx:pt>
          <cx:pt idx="201">12.825000000000001</cx:pt>
          <cx:pt idx="202">4.1023999999999994</cx:pt>
          <cx:pt idx="203">12.825000000000001</cx:pt>
          <cx:pt idx="204">43.556270000000005</cx:pt>
          <cx:pt idx="205">16.917999999999999</cx:pt>
          <cx:pt idx="206">10.0008</cx:pt>
          <cx:pt idx="207">16.764200000000002</cx:pt>
          <cx:pt idx="208">4.3588000000000005</cx:pt>
          <cx:pt idx="209">5.89949999999999</cx:pt>
          <cx:pt idx="210">9.0583999999999989</cx:pt>
          <cx:pt idx="211">6.4239000000000006</cx:pt>
          <cx:pt idx="212">9.722999999999999</cx:pt>
          <cx:pt idx="213">13.1242499999999</cx:pt>
          <cx:pt idx="214">3.9741999999999997</cx:pt>
          <cx:pt idx="215">6.3190200000000196</cx:pt>
          <cx:pt idx="216">2.8203999999999998</cx:pt>
          <cx:pt idx="217">4.2305999999999999</cx:pt>
          <cx:pt idx="218">6.03059999999999</cx:pt>
          <cx:pt idx="219">6.4239000000000006</cx:pt>
          <cx:pt idx="220">3.5895999999999999</cx:pt>
          <cx:pt idx="221">5.89949999999999</cx:pt>
          <cx:pt idx="222">5.7683999999999997</cx:pt>
          <cx:pt idx="223">6.4239000000000006</cx:pt>
          <cx:pt idx="224">6.5549999999999997</cx:pt>
          <cx:pt idx="225">5.89949999999999</cx:pt>
          <cx:pt idx="226">9.0583999999999989</cx:pt>
          <cx:pt idx="227">50.515599999999708</cx:pt>
          <cx:pt idx="228">3.8460000000000001</cx:pt>
          <cx:pt idx="229">5.1279999999999903</cx:pt>
          <cx:pt idx="230">52.6651999999997</cx:pt>
          <cx:pt idx="231">19.255759999999999</cx:pt>
          <cx:pt idx="232">4.2305999999999999</cx:pt>
          <cx:pt idx="233">7.5712000000000002</cx:pt>
          <cx:pt idx="234">49.709499999999998</cx:pt>
          <cx:pt idx="235">4.2305999999999999</cx:pt>
          <cx:pt idx="236">12.825000000000001</cx:pt>
          <cx:pt idx="237">3.7178000000000004</cx:pt>
          <cx:pt idx="238">6.6860999999999908</cx:pt>
          <cx:pt idx="239">8.9232000000000014</cx:pt>
          <cx:pt idx="240">11.611199999999899</cx:pt>
          <cx:pt idx="241">15.771799999999999</cx:pt>
          <cx:pt idx="242">12.8535</cx:pt>
          <cx:pt idx="243">3.9741999999999997</cx:pt>
          <cx:pt idx="244">47.022500000000001</cx:pt>
          <cx:pt idx="245">6.03059999999999</cx:pt>
          <cx:pt idx="246">35.226570000000002</cx:pt>
          <cx:pt idx="247">17.856179999999998</cx:pt>
          <cx:pt idx="248">7.4359999999999999</cx:pt>
          <cx:pt idx="249">4.4870000000000001</cx:pt>
          <cx:pt idx="250">15.034799999999901</cx:pt>
          <cx:pt idx="251">3.9741999999999997</cx:pt>
          <cx:pt idx="252">44.872899999999902</cx:pt>
          <cx:pt idx="253">5.0254400000000201</cx:pt>
          <cx:pt idx="254">19.240380000000002</cx:pt>
          <cx:pt idx="255">6.3190200000000196</cx:pt>
          <cx:pt idx="256">5.63729999999999</cx:pt>
          <cx:pt idx="257">48.634699999999697</cx:pt>
          <cx:pt idx="258">8.1120000000000001</cx:pt>
          <cx:pt idx="259">5.63729999999999</cx:pt>
          <cx:pt idx="260">18.148399999999899</cx:pt>
          <cx:pt idx="261">5.1279999999999903</cx:pt>
          <cx:pt idx="262">5.1279999999999903</cx:pt>
          <cx:pt idx="263">9.0583999999999989</cx:pt>
          <cx:pt idx="264">7.1655999999999995</cx:pt>
          <cx:pt idx="265">9.0583999999999989</cx:pt>
          <cx:pt idx="266">6.03059999999999</cx:pt>
          <cx:pt idx="267">36.543199999999999</cx:pt>
          <cx:pt idx="268">6.4370099999999999</cx:pt>
          <cx:pt idx="269">11.4696</cx:pt>
          <cx:pt idx="270">8.6527999999999992</cx:pt>
          <cx:pt idx="271">5.2561999999999998</cx:pt>
          <cx:pt idx="272">2.9485999999999999</cx:pt>
          <cx:pt idx="273">4.7433999999999994</cx:pt>
          <cx:pt idx="274">13.109999999999999</cx:pt>
          <cx:pt idx="275">4.2305999999999999</cx:pt>
          <cx:pt idx="276">3.8460000000000001</cx:pt>
          <cx:pt idx="277">4.7433999999999994</cx:pt>
          <cx:pt idx="278">5.63729999999999</cx:pt>
          <cx:pt idx="279">9.4451999999999998</cx:pt>
          <cx:pt idx="280">11.328000000000001</cx:pt>
          <cx:pt idx="281">16.764200000000002</cx:pt>
          <cx:pt idx="282">6.5549999999999997</cx:pt>
          <cx:pt idx="283">1.2948200000000001</cx:pt>
          <cx:pt idx="284">38.692799999999998</cx:pt>
          <cx:pt idx="285">45.4102999999999</cx:pt>
          <cx:pt idx="286">5.7683999999999997</cx:pt>
          <cx:pt idx="287">6.6860999999999908</cx:pt>
          <cx:pt idx="288">6.8171999999999997</cx:pt>
          <cx:pt idx="289">10.4175</cx:pt>
          <cx:pt idx="290">10.4175</cx:pt>
          <cx:pt idx="291">5.1279999999999903</cx:pt>
          <cx:pt idx="292">12.825000000000001</cx:pt>
          <cx:pt idx="293">11.328000000000001</cx:pt>
          <cx:pt idx="294">2.6922000000000001</cx:pt>
          <cx:pt idx="295">12.825000000000001</cx:pt>
          <cx:pt idx="296">5.89949999999999</cx:pt>
          <cx:pt idx="297">13.447799999999898</cx:pt>
          <cx:pt idx="298">5.63729999999999</cx:pt>
          <cx:pt idx="299">9.4451999999999998</cx:pt>
          <cx:pt idx="300">5.2561999999999998</cx:pt>
          <cx:pt idx="301">4.3588000000000005</cx:pt>
          <cx:pt idx="302">4.8715999999999999</cx:pt>
          <cx:pt idx="303">5.7683999999999997</cx:pt>
          <cx:pt idx="304">5.2561999999999998</cx:pt>
          <cx:pt idx="305">10.139699999999999</cx:pt>
          <cx:pt idx="306">41.406669999999998</cx:pt>
          <cx:pt idx="307">8.9232000000000014</cx:pt>
          <cx:pt idx="308">6.8171999999999997</cx:pt>
          <cx:pt idx="309">5.7683999999999997</cx:pt>
          <cx:pt idx="310">55.674639999999698</cx:pt>
          <cx:pt idx="311">8.6527999999999992</cx:pt>
          <cx:pt idx="312">10.4175</cx:pt>
          <cx:pt idx="313">3.9741999999999997</cx:pt>
          <cx:pt idx="314">6.3059099999999892</cx:pt>
          <cx:pt idx="315">43.7980999999997</cx:pt>
          <cx:pt idx="316">11.752799999999999</cx:pt>
          <cx:pt idx="317">9.3201899999999895</cx:pt>
          <cx:pt idx="318">7.4359999999999999</cx:pt>
          <cx:pt idx="319">5.7683999999999997</cx:pt>
          <cx:pt idx="320">4.2305999999999999</cx:pt>
          <cx:pt idx="321">6.03059999999999</cx:pt>
          <cx:pt idx="322">5.63729999999999</cx:pt>
          <cx:pt idx="323">5.7683999999999997</cx:pt>
          <cx:pt idx="324">6.5549999999999997</cx:pt>
          <cx:pt idx="325">15.329599999999999</cx:pt>
          <cx:pt idx="326">15.9192</cx:pt>
          <cx:pt idx="327">8.1120000000000001</cx:pt>
          <cx:pt idx="328">6.1616999999999997</cx:pt>
          <cx:pt idx="329">17.2256</cx:pt>
          <cx:pt idx="330">4.1023999999999994</cx:pt>
          <cx:pt idx="331">8.5175999999999998</cx:pt>
          <cx:pt idx="332">3.8460000000000001</cx:pt>
          <cx:pt idx="333">5.89949999999999</cx:pt>
          <cx:pt idx="334">16.764200000000002</cx:pt>
          <cx:pt idx="335">36.543199999999999</cx:pt>
          <cx:pt idx="336">5.5061999999999998</cx:pt>
          <cx:pt idx="337">3.4742199999999896</cx:pt>
          <cx:pt idx="338">5.2561999999999998</cx:pt>
          <cx:pt idx="339">3.9741999999999997</cx:pt>
          <cx:pt idx="340">4.1023999999999994</cx:pt>
          <cx:pt idx="341">7.4359999999999999</cx:pt>
          <cx:pt idx="342">13.109999999999999</cx:pt>
          <cx:pt idx="343">5.63729999999999</cx:pt>
          <cx:pt idx="344">16.779579999999999</cx:pt>
          <cx:pt idx="345">5.7946200000000196</cx:pt>
          <cx:pt idx="346">8.2472000000000012</cx:pt>
          <cx:pt idx="347">11.625359999999899</cx:pt>
          <cx:pt idx="348">3.0768</cx:pt>
          <cx:pt idx="349">9.0583999999999989</cx:pt>
          <cx:pt idx="350">10.834199999999999</cx:pt>
          <cx:pt idx="351">9.0583999999999989</cx:pt>
          <cx:pt idx="352">4.6151999999999997</cx:pt>
          <cx:pt idx="353">5.63729999999999</cx:pt>
          <cx:pt idx="354">2.8203999999999998</cx:pt>
          <cx:pt idx="355">2.9614199999999999</cx:pt>
          <cx:pt idx="356">11.894399999999999</cx:pt>
          <cx:pt idx="357">6.2927999999999997</cx:pt>
          <cx:pt idx="358">10.139699999999999</cx:pt>
          <cx:pt idx="359">10.0008</cx:pt>
          <cx:pt idx="360">12.177599999999899</cx:pt>
          <cx:pt idx="361">7.1655999999999995</cx:pt>
          <cx:pt idx="362">40.573700000000002</cx:pt>
          <cx:pt idx="363">6.1616999999999997</cx:pt>
          <cx:pt idx="364">10.4175</cx:pt>
          <cx:pt idx="365">12.319199999999899</cx:pt>
          <cx:pt idx="366">6.5549999999999997</cx:pt>
          <cx:pt idx="367">6.4239000000000006</cx:pt>
          <cx:pt idx="368">13.5924</cx:pt>
          <cx:pt idx="369">12.036</cx:pt>
          <cx:pt idx="370">2.3204199999999999</cx:pt>
          <cx:pt idx="371">5.63729999999999</cx:pt>
          <cx:pt idx="372">10.7091899999999</cx:pt>
          <cx:pt idx="373">6.8171999999999997</cx:pt>
          <cx:pt idx="374">37.403039999999898</cx:pt>
          <cx:pt idx="375">4.2305999999999999</cx:pt>
          <cx:pt idx="376">7.3008000000000006</cx:pt>
          <cx:pt idx="377">6.2927999999999997</cx:pt>
          <cx:pt idx="378">9.4451999999999998</cx:pt>
          <cx:pt idx="379">8.5175999999999998</cx:pt>
          <cx:pt idx="380">4.8715999999999999</cx:pt>
          <cx:pt idx="381">5.63729999999999</cx:pt>
          <cx:pt idx="382">19.686400000000003</cx:pt>
          <cx:pt idx="383">4.2305999999999999</cx:pt>
          <cx:pt idx="384">4.4870000000000001</cx:pt>
          <cx:pt idx="385">41.917200000000001</cx:pt>
          <cx:pt idx="386">10.278600000000001</cx:pt>
          <cx:pt idx="387">6.8171999999999997</cx:pt>
          <cx:pt idx="388">10.834199999999999</cx:pt>
          <cx:pt idx="389">18.302199999999999</cx:pt>
          <cx:pt idx="390">3.9741999999999997</cx:pt>
          <cx:pt idx="391">8.4094400000000196</cx:pt>
          <cx:pt idx="392">13.736999999999998</cx:pt>
          <cx:pt idx="393">6.6860999999999908</cx:pt>
          <cx:pt idx="394">3.9741999999999997</cx:pt>
          <cx:pt idx="395">8.7880000000000003</cx:pt>
          <cx:pt idx="396">13.1242499999999</cx:pt>
          <cx:pt idx="397">14.74</cx:pt>
          <cx:pt idx="398">12.177599999999899</cx:pt>
          <cx:pt idx="399">6.6860999999999908</cx:pt>
          <cx:pt idx="400">10.278600000000001</cx:pt>
          <cx:pt idx="401">8.6527999999999992</cx:pt>
          <cx:pt idx="402">9.0583999999999989</cx:pt>
          <cx:pt idx="403">5.89949999999999</cx:pt>
          <cx:pt idx="404">17.840799999999902</cx:pt>
          <cx:pt idx="405">10.0008</cx:pt>
          <cx:pt idx="406">6.2927999999999997</cx:pt>
          <cx:pt idx="407">5.7683999999999997</cx:pt>
          <cx:pt idx="408">4.3588000000000005</cx:pt>
          <cx:pt idx="409">13.447799999999999</cx:pt>
          <cx:pt idx="410">5.1279999999999903</cx:pt>
          <cx:pt idx="411">5.7683999999999997</cx:pt>
          <cx:pt idx="412">8.9232000000000014</cx:pt>
          <cx:pt idx="413">5.0254400000000201</cx:pt>
          <cx:pt idx="414">5.1408199999999997</cx:pt>
          <cx:pt idx="415">4.1023999999999994</cx:pt>
          <cx:pt idx="416">64.783569999999997</cx:pt>
          <cx:pt idx="417">6.6860999999999908</cx:pt>
          <cx:pt idx="418">3.8460000000000001</cx:pt>
          <cx:pt idx="419">15.182200000000002</cx:pt>
          <cx:pt idx="420">9.8619000000000003</cx:pt>
          <cx:pt idx="421">5.5061999999999998</cx:pt>
          <cx:pt idx="422">4.2305999999999999</cx:pt>
          <cx:pt idx="423">7.5712000000000002</cx:pt>
          <cx:pt idx="424">8.1120000000000001</cx:pt>
          <cx:pt idx="425">7.7063999999999995</cx:pt>
          <cx:pt idx="426">8.2472000000000012</cx:pt>
          <cx:pt idx="427">6.4239000000000006</cx:pt>
          <cx:pt idx="428">5.7683999999999997</cx:pt>
          <cx:pt idx="429">7.1655999999999995</cx:pt>
          <cx:pt idx="430">10.4175</cx:pt>
          <cx:pt idx="431">10.4175</cx:pt>
          <cx:pt idx="432">5.63729999999999</cx:pt>
          <cx:pt idx="433">4.8715999999999999</cx:pt>
          <cx:pt idx="434">19.394179999999999</cx:pt>
          <cx:pt idx="435">9.4451999999999998</cx:pt>
          <cx:pt idx="436">9.0583999999999989</cx:pt>
          <cx:pt idx="437">4.7433999999999994</cx:pt>
          <cx:pt idx="438">4.4998199999999899</cx:pt>
          <cx:pt idx="439">8.1255199999999999</cx:pt>
          <cx:pt idx="440">7.3008000000000006</cx:pt>
          <cx:pt idx="441">7.8415999999999997</cx:pt>
          <cx:pt idx="442">34.930999999999997</cx:pt>
          <cx:pt idx="443">6.8171999999999997</cx:pt>
          <cx:pt idx="444">13.447799999999999</cx:pt>
          <cx:pt idx="445">4.8715999999999999</cx:pt>
          <cx:pt idx="446">10.431389999999901</cx:pt>
          <cx:pt idx="447">11.4696</cx:pt>
          <cx:pt idx="448">3.7178000000000004</cx:pt>
          <cx:pt idx="449">4.4870000000000001</cx:pt>
          <cx:pt idx="450">6.1616999999999997</cx:pt>
          <cx:pt idx="451">3.4613999999999998</cx:pt>
          <cx:pt idx="452">35.495269999999898</cx:pt>
          <cx:pt idx="453">8.7880000000000003</cx:pt>
          <cx:pt idx="454">8.2472000000000012</cx:pt>
          <cx:pt idx="455">5.5061999999999998</cx:pt>
          <cx:pt idx="456">10.973099999999999</cx:pt>
          <cx:pt idx="457">7.1655999999999995</cx:pt>
          <cx:pt idx="458">5.1279999999999903</cx:pt>
          <cx:pt idx="459">4.2305999999999999</cx:pt>
          <cx:pt idx="460">4.4870000000000001</cx:pt>
          <cx:pt idx="461">10.431389999999901</cx:pt>
          <cx:pt idx="462">9.8619000000000003</cx:pt>
          <cx:pt idx="463">14.0261999999999</cx:pt>
          <cx:pt idx="464">4.8715999999999999</cx:pt>
          <cx:pt idx="465">6.2927999999999997</cx:pt>
          <cx:pt idx="466">36.543199999999999</cx:pt>
          <cx:pt idx="467">5.1279999999999903</cx:pt>
          <cx:pt idx="468">12.825000000000001</cx:pt>
          <cx:pt idx="469">9.5840999999999994</cx:pt>
          <cx:pt idx="470">3.4613999999999998</cx:pt>
          <cx:pt idx="471">11.328000000000001</cx:pt>
          <cx:pt idx="472">5.63729999999999</cx:pt>
          <cx:pt idx="473">10.4175</cx:pt>
          <cx:pt idx="474">9.8896800000000198</cx:pt>
          <cx:pt idx="475">4.1023999999999994</cx:pt>
          <cx:pt idx="476">3.9741999999999997</cx:pt>
          <cx:pt idx="477">15.182200000000002</cx:pt>
          <cx:pt idx="478">10.5564</cx:pt>
          <cx:pt idx="479">8.1120000000000001</cx:pt>
          <cx:pt idx="480">7.1655999999999995</cx:pt>
          <cx:pt idx="481">3.8460000000000001</cx:pt>
          <cx:pt idx="482">34.930999999999997</cx:pt>
          <cx:pt idx="483">16.917999999999999</cx:pt>
          <cx:pt idx="484">11.328000000000001</cx:pt>
          <cx:pt idx="485">17.533199999999997</cx:pt>
          <cx:pt idx="486">6.5812200000000196</cx:pt>
          <cx:pt idx="487">38.692799999999998</cx:pt>
          <cx:pt idx="488">44.872899999999902</cx:pt>
          <cx:pt idx="489">10.4175</cx:pt>
          <cx:pt idx="490">4.3588000000000005</cx:pt>
          <cx:pt idx="491">3.0768</cx:pt>
          <cx:pt idx="492">12.967500000000001</cx:pt>
          <cx:pt idx="493">9.0583999999999989</cx:pt>
          <cx:pt idx="494">4.2305999999999999</cx:pt>
          <cx:pt idx="495">19.378799999999998</cx:pt>
          <cx:pt idx="496">12.036</cx:pt>
          <cx:pt idx="497">14.0261999999999</cx:pt>
          <cx:pt idx="498">5.7683999999999997</cx:pt>
          <cx:pt idx="499">8.5175999999999998</cx:pt>
          <cx:pt idx="500">10.5564</cx:pt>
          <cx:pt idx="501">7.9767999999999892</cx:pt>
          <cx:pt idx="502">15.6244</cx:pt>
          <cx:pt idx="503">4.3588000000000005</cx:pt>
          <cx:pt idx="504">8.5175999999999998</cx:pt>
          <cx:pt idx="505">4.4870000000000001</cx:pt>
          <cx:pt idx="506">15.476999999999999</cx:pt>
          <cx:pt idx="507">51.590400000000002</cx:pt>
          <cx:pt idx="508">9.0583999999999989</cx:pt>
          <cx:pt idx="509">12.602399999999999</cx:pt>
          <cx:pt idx="510">18.302199999999999</cx:pt>
          <cx:pt idx="511">10.5564</cx:pt>
          <cx:pt idx="512">5.2561999999999998</cx:pt>
          <cx:pt idx="513">6.5549999999999997</cx:pt>
          <cx:pt idx="514">16.764200000000002</cx:pt>
          <cx:pt idx="515">7.1791200000000002</cx:pt>
          <cx:pt idx="516">9.722999999999999</cx:pt>
          <cx:pt idx="517">6.8171999999999997</cx:pt>
          <cx:pt idx="518">11.611199999999899</cx:pt>
          <cx:pt idx="519">18.148399999999899</cx:pt>
          <cx:pt idx="520">37.080599999999905</cx:pt>
          <cx:pt idx="521">2.3075999999999999</cx:pt>
          <cx:pt idx="522">9.722999999999999</cx:pt>
          <cx:pt idx="523">3.2050000000000001</cx:pt>
          <cx:pt idx="524">5.2690199999999905</cx:pt>
          <cx:pt idx="525">35.495269999999898</cx:pt>
          <cx:pt idx="526">4.6151999999999997</cx:pt>
          <cx:pt idx="527">6.4239000000000006</cx:pt>
          <cx:pt idx="528">5.2818400000000203</cx:pt>
          <cx:pt idx="529">3.7178000000000004</cx:pt>
          <cx:pt idx="530">8.6527999999999992</cx:pt>
          <cx:pt idx="531">7.4359999999999999</cx:pt>
          <cx:pt idx="532">5.5061999999999998</cx:pt>
          <cx:pt idx="533">4.3588000000000005</cx:pt>
          <cx:pt idx="534">3.3332000000000002</cx:pt>
          <cx:pt idx="535">12.602399999999999</cx:pt>
          <cx:pt idx="536">15.9192</cx:pt>
          <cx:pt idx="537">8.3823999999999987</cx:pt>
          <cx:pt idx="538">8.9232000000000014</cx:pt>
          <cx:pt idx="539">10.834199999999999</cx:pt>
          <cx:pt idx="540">36.274499999999996</cx:pt>
          <cx:pt idx="541">15.6244</cx:pt>
          <cx:pt idx="542">8.7880000000000003</cx:pt>
          <cx:pt idx="543">11.752799999999999</cx:pt>
          <cx:pt idx="544">7.3008000000000006</cx:pt>
          <cx:pt idx="545">5.2561999999999998</cx:pt>
          <cx:pt idx="546">11.894399999999999</cx:pt>
          <cx:pt idx="547">10.973099999999999</cx:pt>
          <cx:pt idx="548">15.034799999999901</cx:pt>
          <cx:pt idx="549">8.7880000000000003</cx:pt>
          <cx:pt idx="550">13.896059999999899</cx:pt>
          <cx:pt idx="551">10.5564</cx:pt>
          <cx:pt idx="552">3.4742199999999896</cx:pt>
          <cx:pt idx="553">3.8460000000000001</cx:pt>
          <cx:pt idx="554">5.7683999999999997</cx:pt>
          <cx:pt idx="555">7.5712000000000002</cx:pt>
          <cx:pt idx="556">8.7880000000000003</cx:pt>
          <cx:pt idx="557">5.63729999999999</cx:pt>
          <cx:pt idx="558">41.379800000000003</cx:pt>
          <cx:pt idx="559">15.182200000000002</cx:pt>
          <cx:pt idx="560">3.9741999999999997</cx:pt>
          <cx:pt idx="561">8.9232000000000014</cx:pt>
          <cx:pt idx="562">4.7433999999999994</cx:pt>
          <cx:pt idx="563">16.917999999999999</cx:pt>
          <cx:pt idx="564">4.8715999999999999</cx:pt>
          <cx:pt idx="565">9.722999999999999</cx:pt>
          <cx:pt idx="566">8.2472000000000012</cx:pt>
          <cx:pt idx="567">4.2305999999999999</cx:pt>
          <cx:pt idx="568">10.4175</cx:pt>
          <cx:pt idx="569">18.456</cx:pt>
          <cx:pt idx="570">7.8415999999999997</cx:pt>
          <cx:pt idx="571">12.4607999999999</cx:pt>
          <cx:pt idx="572">6.2927999999999997</cx:pt>
          <cx:pt idx="573">3.9741999999999997</cx:pt>
          <cx:pt idx="574">3.3332000000000002</cx:pt>
          <cx:pt idx="575">8.9232000000000014</cx:pt>
          <cx:pt idx="576">7.4359999999999999</cx:pt>
          <cx:pt idx="577">6.4239000000000006</cx:pt>
          <cx:pt idx="578">4.3588000000000005</cx:pt>
          <cx:pt idx="579">8.9232000000000014</cx:pt>
          <cx:pt idx="580">5.63729999999999</cx:pt>
          <cx:pt idx="581">7.7063999999999995</cx:pt>
          <cx:pt idx="582">7.5712000000000002</cx:pt>
          <cx:pt idx="583">6.6860999999999908</cx:pt>
          <cx:pt idx="584">10.5564</cx:pt>
          <cx:pt idx="585">6.1616999999999997</cx:pt>
          <cx:pt idx="586">5.7683999999999997</cx:pt>
          <cx:pt idx="587">8.6527999999999992</cx:pt>
          <cx:pt idx="588">6.6860999999999908</cx:pt>
          <cx:pt idx="589">3.9741999999999997</cx:pt>
          <cx:pt idx="590">15.329599999999999</cx:pt>
          <cx:pt idx="591">7.9767999999999892</cx:pt>
          <cx:pt idx="592">8.2472000000000012</cx:pt>
          <cx:pt idx="593">10.973099999999999</cx:pt>
          <cx:pt idx="594">5.7683999999999997</cx:pt>
          <cx:pt idx="595">6.6860999999999908</cx:pt>
          <cx:pt idx="596">2.0511999999999997</cx:pt>
          <cx:pt idx="597">4.4870000000000001</cx:pt>
          <cx:pt idx="598">11.611199999999899</cx:pt>
          <cx:pt idx="599">3.5895999999999999</cx:pt>
          <cx:pt idx="600">8.260720000000001</cx:pt>
          <cx:pt idx="601">3.5895999999999999</cx:pt>
          <cx:pt idx="602">5.89949999999999</cx:pt>
          <cx:pt idx="603">5.63729999999999</cx:pt>
          <cx:pt idx="604">18.302199999999999</cx:pt>
          <cx:pt idx="605">8.9232000000000014</cx:pt>
          <cx:pt idx="606">5.89949999999999</cx:pt>
          <cx:pt idx="607">4.6151999999999997</cx:pt>
          <cx:pt idx="608">16.625780000000002</cx:pt>
          <cx:pt idx="609">4.2305999999999999</cx:pt>
          <cx:pt idx="610">5.1279999999999903</cx:pt>
          <cx:pt idx="611">10.5564</cx:pt>
          <cx:pt idx="612">5.1279999999999903</cx:pt>
          <cx:pt idx="613">3.08962</cx:pt>
          <cx:pt idx="614">6.6860999999999908</cx:pt>
          <cx:pt idx="615">8.1120000000000001</cx:pt>
          <cx:pt idx="616">10.0008</cx:pt>
          <cx:pt idx="617">15.9192</cx:pt>
          <cx:pt idx="618">6.2927999999999997</cx:pt>
          <cx:pt idx="619">3.8460000000000001</cx:pt>
          <cx:pt idx="620">3.2178199999999997</cx:pt>
          <cx:pt idx="621">10.139699999999999</cx:pt>
          <cx:pt idx="622">6.6860999999999908</cx:pt>
          <cx:pt idx="623">6.1616999999999997</cx:pt>
          <cx:pt idx="624">5.2690199999999905</cx:pt>
          <cx:pt idx="625">4.9998000000000005</cx:pt>
          <cx:pt idx="626">7.7063999999999995</cx:pt>
          <cx:pt idx="627">11.894399999999999</cx:pt>
          <cx:pt idx="628">6.4239000000000006</cx:pt>
          <cx:pt idx="629">6.03059999999999</cx:pt>
          <cx:pt idx="630">7.1655999999999995</cx:pt>
          <cx:pt idx="631">18.302199999999999</cx:pt>
          <cx:pt idx="632">11.328000000000001</cx:pt>
          <cx:pt idx="633">12.8249999999999</cx:pt>
          <cx:pt idx="634">6.5549999999999997</cx:pt>
          <cx:pt idx="635">4.1023999999999994</cx:pt>
          <cx:pt idx="636">12.967500000000001</cx:pt>
          <cx:pt idx="637">4.6151999999999997</cx:pt>
          <cx:pt idx="638">8.2472000000000012</cx:pt>
          <cx:pt idx="639">13.881599999999899</cx:pt>
          <cx:pt idx="640">5.1279999999999903</cx:pt>
          <cx:pt idx="641">35.1997</cx:pt>
          <cx:pt idx="642">15.491739999999901</cx:pt>
          <cx:pt idx="643">10.5564</cx:pt>
          <cx:pt idx="644">8.6527999999999992</cx:pt>
          <cx:pt idx="645">8.6527999999999992</cx:pt>
          <cx:pt idx="646">7.9767999999999892</cx:pt>
          <cx:pt idx="647">10.5564</cx:pt>
          <cx:pt idx="648">3.7178000000000004</cx:pt>
          <cx:pt idx="649">5.89949999999999</cx:pt>
          <cx:pt idx="650">7.4359999999999999</cx:pt>
          <cx:pt idx="651">6.03059999999999</cx:pt>
          <cx:pt idx="652">6.6860999999999908</cx:pt>
          <cx:pt idx="653">11.611199999999899</cx:pt>
          <cx:pt idx="654">3.9741999999999997</cx:pt>
          <cx:pt idx="655">17.994599999999998</cx:pt>
          <cx:pt idx="656">47.828600000000002</cx:pt>
          <cx:pt idx="657">26.628170000000001</cx:pt>
          <cx:pt idx="658">12.16558</cx:pt>
          <cx:pt idx="659">3.68391</cx:pt>
          <cx:pt idx="660">2.7050200000000002</cx:pt>
          <cx:pt idx="661">3.55281</cx:pt>
          <cx:pt idx="662">9.30093999999999</cx:pt>
          <cx:pt idx="663">10.774939999999999</cx:pt>
          <cx:pt idx="664">12.16558</cx:pt>
          <cx:pt idx="665">4.74552</cx:pt>
          <cx:pt idx="666">14.16498</cx:pt>
          <cx:pt idx="667">28.025410000000001</cx:pt>
          <cx:pt idx="668">31.464769999999998</cx:pt>
          <cx:pt idx="669">28.509069999999998</cx:pt>
          <cx:pt idx="670">4.4751199999999995</cx:pt>
          <cx:pt idx="671">3.42171</cx:pt>
          <cx:pt idx="672">13.857379999999999</cx:pt>
          <cx:pt idx="673">9.1535399999999907</cx:pt>
          <cx:pt idx="674">8.5639399999999899</cx:pt>
        </cx:lvl>
      </cx:numDim>
    </cx:data>
    <cx:data id="7">
      <cx:numDim type="val">
        <cx:f>Sheet2!$H$2:$H$11265</cx:f>
        <cx:lvl ptCount="11264" formatCode="General">
          <cx:pt idx="0">19.378799999999998</cx:pt>
          <cx:pt idx="1">34.662300000000002</cx:pt>
          <cx:pt idx="2">15.771799999999999</cx:pt>
          <cx:pt idx="3">4.1023999999999994</cx:pt>
          <cx:pt idx="4">36.811899999999895</cx:pt>
          <cx:pt idx="5">35.1997</cx:pt>
          <cx:pt idx="6">12.050159999999901</cx:pt>
          <cx:pt idx="7">5.5061999999999998</cx:pt>
          <cx:pt idx="8">14.1707999999999</cx:pt>
          <cx:pt idx="9">13.881599999999899</cx:pt>
          <cx:pt idx="10">35.468400000000003</cx:pt>
          <cx:pt idx="11">10.6952999999999</cx:pt>
          <cx:pt idx="12">46.485100000000003</cx:pt>
          <cx:pt idx="13">43.2607</cx:pt>
          <cx:pt idx="14">13.1242499999999</cx:pt>
          <cx:pt idx="15">5.89949999999999</cx:pt>
          <cx:pt idx="16">11.4696</cx:pt>
          <cx:pt idx="17">12.177599999999899</cx:pt>
          <cx:pt idx="18">5.2561999999999998</cx:pt>
          <cx:pt idx="19">14.0406599999999</cx:pt>
          <cx:pt idx="20">46.485100000000003</cx:pt>
          <cx:pt idx="21">49.978200000000001</cx:pt>
          <cx:pt idx="22">10.973099999999999</cx:pt>
          <cx:pt idx="23">10.973099999999999</cx:pt>
          <cx:pt idx="24">13.1099999999999</cx:pt>
          <cx:pt idx="25">4.3588000000000005</cx:pt>
          <cx:pt idx="26">15.9192</cx:pt>
          <cx:pt idx="27">16.764200000000002</cx:pt>
          <cx:pt idx="28">18.302199999999999</cx:pt>
          <cx:pt idx="29">13.1242499999999</cx:pt>
          <cx:pt idx="30">46.243269999999995</cx:pt>
          <cx:pt idx="31">7.5982400000000201</cx:pt>
          <cx:pt idx="32">35.495269999999898</cx:pt>
          <cx:pt idx="33">17.840799999999902</cx:pt>
          <cx:pt idx="34">8.2472000000000012</cx:pt>
          <cx:pt idx="35">38.692799999999998</cx:pt>
          <cx:pt idx="36">35.1997</cx:pt>
          <cx:pt idx="37">56.480739999999997</cx:pt>
          <cx:pt idx="38">40.305</cx:pt>
          <cx:pt idx="39">13.751459999999899</cx:pt>
          <cx:pt idx="40">41.917200000000001</cx:pt>
          <cx:pt idx="41">13.1242499999999</cx:pt>
          <cx:pt idx="42">17.840799999999902</cx:pt>
          <cx:pt idx="43">19.686400000000003</cx:pt>
          <cx:pt idx="44">45.141599999999698</cx:pt>
          <cx:pt idx="45">44.631070000000001</cx:pt>
          <cx:pt idx="46">41.917200000000001</cx:pt>
          <cx:pt idx="47">36.005800000000001</cx:pt>
          <cx:pt idx="48">15.034799999999901</cx:pt>
          <cx:pt idx="49">39.767599999999995</cx:pt>
          <cx:pt idx="50">36.005800000000001</cx:pt>
          <cx:pt idx="51">12.8249999999999</cx:pt>
          <cx:pt idx="52">7.8415999999999997</cx:pt>
          <cx:pt idx="53">51.052999999999905</cx:pt>
          <cx:pt idx="54">16.917999999999999</cx:pt>
          <cx:pt idx="55">6.03059999999999</cx:pt>
          <cx:pt idx="56">12.177599999999899</cx:pt>
          <cx:pt idx="57">15.034799999999901</cx:pt>
          <cx:pt idx="58">41.137969999999704</cx:pt>
          <cx:pt idx="59">43.798099999999998</cx:pt>
          <cx:pt idx="60">19.071199999999997</cx:pt>
          <cx:pt idx="61">19.101960000000002</cx:pt>
          <cx:pt idx="62">13.751459999999899</cx:pt>
          <cx:pt idx="63">10.986989999999899</cx:pt>
          <cx:pt idx="64">34.662300000000002</cx:pt>
          <cx:pt idx="65">55.889599999999994</cx:pt>
          <cx:pt idx="66">43.798099999999998</cx:pt>
          <cx:pt idx="67">37.886699999999998</cx:pt>
          <cx:pt idx="68">4.3588000000000005</cx:pt>
          <cx:pt idx="69">7.8415999999999997</cx:pt>
          <cx:pt idx="70">11.625359999999899</cx:pt>
          <cx:pt idx="71">14.739999999999901</cx:pt>
          <cx:pt idx="72">19.225000000000001</cx:pt>
          <cx:pt idx="73">17.394779999999898</cx:pt>
          <cx:pt idx="74">15.6244</cx:pt>
          <cx:pt idx="75">5.1279999999999903</cx:pt>
          <cx:pt idx="76">8.9232000000000014</cx:pt>
          <cx:pt idx="77">44.335500000000003</cx:pt>
          <cx:pt idx="78">34.662300000000002</cx:pt>
          <cx:pt idx="79">18.148399999999899</cx:pt>
          <cx:pt idx="80">17.702379999999902</cx:pt>
          <cx:pt idx="81">7.4495199999999997</cx:pt>
          <cx:pt idx="82">12.9817499999999</cx:pt>
          <cx:pt idx="83">19.378799999999998</cx:pt>
          <cx:pt idx="84">9.4451999999999998</cx:pt>
          <cx:pt idx="85">3.8460000000000001</cx:pt>
          <cx:pt idx="86">14.1708</cx:pt>
          <cx:pt idx="87">6.6860999999999908</cx:pt>
          <cx:pt idx="88">19.071199999999997</cx:pt>
          <cx:pt idx="89">46.753799999999998</cx:pt>
          <cx:pt idx="90">8.3823999999999987</cx:pt>
          <cx:pt idx="91">6.0437099999999999</cx:pt>
          <cx:pt idx="92">18.456</cx:pt>
          <cx:pt idx="93">52.396499999999705</cx:pt>
          <cx:pt idx="94">15.6244</cx:pt>
          <cx:pt idx="95">18.148399999999899</cx:pt>
          <cx:pt idx="96">10.139699999999999</cx:pt>
          <cx:pt idx="97">41.137970000000003</cx:pt>
          <cx:pt idx="98">17.0718</cx:pt>
          <cx:pt idx="99">9.722999999999999</cx:pt>
          <cx:pt idx="100">18.302199999999999</cx:pt>
          <cx:pt idx="101">15.182200000000002</cx:pt>
          <cx:pt idx="102">41.917200000000001</cx:pt>
          <cx:pt idx="103">11.4696</cx:pt>
          <cx:pt idx="104">16.917999999999999</cx:pt>
          <cx:pt idx="105">8.7880000000000003</cx:pt>
          <cx:pt idx="106">10.834199999999999</cx:pt>
          <cx:pt idx="107">9.4451999999999998</cx:pt>
          <cx:pt idx="108">14.0261999999999</cx:pt>
          <cx:pt idx="109">51.617269999999905</cx:pt>
          <cx:pt idx="110">15.771799999999999</cx:pt>
          <cx:pt idx="111">15.771799999999999</cx:pt>
          <cx:pt idx="112">10.431389999999901</cx:pt>
          <cx:pt idx="113">35.763969999999901</cx:pt>
          <cx:pt idx="114">41.648499999999999</cx:pt>
          <cx:pt idx="115">14.739999999999901</cx:pt>
          <cx:pt idx="116">13.751459999999998</cx:pt>
          <cx:pt idx="117">8.5175999999999998</cx:pt>
          <cx:pt idx="118">16.764200000000002</cx:pt>
          <cx:pt idx="119">15.04954</cx:pt>
          <cx:pt idx="120">15.9192</cx:pt>
          <cx:pt idx="121">34.662300000000002</cx:pt>
          <cx:pt idx="122">15.06428</cx:pt>
          <cx:pt idx="123">41.379799999999697</cx:pt>
          <cx:pt idx="124">43.529399999999903</cx:pt>
          <cx:pt idx="125">44.604199999999999</cx:pt>
          <cx:pt idx="126">19.378799999999998</cx:pt>
          <cx:pt idx="127">12.4607999999999</cx:pt>
          <cx:pt idx="128">46.216399999999901</cx:pt>
          <cx:pt idx="129">37.913569999999702</cx:pt>
          <cx:pt idx="130">38.692799999999998</cx:pt>
          <cx:pt idx="131">17.533199999999997</cx:pt>
          <cx:pt idx="132">5.89949999999999</cx:pt>
          <cx:pt idx="133">36.543199999999999</cx:pt>
          <cx:pt idx="134">41.675370000000001</cx:pt>
          <cx:pt idx="135">6.1748099999999999</cx:pt>
          <cx:pt idx="136">49.709499999999998</cx:pt>
          <cx:pt idx="137">1.6794199999999999</cx:pt>
          <cx:pt idx="138">35.1997</cx:pt>
          <cx:pt idx="139">19.686400000000003</cx:pt>
          <cx:pt idx="140">45.678999999999995</cx:pt>
          <cx:pt idx="141">7.3008000000000006</cx:pt>
          <cx:pt idx="142">14.75474</cx:pt>
          <cx:pt idx="143">55.110369999999698</cx:pt>
          <cx:pt idx="144">35.495269999999898</cx:pt>
          <cx:pt idx="145">13.881599999999899</cx:pt>
          <cx:pt idx="146">35.737099999999998</cx:pt>
          <cx:pt idx="147">18.917400000000001</cx:pt>
          <cx:pt idx="148">13.1242499999999</cx:pt>
          <cx:pt idx="149">45.678999999999995</cx:pt>
          <cx:pt idx="150">41.379800000000003</cx:pt>
          <cx:pt idx="151">44.093670000000003</cx:pt>
          <cx:pt idx="152">3.3332000000000002</cx:pt>
          <cx:pt idx="153">18.4713799999999</cx:pt>
          <cx:pt idx="154">15.034799999999901</cx:pt>
          <cx:pt idx="155">39.230199999999897</cx:pt>
          <cx:pt idx="156">37.3492999999999</cx:pt>
          <cx:pt idx="157">3.7178000000000004</cx:pt>
          <cx:pt idx="158">14.1708</cx:pt>
          <cx:pt idx="159">18.778979999999901</cx:pt>
          <cx:pt idx="160">17.24098</cx:pt>
          <cx:pt idx="161">11.639520000000001</cx:pt>
          <cx:pt idx="162">47.291200000000003</cx:pt>
          <cx:pt idx="163">19.686400000000003</cx:pt>
          <cx:pt idx="164">9.722999999999999</cx:pt>
          <cx:pt idx="165">12.319199999999899</cx:pt>
          <cx:pt idx="166">43.018869999999701</cx:pt>
          <cx:pt idx="167">12.995999999999999</cx:pt>
          <cx:pt idx="168">36.570070000000001</cx:pt>
          <cx:pt idx="169">43.798099999999998</cx:pt>
          <cx:pt idx="170">18.163779999999999</cx:pt>
          <cx:pt idx="171">4.4998199999999899</cx:pt>
          <cx:pt idx="172">15.329599999999999</cx:pt>
          <cx:pt idx="173">36.005800000000001</cx:pt>
          <cx:pt idx="174">42.185899999999997</cx:pt>
          <cx:pt idx="175">45.705869999999997</cx:pt>
          <cx:pt idx="176">4.6151999999999997</cx:pt>
          <cx:pt idx="177">13.881599999999899</cx:pt>
          <cx:pt idx="178">34.662300000000002</cx:pt>
          <cx:pt idx="179">10.139699999999999</cx:pt>
          <cx:pt idx="180">37.886699999999998</cx:pt>
          <cx:pt idx="181">34.930999999999997</cx:pt>
          <cx:pt idx="182">4.4870000000000001</cx:pt>
          <cx:pt idx="183">15.9192</cx:pt>
          <cx:pt idx="184">36.543199999999999</cx:pt>
          <cx:pt idx="185">16.764200000000002</cx:pt>
          <cx:pt idx="186">17.840799999999902</cx:pt>
          <cx:pt idx="187">38.424100000000003</cx:pt>
          <cx:pt idx="188">8.6527999999999992</cx:pt>
          <cx:pt idx="189">17.840799999999902</cx:pt>
          <cx:pt idx="190">36.811899999999895</cx:pt>
          <cx:pt idx="191">16.94876</cx:pt>
          <cx:pt idx="192">9.5840999999999994</cx:pt>
          <cx:pt idx="193">14.1707999999999</cx:pt>
          <cx:pt idx="194">4.6151999999999997</cx:pt>
          <cx:pt idx="195">6.03059999999999</cx:pt>
          <cx:pt idx="196">13.1242499999999</cx:pt>
          <cx:pt idx="197">37.080599999999905</cx:pt>
          <cx:pt idx="198">9.4451999999999998</cx:pt>
          <cx:pt idx="199">47.049370000000003</cx:pt>
          <cx:pt idx="200">15.034799999999901</cx:pt>
          <cx:pt idx="201">3.9741999999999997</cx:pt>
          <cx:pt idx="202">15.6244</cx:pt>
          <cx:pt idx="203">3.5895999999999999</cx:pt>
          <cx:pt idx="204">41.379800000000003</cx:pt>
          <cx:pt idx="205">52.396500000000003</cx:pt>
          <cx:pt idx="206">45.678999999999697</cx:pt>
          <cx:pt idx="207">4.7433999999999994</cx:pt>
          <cx:pt idx="208">17.687000000000001</cx:pt>
          <cx:pt idx="209">7.5712000000000002</cx:pt>
          <cx:pt idx="210">13.1242499999999</cx:pt>
          <cx:pt idx="211">9.722999999999999</cx:pt>
          <cx:pt idx="212">15.491739999999901</cx:pt>
          <cx:pt idx="213">52.127799999999901</cx:pt>
          <cx:pt idx="214">17.994599999999998</cx:pt>
          <cx:pt idx="215">50.273769999999999</cx:pt>
          <cx:pt idx="216">38.182270000000003</cx:pt>
          <cx:pt idx="217">18.917400000000001</cx:pt>
          <cx:pt idx="218">13.736999999999899</cx:pt>
          <cx:pt idx="219">14.0261999999999</cx:pt>
          <cx:pt idx="220">14.315399999999901</cx:pt>
          <cx:pt idx="221">5.2561999999999998</cx:pt>
          <cx:pt idx="222">43.529399999999903</cx:pt>
          <cx:pt idx="223">11.7669599999999</cx:pt>
          <cx:pt idx="224">14.315399999999901</cx:pt>
          <cx:pt idx="225">48.366</cx:pt>
          <cx:pt idx="226">17.856179999999998</cx:pt>
          <cx:pt idx="227">18.4713799999999</cx:pt>
          <cx:pt idx="228">18.33296</cx:pt>
          <cx:pt idx="229">15.771799999999999</cx:pt>
          <cx:pt idx="230">7.4359999999999999</cx:pt>
          <cx:pt idx="231">6.4239000000000006</cx:pt>
          <cx:pt idx="232">17.687000000000001</cx:pt>
          <cx:pt idx="233">14.3154</cx:pt>
          <cx:pt idx="234">36.005800000000001</cx:pt>
          <cx:pt idx="235">38.961499999999901</cx:pt>
          <cx:pt idx="236">19.071199999999997</cx:pt>
          <cx:pt idx="237">45.678999999999995</cx:pt>
          <cx:pt idx="238">71.474199999999698</cx:pt>
          <cx:pt idx="239">4.4870000000000001</cx:pt>
          <cx:pt idx="240">35.468400000000003</cx:pt>
          <cx:pt idx="241">51.3216999999999</cx:pt>
          <cx:pt idx="242">11.894399999999999</cx:pt>
          <cx:pt idx="243">9.5840999999999994</cx:pt>
          <cx:pt idx="244">16.917999999999999</cx:pt>
          <cx:pt idx="245">36.811899999999895</cx:pt>
          <cx:pt idx="246">7.4359999999999999</cx:pt>
          <cx:pt idx="247">3.8460000000000001</cx:pt>
          <cx:pt idx="248">16.93338</cx:pt>
          <cx:pt idx="249">36.274499999999996</cx:pt>
          <cx:pt idx="250">51.106739999999697</cx:pt>
          <cx:pt idx="251">13.1242499999999</cx:pt>
          <cx:pt idx="252">6.6860999999999908</cx:pt>
          <cx:pt idx="253">14.0261999999999</cx:pt>
          <cx:pt idx="254">9.8619000000000003</cx:pt>
          <cx:pt idx="255">5.63729999999999</cx:pt>
          <cx:pt idx="256">15.491739999999901</cx:pt>
          <cx:pt idx="257">13.881599999999899</cx:pt>
          <cx:pt idx="258">3.8460000000000001</cx:pt>
          <cx:pt idx="259">45.4102999999999</cx:pt>
          <cx:pt idx="260">7.4495199999999997</cx:pt>
          <cx:pt idx="261">7.8415999999999997</cx:pt>
          <cx:pt idx="262">15.344340000000001</cx:pt>
          <cx:pt idx="263">37.886699999999998</cx:pt>
          <cx:pt idx="264">14.739999999999901</cx:pt>
          <cx:pt idx="265">15.344340000000001</cx:pt>
          <cx:pt idx="266">49.709499999999998</cx:pt>
          <cx:pt idx="267">47.022500000000001</cx:pt>
          <cx:pt idx="268">15.6244</cx:pt>
          <cx:pt idx="269">18.148399999999899</cx:pt>
          <cx:pt idx="270">41.917200000000001</cx:pt>
          <cx:pt idx="271">74.429899999999705</cx:pt>
          <cx:pt idx="272">17.3794</cx:pt>
          <cx:pt idx="273">13.780380000000001</cx:pt>
          <cx:pt idx="274">5.63729999999999</cx:pt>
          <cx:pt idx="275">46.753799999999998</cx:pt>
          <cx:pt idx="276">45.437170000000002</cx:pt>
          <cx:pt idx="277">19.086580000000001</cx:pt>
          <cx:pt idx="278">17.24098</cx:pt>
          <cx:pt idx="279">55.083499999999994</cx:pt>
          <cx:pt idx="280">16.625780000000002</cx:pt>
          <cx:pt idx="281">39.257069999999999</cx:pt>
          <cx:pt idx="282">19.378799999999998</cx:pt>
          <cx:pt idx="283">10.0008</cx:pt>
          <cx:pt idx="284">13.606859999999902</cx:pt>
          <cx:pt idx="285">5.2561999999999998</cx:pt>
          <cx:pt idx="286">19.394179999999999</cx:pt>
          <cx:pt idx="287">8.9232000000000014</cx:pt>
          <cx:pt idx="288">16.764200000000002</cx:pt>
          <cx:pt idx="289">14.0261999999999</cx:pt>
          <cx:pt idx="290">9.4451999999999998</cx:pt>
          <cx:pt idx="291">8.3959200000000003</cx:pt>
          <cx:pt idx="292">13.5924</cx:pt>
          <cx:pt idx="293">4.3588000000000005</cx:pt>
          <cx:pt idx="294">15.6244</cx:pt>
          <cx:pt idx="295">37.618000000000002</cx:pt>
          <cx:pt idx="296">12.4607999999999</cx:pt>
          <cx:pt idx="297">37.618000000000002</cx:pt>
          <cx:pt idx="298">40.86927</cx:pt>
          <cx:pt idx="299">51.321699999999701</cx:pt>
          <cx:pt idx="300">16.764200000000002</cx:pt>
          <cx:pt idx="301">6.4239000000000006</cx:pt>
          <cx:pt idx="302">40.573700000000002</cx:pt>
          <cx:pt idx="303">55.620899999999992</cx:pt>
          <cx:pt idx="304">34.930999999999997</cx:pt>
          <cx:pt idx="305">38.424100000000003</cx:pt>
          <cx:pt idx="306">14.0261999999999</cx:pt>
          <cx:pt idx="307">18.778979999999901</cx:pt>
          <cx:pt idx="308">10.139699999999999</cx:pt>
          <cx:pt idx="309">13.881599999999999</cx:pt>
          <cx:pt idx="310">54.814799999999998</cx:pt>
          <cx:pt idx="311">38.424100000000003</cx:pt>
          <cx:pt idx="312">10.278600000000001</cx:pt>
          <cx:pt idx="313">18.7636</cx:pt>
          <cx:pt idx="314">15.6244</cx:pt>
          <cx:pt idx="315">14.3154</cx:pt>
          <cx:pt idx="316">10.278600000000001</cx:pt>
          <cx:pt idx="317">3.9741999999999997</cx:pt>
          <cx:pt idx="318">36.005800000000001</cx:pt>
          <cx:pt idx="319">13.881599999999899</cx:pt>
          <cx:pt idx="320">39.498899999999999</cx:pt>
          <cx:pt idx="321">36.274499999999996</cx:pt>
          <cx:pt idx="322">7.5712000000000002</cx:pt>
          <cx:pt idx="323">18.302199999999999</cx:pt>
          <cx:pt idx="324">8.5175999999999998</cx:pt>
          <cx:pt idx="325">11.752799999999999</cx:pt>
          <cx:pt idx="326">3.9741999999999997</cx:pt>
          <cx:pt idx="327">18.932779999999998</cx:pt>
          <cx:pt idx="328">13.1242499999999</cx:pt>
          <cx:pt idx="329">7.8415999999999997</cx:pt>
          <cx:pt idx="330">13.881599999999899</cx:pt>
          <cx:pt idx="331">35.495269999999898</cx:pt>
          <cx:pt idx="332">47.828600000000002</cx:pt>
          <cx:pt idx="333">51.375439999999692</cx:pt>
          <cx:pt idx="334">43.2607</cx:pt>
          <cx:pt idx="335">13.751459999999899</cx:pt>
          <cx:pt idx="336">36.274499999999996</cx:pt>
          <cx:pt idx="337">9.5840999999999994</cx:pt>
          <cx:pt idx="338">17.24098</cx:pt>
          <cx:pt idx="339">43.01887</cx:pt>
          <cx:pt idx="340">38.424100000000003</cx:pt>
          <cx:pt idx="341">18.7636</cx:pt>
          <cx:pt idx="342">9.4451999999999998</cx:pt>
          <cx:pt idx="343">13.1242499999999</cx:pt>
          <cx:pt idx="344">18.302199999999999</cx:pt>
          <cx:pt idx="345">39.767599999999995</cx:pt>
          <cx:pt idx="346">17.687000000000001</cx:pt>
          <cx:pt idx="347">10.5702899999999</cx:pt>
          <cx:pt idx="348">10.139699999999999</cx:pt>
          <cx:pt idx="349">10.7091899999999</cx:pt>
          <cx:pt idx="350">37.618000000000002</cx:pt>
          <cx:pt idx="351">19.378799999999998</cx:pt>
          <cx:pt idx="352">37.886699999999998</cx:pt>
          <cx:pt idx="353">18.917400000000001</cx:pt>
          <cx:pt idx="354">36.811899999999895</cx:pt>
          <cx:pt idx="355">48.634699999999995</cx:pt>
          <cx:pt idx="356">45.141599999999698</cx:pt>
          <cx:pt idx="357">36.570070000000001</cx:pt>
          <cx:pt idx="358">42.723299999999995</cx:pt>
          <cx:pt idx="359">17.687000000000001</cx:pt>
          <cx:pt idx="360">51.052999999999706</cx:pt>
          <cx:pt idx="361">40.573700000000002</cx:pt>
          <cx:pt idx="362">42.454599999999999</cx:pt>
          <cx:pt idx="363">9.4451999999999998</cx:pt>
          <cx:pt idx="364">37.618000000000002</cx:pt>
          <cx:pt idx="365">17.840799999999902</cx:pt>
          <cx:pt idx="366">13.1099999999999</cx:pt>
          <cx:pt idx="367">18.6098</cx:pt>
          <cx:pt idx="368">53.766869999999699</cx:pt>
          <cx:pt idx="369">8.80152</cx:pt>
          <cx:pt idx="370">34.930999999999997</cx:pt>
          <cx:pt idx="371">9.3201899999999895</cx:pt>
          <cx:pt idx="372">18.302199999999999</cx:pt>
          <cx:pt idx="373">16.93338</cx:pt>
          <cx:pt idx="374">15.6244</cx:pt>
          <cx:pt idx="375">15.344340000000001</cx:pt>
          <cx:pt idx="376">12.839249999999899</cx:pt>
          <cx:pt idx="377">39.283940000000001</cx:pt>
          <cx:pt idx="378">9.722999999999999</cx:pt>
          <cx:pt idx="379">15.6244</cx:pt>
          <cx:pt idx="380">10.7091899999999</cx:pt>
          <cx:pt idx="381">11.3421599999999</cx:pt>
          <cx:pt idx="382">16.764200000000002</cx:pt>
          <cx:pt idx="383">15.6244</cx:pt>
          <cx:pt idx="384">18.7636</cx:pt>
          <cx:pt idx="385">36.005800000000001</cx:pt>
          <cx:pt idx="386">17.840799999999902</cx:pt>
          <cx:pt idx="387">13.881599999999899</cx:pt>
          <cx:pt idx="388">18.4713799999999</cx:pt>
          <cx:pt idx="389">14.3154</cx:pt>
          <cx:pt idx="390">39.767599999999995</cx:pt>
          <cx:pt idx="391">4.2305999999999999</cx:pt>
          <cx:pt idx="392">37.3492999999999</cx:pt>
          <cx:pt idx="393">9.0583999999999989</cx:pt>
          <cx:pt idx="394">36.543199999999999</cx:pt>
          <cx:pt idx="395">36.811899999999895</cx:pt>
          <cx:pt idx="396">15.491739999999901</cx:pt>
          <cx:pt idx="397">9.7368899999999989</cx:pt>
          <cx:pt idx="398">12.825000000000001</cx:pt>
          <cx:pt idx="399">17.24098</cx:pt>
          <cx:pt idx="400">19.532599999999999</cx:pt>
          <cx:pt idx="401">15.04954</cx:pt>
          <cx:pt idx="402">14.3154</cx:pt>
          <cx:pt idx="403">50.246899999999904</cx:pt>
          <cx:pt idx="404">5.89949999999999</cx:pt>
          <cx:pt idx="405">43.2607</cx:pt>
          <cx:pt idx="406">18.6098</cx:pt>
          <cx:pt idx="407">35.1997</cx:pt>
          <cx:pt idx="408">8.5175999999999998</cx:pt>
          <cx:pt idx="409">4.9998000000000005</cx:pt>
          <cx:pt idx="410">8.9232000000000014</cx:pt>
          <cx:pt idx="411">37.644870000000004</cx:pt>
          <cx:pt idx="412">41.648499999999999</cx:pt>
          <cx:pt idx="413">37.618000000000002</cx:pt>
          <cx:pt idx="414">7.4359999999999999</cx:pt>
          <cx:pt idx="415">18.917400000000001</cx:pt>
          <cx:pt idx="416">18.6098</cx:pt>
          <cx:pt idx="417">18.948160000000001</cx:pt>
          <cx:pt idx="418">13.462260000000001</cx:pt>
          <cx:pt idx="419">38.692799999999998</cx:pt>
          <cx:pt idx="420">35.1997</cx:pt>
          <cx:pt idx="421">10.139699999999999</cx:pt>
          <cx:pt idx="422">41.648499999999999</cx:pt>
          <cx:pt idx="423">11.497920000000001</cx:pt>
          <cx:pt idx="424">36.543199999999999</cx:pt>
          <cx:pt idx="425">37.3492999999999</cx:pt>
          <cx:pt idx="426">15.034799999999901</cx:pt>
          <cx:pt idx="427">13.1242499999999</cx:pt>
          <cx:pt idx="428">43.529399999999903</cx:pt>
          <cx:pt idx="429">11.894399999999999</cx:pt>
          <cx:pt idx="430">10.4175</cx:pt>
          <cx:pt idx="431">18.148399999999899</cx:pt>
          <cx:pt idx="432">46.216399999999901</cx:pt>
          <cx:pt idx="433">14.739999999999901</cx:pt>
          <cx:pt idx="434">51.859100000000005</cx:pt>
          <cx:pt idx="435">14.8873999999999</cx:pt>
          <cx:pt idx="436">39.525770000000001</cx:pt>
          <cx:pt idx="437">44.872899999999902</cx:pt>
          <cx:pt idx="438">19.547980000000003</cx:pt>
          <cx:pt idx="439">44.872899999999902</cx:pt>
          <cx:pt idx="440">13.896059999999899</cx:pt>
          <cx:pt idx="441">9.5840999999999994</cx:pt>
          <cx:pt idx="442">13.462259999999901</cx:pt>
          <cx:pt idx="443">2.7050200000000002</cx:pt>
          <cx:pt idx="444">34.662300000000002</cx:pt>
          <cx:pt idx="445">14.0261999999999</cx:pt>
          <cx:pt idx="446">15.182200000000002</cx:pt>
          <cx:pt idx="447">15.771799999999999</cx:pt>
          <cx:pt idx="448">7.3008000000000006</cx:pt>
          <cx:pt idx="449">9.4451999999999998</cx:pt>
          <cx:pt idx="450">4.2305999999999999</cx:pt>
          <cx:pt idx="451">37.3492999999999</cx:pt>
          <cx:pt idx="452">44.066799999999901</cx:pt>
          <cx:pt idx="453">38.1554</cx:pt>
          <cx:pt idx="454">47.291200000000003</cx:pt>
          <cx:pt idx="455">15.771799999999999</cx:pt>
          <cx:pt idx="456">11.3421599999999</cx:pt>
          <cx:pt idx="457">12.4607999999999</cx:pt>
          <cx:pt idx="458">10.7091899999999</cx:pt>
          <cx:pt idx="459">50.784299999999902</cx:pt>
          <cx:pt idx="460">39.767599999999995</cx:pt>
          <cx:pt idx="461">15.329599999999999</cx:pt>
          <cx:pt idx="462">19.225000000000001</cx:pt>
          <cx:pt idx="463">14.1708</cx:pt>
          <cx:pt idx="464">15.9192</cx:pt>
          <cx:pt idx="465">18.148399999999899</cx:pt>
          <cx:pt idx="466">13.1242499999999</cx:pt>
          <cx:pt idx="467">4.2305999999999999</cx:pt>
          <cx:pt idx="468">17.0718</cx:pt>
          <cx:pt idx="469">15.19694</cx:pt>
          <cx:pt idx="470">43.2607</cx:pt>
          <cx:pt idx="471">10.57029</cx:pt>
          <cx:pt idx="472">11.894399999999999</cx:pt>
          <cx:pt idx="473">17.2256</cx:pt>
          <cx:pt idx="474">19.532599999999999</cx:pt>
          <cx:pt idx="475">16.764200000000002</cx:pt>
          <cx:pt idx="476">41.137969999999704</cx:pt>
          <cx:pt idx="477">13.881599999999899</cx:pt>
          <cx:pt idx="478">12.036</cx:pt>
          <cx:pt idx="479">5.1279999999999903</cx:pt>
          <cx:pt idx="480">42.750169999999898</cx:pt>
          <cx:pt idx="481">3.2178199999999997</cx:pt>
          <cx:pt idx="482">7.9767999999999892</cx:pt>
          <cx:pt idx="483">5.5061999999999998</cx:pt>
          <cx:pt idx="484">55.1372399999997</cx:pt>
          <cx:pt idx="485">17.840799999999902</cx:pt>
          <cx:pt idx="486">11.752799999999999</cx:pt>
          <cx:pt idx="487">6.03059999999999</cx:pt>
          <cx:pt idx="488">7.5712000000000002</cx:pt>
          <cx:pt idx="489">38.1554</cx:pt>
          <cx:pt idx="490">36.005800000000001</cx:pt>
          <cx:pt idx="491">17.717759999999998</cx:pt>
          <cx:pt idx="492">17.533199999999997</cx:pt>
          <cx:pt idx="493">19.378799999999998</cx:pt>
          <cx:pt idx="494">18.456</cx:pt>
          <cx:pt idx="495">15.771799999999999</cx:pt>
          <cx:pt idx="496">37.080599999999905</cx:pt>
          <cx:pt idx="497">10.278600000000001</cx:pt>
          <cx:pt idx="498">8.7880000000000003</cx:pt>
          <cx:pt idx="499">18.456</cx:pt>
          <cx:pt idx="500">55.110369999999698</cx:pt>
          <cx:pt idx="501">2.0640200000000002</cx:pt>
          <cx:pt idx="502">45.141599999999997</cx:pt>
          <cx:pt idx="503">3.9741999999999997</cx:pt>
          <cx:pt idx="504">17.994599999999998</cx:pt>
          <cx:pt idx="505">19.686400000000003</cx:pt>
          <cx:pt idx="506">38.424100000000003</cx:pt>
          <cx:pt idx="507">18.6098</cx:pt>
          <cx:pt idx="508">10.57029</cx:pt>
          <cx:pt idx="509">44.872899999999902</cx:pt>
          <cx:pt idx="510">40.036300000000004</cx:pt>
          <cx:pt idx="511">39.230199999999897</cx:pt>
          <cx:pt idx="512">44.872899999999902</cx:pt>
          <cx:pt idx="513">9.4451999999999998</cx:pt>
          <cx:pt idx="514">15.9192</cx:pt>
          <cx:pt idx="515">57.501799999999903</cx:pt>
          <cx:pt idx="516">37.618000000000002</cx:pt>
          <cx:pt idx="517">12.036</cx:pt>
          <cx:pt idx="518">38.961499999999901</cx:pt>
          <cx:pt idx="519">15.786539999999999</cx:pt>
          <cx:pt idx="520">13.881599999999999</cx:pt>
          <cx:pt idx="521">36.005800000000001</cx:pt>
          <cx:pt idx="522">19.532599999999999</cx:pt>
          <cx:pt idx="523">4.2305999999999999</cx:pt>
          <cx:pt idx="524">37.886699999999998</cx:pt>
          <cx:pt idx="525">15.653880000000001</cx:pt>
          <cx:pt idx="526">17.24098</cx:pt>
          <cx:pt idx="527">14.8873999999999</cx:pt>
          <cx:pt idx="528">7.3008000000000006</cx:pt>
          <cx:pt idx="529">17.0718</cx:pt>
          <cx:pt idx="530">11.34216</cx:pt>
          <cx:pt idx="531">36.005800000000001</cx:pt>
          <cx:pt idx="532">5.89949999999999</cx:pt>
          <cx:pt idx="533">35.1997</cx:pt>
          <cx:pt idx="534">36.005800000000001</cx:pt>
          <cx:pt idx="535">36.811899999999895</cx:pt>
          <cx:pt idx="536">17.548580000000001</cx:pt>
          <cx:pt idx="537">18.917400000000001</cx:pt>
          <cx:pt idx="538">43.798099999999998</cx:pt>
          <cx:pt idx="539">19.240380000000002</cx:pt>
          <cx:pt idx="540">18.009979999999899</cx:pt>
          <cx:pt idx="541">18.456</cx:pt>
          <cx:pt idx="542">9.722999999999999</cx:pt>
          <cx:pt idx="543">9.8619000000000003</cx:pt>
          <cx:pt idx="544">46.216399999999901</cx:pt>
          <cx:pt idx="545">37.618000000000002</cx:pt>
          <cx:pt idx="546">10.6952999999999</cx:pt>
          <cx:pt idx="547">14.74</cx:pt>
          <cx:pt idx="548">14.607339999999999</cx:pt>
          <cx:pt idx="549">17.0718</cx:pt>
          <cx:pt idx="550">2.5768200000000001</cx:pt>
          <cx:pt idx="551">11.752799999999999</cx:pt>
          <cx:pt idx="552">14.0261999999999</cx:pt>
          <cx:pt idx="553">47.076240000000006</cx:pt>
          <cx:pt idx="554">14.1708</cx:pt>
          <cx:pt idx="555">37.080599999999905</cx:pt>
          <cx:pt idx="556">38.450969999999998</cx:pt>
          <cx:pt idx="557">43.01887</cx:pt>
          <cx:pt idx="558">4.3588000000000005</cx:pt>
          <cx:pt idx="559">9.722999999999999</cx:pt>
          <cx:pt idx="560">6.8171999999999997</cx:pt>
          <cx:pt idx="561">35.468400000000003</cx:pt>
          <cx:pt idx="562">9.0583999999999989</cx:pt>
          <cx:pt idx="563">54.572969999999998</cx:pt>
          <cx:pt idx="564">10.7091899999999</cx:pt>
          <cx:pt idx="565">12.616559999999899</cx:pt>
          <cx:pt idx="566">41.1111</cx:pt>
          <cx:pt idx="567">9.0583999999999989</cx:pt>
          <cx:pt idx="568">19.686400000000003</cx:pt>
          <cx:pt idx="569">38.692799999999998</cx:pt>
          <cx:pt idx="570">38.1554</cx:pt>
          <cx:pt idx="571">70.130699999999706</cx:pt>
          <cx:pt idx="572">4.2305999999999999</cx:pt>
          <cx:pt idx="573">35.737099999999998</cx:pt>
          <cx:pt idx="574">12.98175</cx:pt>
          <cx:pt idx="575">44.899769999999997</cx:pt>
          <cx:pt idx="576">45.947700000000005</cx:pt>
          <cx:pt idx="577">34.930999999999997</cx:pt>
          <cx:pt idx="578">41.1111</cx:pt>
          <cx:pt idx="579">13.1242499999999</cx:pt>
          <cx:pt idx="580">44.066799999999901</cx:pt>
          <cx:pt idx="581">17.3794</cx:pt>
          <cx:pt idx="582">15.04954</cx:pt>
          <cx:pt idx="583">13.881599999999899</cx:pt>
          <cx:pt idx="584">10.834199999999999</cx:pt>
          <cx:pt idx="585">13.1242499999999</cx:pt>
          <cx:pt idx="586">7.4359999999999999</cx:pt>
          <cx:pt idx="587">57.501799999999704</cx:pt>
          <cx:pt idx="588">44.872899999999902</cx:pt>
          <cx:pt idx="589">10.4175</cx:pt>
          <cx:pt idx="590">70.399399999999702</cx:pt>
          <cx:pt idx="591">48.903400000000005</cx:pt>
          <cx:pt idx="592">9.4451999999999998</cx:pt>
          <cx:pt idx="593">40.305</cx:pt>
          <cx:pt idx="594">10.5564</cx:pt>
          <cx:pt idx="595">7.1655999999999995</cx:pt>
          <cx:pt idx="596">19.686400000000003</cx:pt>
          <cx:pt idx="597">18.302199999999999</cx:pt>
          <cx:pt idx="598">39.767599999999995</cx:pt>
          <cx:pt idx="599">43.2607</cx:pt>
          <cx:pt idx="600">16.764200000000002</cx:pt>
          <cx:pt idx="601">46.485100000000003</cx:pt>
          <cx:pt idx="602">15.9192</cx:pt>
          <cx:pt idx="603">9.8619000000000003</cx:pt>
          <cx:pt idx="604">34.662300000000002</cx:pt>
          <cx:pt idx="605">40.305</cx:pt>
          <cx:pt idx="606">13.1242499999999</cx:pt>
          <cx:pt idx="607">13.896059999999899</cx:pt>
          <cx:pt idx="608">53.202599999999698</cx:pt>
          <cx:pt idx="609">15.6244</cx:pt>
          <cx:pt idx="610">43.2607</cx:pt>
          <cx:pt idx="611">17.702379999999902</cx:pt>
          <cx:pt idx="612">4.6151999999999997</cx:pt>
          <cx:pt idx="613">14.315399999999901</cx:pt>
          <cx:pt idx="614">15.6244</cx:pt>
          <cx:pt idx="615">15.476999999999999</cx:pt>
          <cx:pt idx="616">9.4451999999999998</cx:pt>
          <cx:pt idx="617">11.3421599999999</cx:pt>
          <cx:pt idx="618">3.5895999999999999</cx:pt>
          <cx:pt idx="619">8.2472000000000012</cx:pt>
          <cx:pt idx="620">19.547980000000003</cx:pt>
          <cx:pt idx="621">39.498899999999999</cx:pt>
          <cx:pt idx="622">15.9192</cx:pt>
          <cx:pt idx="623">42.723299999999995</cx:pt>
          <cx:pt idx="624">18.778979999999901</cx:pt>
          <cx:pt idx="625">13.896059999999899</cx:pt>
          <cx:pt idx="626">39.230199999999897</cx:pt>
          <cx:pt idx="627">13.1242499999999</cx:pt>
          <cx:pt idx="628">36.543199999999999</cx:pt>
          <cx:pt idx="629">13.881599999999999</cx:pt>
          <cx:pt idx="630">19.686400000000003</cx:pt>
          <cx:pt idx="631">5.7815099999999902</cx:pt>
          <cx:pt idx="632">12.839249999999899</cx:pt>
          <cx:pt idx="633">14.607339999999899</cx:pt>
          <cx:pt idx="634">39.525770000000001</cx:pt>
          <cx:pt idx="635">35.1997</cx:pt>
          <cx:pt idx="636">40.573700000000002</cx:pt>
          <cx:pt idx="637">3.9741999999999997</cx:pt>
          <cx:pt idx="638">18.456</cx:pt>
          <cx:pt idx="639">4.8715999999999999</cx:pt>
          <cx:pt idx="640">40.305</cx:pt>
          <cx:pt idx="641">17.0718</cx:pt>
          <cx:pt idx="642">43.529399999999903</cx:pt>
          <cx:pt idx="643">15.476999999999999</cx:pt>
          <cx:pt idx="644">17.840799999999902</cx:pt>
          <cx:pt idx="645">3.8460000000000001</cx:pt>
          <cx:pt idx="646">17.24098</cx:pt>
          <cx:pt idx="647">39.230199999999897</cx:pt>
          <cx:pt idx="648">13.881599999999999</cx:pt>
          <cx:pt idx="649">16.917999999999999</cx:pt>
          <cx:pt idx="650">4.2305999999999999</cx:pt>
          <cx:pt idx="651">37.91357</cx:pt>
          <cx:pt idx="652">15.9192</cx:pt>
          <cx:pt idx="653">37.886699999999998</cx:pt>
          <cx:pt idx="654">38.424100000000003</cx:pt>
          <cx:pt idx="655">17.24098</cx:pt>
          <cx:pt idx="656">2.5639999999999898</cx:pt>
          <cx:pt idx="657">15.771799999999999</cx:pt>
          <cx:pt idx="658">8.1120000000000001</cx:pt>
          <cx:pt idx="659">11.625359999999899</cx:pt>
          <cx:pt idx="660">8.9232000000000014</cx:pt>
          <cx:pt idx="661">13.606859999999902</cx:pt>
          <cx:pt idx="662">19.686400000000003</cx:pt>
          <cx:pt idx="663">10.7091899999999</cx:pt>
          <cx:pt idx="664">15.476999999999999</cx:pt>
          <cx:pt idx="665">52.127799999999901</cx:pt>
          <cx:pt idx="666">17.2256</cx:pt>
          <cx:pt idx="667">37.080599999999905</cx:pt>
          <cx:pt idx="668">35.737099999999998</cx:pt>
          <cx:pt idx="669">40.331869999999697</cx:pt>
          <cx:pt idx="670">15.476999999999999</cx:pt>
          <cx:pt idx="671">39.230199999999897</cx:pt>
          <cx:pt idx="672">11.894399999999999</cx:pt>
          <cx:pt idx="673">44.362369999999999</cx:pt>
          <cx:pt idx="674">2.8203999999999998</cx:pt>
          <cx:pt idx="675">8.1120000000000001</cx:pt>
          <cx:pt idx="676">8.9232000000000014</cx:pt>
          <cx:pt idx="677">12.036</cx:pt>
          <cx:pt idx="678">35.468400000000003</cx:pt>
          <cx:pt idx="679">37.618000000000002</cx:pt>
          <cx:pt idx="680">35.737099999999998</cx:pt>
          <cx:pt idx="681">12.8249999999999</cx:pt>
          <cx:pt idx="682">11.90856</cx:pt>
          <cx:pt idx="683">3.4742199999999896</cx:pt>
          <cx:pt idx="684">19.225000000000001</cx:pt>
          <cx:pt idx="685">38.424100000000003</cx:pt>
          <cx:pt idx="686">3.08962</cx:pt>
          <cx:pt idx="687">37.618000000000002</cx:pt>
          <cx:pt idx="688">19.532599999999999</cx:pt>
          <cx:pt idx="689">17.840799999999902</cx:pt>
          <cx:pt idx="690">52.127799999999901</cx:pt>
          <cx:pt idx="691">6.2927999999999997</cx:pt>
          <cx:pt idx="692">15.771799999999999</cx:pt>
          <cx:pt idx="693">15.476999999999999</cx:pt>
          <cx:pt idx="694">15.034799999999901</cx:pt>
          <cx:pt idx="695">11.625359999999899</cx:pt>
          <cx:pt idx="696">6.8171999999999997</cx:pt>
          <cx:pt idx="697">11.611199999999899</cx:pt>
          <cx:pt idx="698">4.2305999999999999</cx:pt>
          <cx:pt idx="699">11.7669599999999</cx:pt>
          <cx:pt idx="700">14.1708</cx:pt>
          <cx:pt idx="701">41.164840000000005</cx:pt>
          <cx:pt idx="702">34.930999999999997</cx:pt>
          <cx:pt idx="703">47.0762399999997</cx:pt>
          <cx:pt idx="704">14.0261999999999</cx:pt>
          <cx:pt idx="705">14.315399999999901</cx:pt>
          <cx:pt idx="706">8.5175999999999998</cx:pt>
          <cx:pt idx="707">3.8460000000000001</cx:pt>
          <cx:pt idx="708">18.6098</cx:pt>
          <cx:pt idx="709">13.881599999999999</cx:pt>
          <cx:pt idx="710">36.274499999999996</cx:pt>
          <cx:pt idx="711">8.3823999999999987</cx:pt>
          <cx:pt idx="712">42.992000000000004</cx:pt>
          <cx:pt idx="713">36.543199999999999</cx:pt>
          <cx:pt idx="714">39.230199999999897</cx:pt>
          <cx:pt idx="715">12.967500000000001</cx:pt>
          <cx:pt idx="716">18.4713799999999</cx:pt>
          <cx:pt idx="717">14.1707999999999</cx:pt>
          <cx:pt idx="718">17.08718</cx:pt>
          <cx:pt idx="719">13.881599999999899</cx:pt>
          <cx:pt idx="720">59.113999999999699</cx:pt>
          <cx:pt idx="721">3.4613999999999998</cx:pt>
          <cx:pt idx="722">10.834199999999999</cx:pt>
          <cx:pt idx="723">14.0261999999999</cx:pt>
          <cx:pt idx="724">17.24098</cx:pt>
          <cx:pt idx="725">54.8147999999997</cx:pt>
          <cx:pt idx="726">9.0583999999999989</cx:pt>
          <cx:pt idx="727">17.2256</cx:pt>
          <cx:pt idx="728">40.305</cx:pt>
          <cx:pt idx="729">38.424100000000003</cx:pt>
          <cx:pt idx="730">38.182270000000003</cx:pt>
          <cx:pt idx="731">18.917400000000001</cx:pt>
          <cx:pt idx="732">37.080599999999905</cx:pt>
          <cx:pt idx="733">14.0261999999999</cx:pt>
          <cx:pt idx="734">17.3794</cx:pt>
          <cx:pt idx="735">5.4309900000000004</cx:pt>
          <cx:pt idx="736">12.01178</cx:pt>
          <cx:pt idx="737">1.16662</cx:pt>
          <cx:pt idx="738">10.18534</cx:pt>
          <cx:pt idx="739">1.6794199999999999</cx:pt>
          <cx:pt idx="740">30.389969999999899</cx:pt>
          <cx:pt idx="741">11.8579799999999</cx:pt>
          <cx:pt idx="742">2.3204199999999999</cx:pt>
          <cx:pt idx="743">6.5214599999999994</cx:pt>
          <cx:pt idx="744">12.0117799999999</cx:pt>
          <cx:pt idx="745">1.42301999999999</cx:pt>
          <cx:pt idx="746">30.927369999999897</cx:pt>
          <cx:pt idx="747">4.3399200000000002</cx:pt>
          <cx:pt idx="748">2.7050200000000002</cx:pt>
          <cx:pt idx="749">26.359470000000002</cx:pt>
          <cx:pt idx="750">2.7050200000000002</cx:pt>
          <cx:pt idx="751">1.42301999999999</cx:pt>
          <cx:pt idx="752">27.702969999999898</cx:pt>
          <cx:pt idx="753">0.91021999999999992</cx:pt>
          <cx:pt idx="754">29.852569999999901</cx:pt>
          <cx:pt idx="755">12.62698</cx:pt>
          <cx:pt idx="756">11.550379999999901</cx:pt>
          <cx:pt idx="757">39.257069999999999</cx:pt>
          <cx:pt idx="758">11.704180000000001</cx:pt>
        </cx:lvl>
      </cx:numDim>
    </cx:data>
    <cx:data id="8">
      <cx:numDim type="val">
        <cx:f>Sheet2!$I$2:$I$11265</cx:f>
        <cx:lvl ptCount="11264" formatCode="General">
          <cx:pt idx="0">12.319199999999899</cx:pt>
          <cx:pt idx="1">11.4696</cx:pt>
          <cx:pt idx="2">7.5712000000000002</cx:pt>
          <cx:pt idx="3">5.89949999999999</cx:pt>
          <cx:pt idx="4">14.74</cx:pt>
          <cx:pt idx="5">5.7683999999999997</cx:pt>
          <cx:pt idx="6">13.5924</cx:pt>
          <cx:pt idx="7">6.5549999999999997</cx:pt>
          <cx:pt idx="8">4.6151999999999997</cx:pt>
          <cx:pt idx="9">4.8715999999999999</cx:pt>
          <cx:pt idx="10">8.1120000000000001</cx:pt>
          <cx:pt idx="11">10.4175</cx:pt>
          <cx:pt idx="12">41.917200000000001</cx:pt>
          <cx:pt idx="13">45.678999999999995</cx:pt>
          <cx:pt idx="14">12.602399999999999</cx:pt>
          <cx:pt idx="15">12.177599999999899</cx:pt>
          <cx:pt idx="16">5.7683999999999997</cx:pt>
          <cx:pt idx="17">10.6952999999999</cx:pt>
          <cx:pt idx="18">6.5549999999999997</cx:pt>
          <cx:pt idx="19">18.4713799999999</cx:pt>
          <cx:pt idx="20">17.3794</cx:pt>
          <cx:pt idx="21">5.5061999999999998</cx:pt>
          <cx:pt idx="22">8.3823999999999987</cx:pt>
          <cx:pt idx="23">8.3823999999999987</cx:pt>
          <cx:pt idx="24">6.5549999999999997</cx:pt>
          <cx:pt idx="25">7.7063999999999995</cx:pt>
          <cx:pt idx="26">9.4451999999999998</cx:pt>
          <cx:pt idx="27">7.9767999999999892</cx:pt>
          <cx:pt idx="28">16.764200000000002</cx:pt>
          <cx:pt idx="29">11.894399999999999</cx:pt>
          <cx:pt idx="30">5.7683999999999997</cx:pt>
          <cx:pt idx="31">5.7683999999999997</cx:pt>
          <cx:pt idx="32">9.5840999999999994</cx:pt>
          <cx:pt idx="33">17.702379999999902</cx:pt>
          <cx:pt idx="34">7.7063999999999995</cx:pt>
          <cx:pt idx="35">6.2927999999999997</cx:pt>
          <cx:pt idx="36">37.107469999999999</cx:pt>
          <cx:pt idx="37">8.6527999999999992</cx:pt>
          <cx:pt idx="38">18.3175799999999</cx:pt>
          <cx:pt idx="39">6.3059099999999892</cx:pt>
          <cx:pt idx="40">18.917400000000001</cx:pt>
          <cx:pt idx="41">48.366</cx:pt>
          <cx:pt idx="42">11.752799999999999</cx:pt>
          <cx:pt idx="43">11.4696</cx:pt>
          <cx:pt idx="44">8.3959200000000003</cx:pt>
          <cx:pt idx="45">5.63729999999999</cx:pt>
          <cx:pt idx="46">17.533199999999997</cx:pt>
          <cx:pt idx="47">6.2927999999999997</cx:pt>
          <cx:pt idx="48">10.6952999999999</cx:pt>
          <cx:pt idx="49">43.824969999999702</cx:pt>
          <cx:pt idx="50">37.080599999999905</cx:pt>
          <cx:pt idx="51">13.109999999999999</cx:pt>
          <cx:pt idx="52">9.0583999999999989</cx:pt>
          <cx:pt idx="53">9.4451999999999998</cx:pt>
          <cx:pt idx="54">10.57029</cx:pt>
          <cx:pt idx="55">10.973099999999999</cx:pt>
          <cx:pt idx="56">6.03059999999999</cx:pt>
          <cx:pt idx="57">16.779579999999999</cx:pt>
          <cx:pt idx="58">10.5564</cx:pt>
          <cx:pt idx="59">11.894399999999999</cx:pt>
          <cx:pt idx="60">16.764200000000002</cx:pt>
          <cx:pt idx="61">3.9741999999999997</cx:pt>
          <cx:pt idx="62">6.8171999999999997</cx:pt>
          <cx:pt idx="63">8.9232000000000014</cx:pt>
          <cx:pt idx="64">42.723299999999995</cx:pt>
          <cx:pt idx="65">7.4359999999999999</cx:pt>
          <cx:pt idx="66">5.89949999999999</cx:pt>
          <cx:pt idx="67">42.454599999999999</cx:pt>
          <cx:pt idx="68">7.1655999999999995</cx:pt>
          <cx:pt idx="69">10.973099999999999</cx:pt>
          <cx:pt idx="70">7.9767999999999892</cx:pt>
          <cx:pt idx="71">6.4370099999999999</cx:pt>
          <cx:pt idx="72">11.894399999999999</cx:pt>
          <cx:pt idx="73">5.89949999999999</cx:pt>
          <cx:pt idx="74">7.1655999999999995</cx:pt>
          <cx:pt idx="75">10.973099999999999</cx:pt>
          <cx:pt idx="76">42.992000000000004</cx:pt>
          <cx:pt idx="77">7.3008000000000006</cx:pt>
          <cx:pt idx="78">10.6952999999999</cx:pt>
          <cx:pt idx="79">6.03059999999999</cx:pt>
          <cx:pt idx="80">6.2927999999999997</cx:pt>
          <cx:pt idx="81">13.5924</cx:pt>
          <cx:pt idx="82">4.4870000000000001</cx:pt>
          <cx:pt idx="83">7.1655999999999995</cx:pt>
          <cx:pt idx="84">5.89949999999999</cx:pt>
          <cx:pt idx="85">15.771799999999999</cx:pt>
          <cx:pt idx="86">8.1255199999999999</cx:pt>
          <cx:pt idx="87">7.8415999999999997</cx:pt>
          <cx:pt idx="88">6.03059999999999</cx:pt>
          <cx:pt idx="89">5.89949999999999</cx:pt>
          <cx:pt idx="90">5.7683999999999997</cx:pt>
          <cx:pt idx="91">18.6098</cx:pt>
          <cx:pt idx="92">18.148399999999899</cx:pt>
          <cx:pt idx="93">6.1616999999999997</cx:pt>
          <cx:pt idx="94">11.894399999999999</cx:pt>
          <cx:pt idx="95">6.03059999999999</cx:pt>
          <cx:pt idx="96">6.5549999999999997</cx:pt>
          <cx:pt idx="97">10.834199999999999</cx:pt>
          <cx:pt idx="98">6.5549999999999997</cx:pt>
          <cx:pt idx="99">3.4613999999999998</cx:pt>
          <cx:pt idx="100">5.89949999999999</cx:pt>
          <cx:pt idx="101">7.5712000000000002</cx:pt>
          <cx:pt idx="102">41.1111</cx:pt>
          <cx:pt idx="103">5.63729999999999</cx:pt>
          <cx:pt idx="104">7.5712000000000002</cx:pt>
          <cx:pt idx="105">15.476999999999999</cx:pt>
          <cx:pt idx="106">12.602399999999999</cx:pt>
          <cx:pt idx="107">4.2305999999999999</cx:pt>
          <cx:pt idx="108">15.771799999999999</cx:pt>
          <cx:pt idx="109">11.752799999999999</cx:pt>
          <cx:pt idx="110">41.1111</cx:pt>
          <cx:pt idx="111">10.6952999999999</cx:pt>
          <cx:pt idx="112">7.8415999999999997</cx:pt>
          <cx:pt idx="113">10.6952999999999</cx:pt>
          <cx:pt idx="114">50.515599999999907</cx:pt>
          <cx:pt idx="115">7.9767999999999892</cx:pt>
          <cx:pt idx="116">7.1655999999999995</cx:pt>
          <cx:pt idx="117">4.8844199999999995</cx:pt>
          <cx:pt idx="118">13.736999999999998</cx:pt>
          <cx:pt idx="119">10.6952999999999</cx:pt>
          <cx:pt idx="120">9.5840999999999994</cx:pt>
          <cx:pt idx="121">11.00088</cx:pt>
          <cx:pt idx="122">39.498899999999999</cx:pt>
          <cx:pt idx="123">6.1616999999999997</cx:pt>
          <cx:pt idx="124">10.6952999999999</cx:pt>
          <cx:pt idx="125">40.573700000000002</cx:pt>
          <cx:pt idx="126">18.6098</cx:pt>
          <cx:pt idx="127">10.139699999999999</cx:pt>
          <cx:pt idx="128">8.2472000000000012</cx:pt>
          <cx:pt idx="129">9.4451999999999998</cx:pt>
          <cx:pt idx="130">3.9741999999999997</cx:pt>
          <cx:pt idx="131">8.3823999999999987</cx:pt>
          <cx:pt idx="132">10.0008</cx:pt>
          <cx:pt idx="133">12.036</cx:pt>
          <cx:pt idx="134">7.8415999999999997</cx:pt>
          <cx:pt idx="135">4.4870000000000001</cx:pt>
          <cx:pt idx="136">6.6860999999999908</cx:pt>
          <cx:pt idx="137">12.319199999999899</cx:pt>
          <cx:pt idx="138">4.2305999999999999</cx:pt>
          <cx:pt idx="139">6.8171999999999997</cx:pt>
          <cx:pt idx="140">12.177599999999899</cx:pt>
          <cx:pt idx="141">11.752799999999999</cx:pt>
          <cx:pt idx="142">16.764200000000002</cx:pt>
          <cx:pt idx="143">5.89949999999999</cx:pt>
          <cx:pt idx="144">4.3588000000000005</cx:pt>
          <cx:pt idx="145">15.771799999999999</cx:pt>
          <cx:pt idx="146">8.7880000000000003</cx:pt>
          <cx:pt idx="147">6.03059999999999</cx:pt>
          <cx:pt idx="148">48.93027</cx:pt>
          <cx:pt idx="149">9.0583999999999989</cx:pt>
          <cx:pt idx="150">6.8171999999999997</cx:pt>
          <cx:pt idx="151">5.0126199999999894</cx:pt>
          <cx:pt idx="152">6.5549999999999997</cx:pt>
          <cx:pt idx="153">8.9232000000000014</cx:pt>
          <cx:pt idx="154">5.7683999999999997</cx:pt>
          <cx:pt idx="155">15.9192</cx:pt>
          <cx:pt idx="156">7.1655999999999995</cx:pt>
          <cx:pt idx="157">7.5712000000000002</cx:pt>
          <cx:pt idx="158">6.1616999999999997</cx:pt>
          <cx:pt idx="159">10.973099999999999</cx:pt>
          <cx:pt idx="160">6.1616999999999997</cx:pt>
          <cx:pt idx="161">4.7433999999999994</cx:pt>
          <cx:pt idx="162">6.4239000000000006</cx:pt>
          <cx:pt idx="163">10.6952999999999</cx:pt>
          <cx:pt idx="164">17.3794</cx:pt>
          <cx:pt idx="165">9.4451999999999998</cx:pt>
          <cx:pt idx="166">5.89949999999999</cx:pt>
          <cx:pt idx="167">14.0261999999999</cx:pt>
          <cx:pt idx="168">38.692799999999998</cx:pt>
          <cx:pt idx="169">10.6952999999999</cx:pt>
          <cx:pt idx="170">12.460799999999999</cx:pt>
          <cx:pt idx="171">15.034799999999901</cx:pt>
          <cx:pt idx="172">15.771799999999999</cx:pt>
          <cx:pt idx="173">10.973099999999999</cx:pt>
          <cx:pt idx="174">41.648499999999999</cx:pt>
          <cx:pt idx="175">12.036</cx:pt>
          <cx:pt idx="176">6.6860999999999908</cx:pt>
          <cx:pt idx="177">9.8619000000000003</cx:pt>
          <cx:pt idx="178">6.5549999999999997</cx:pt>
          <cx:pt idx="179">15.9192</cx:pt>
          <cx:pt idx="180">7.8415999999999997</cx:pt>
          <cx:pt idx="181">10.834199999999999</cx:pt>
          <cx:pt idx="182">48.392870000000002</cx:pt>
          <cx:pt idx="183">7.1655999999999995</cx:pt>
          <cx:pt idx="184">5.7683999999999997</cx:pt>
          <cx:pt idx="185">10.973099999999999</cx:pt>
          <cx:pt idx="186">13.109999999999999</cx:pt>
          <cx:pt idx="187">18.009979999999899</cx:pt>
          <cx:pt idx="188">5.89949999999999</cx:pt>
          <cx:pt idx="189">11.4696</cx:pt>
          <cx:pt idx="190">10.6952999999999</cx:pt>
          <cx:pt idx="191">7.1655999999999995</cx:pt>
          <cx:pt idx="192">18.163779999999999</cx:pt>
          <cx:pt idx="193">5.0126199999999894</cx:pt>
          <cx:pt idx="194">10.6952999999999</cx:pt>
          <cx:pt idx="195">8.9367199999999993</cx:pt>
          <cx:pt idx="196">7.9767999999999892</cx:pt>
          <cx:pt idx="197">11.752799999999999</cx:pt>
          <cx:pt idx="198">11.752799999999999</cx:pt>
          <cx:pt idx="199">4.7433999999999994</cx:pt>
          <cx:pt idx="200">7.3008000000000006</cx:pt>
          <cx:pt idx="201">6.8171999999999997</cx:pt>
          <cx:pt idx="202">5.63729999999999</cx:pt>
          <cx:pt idx="203">6.5549999999999997</cx:pt>
          <cx:pt idx="204">6.2927999999999997</cx:pt>
          <cx:pt idx="205">37.618000000000002</cx:pt>
          <cx:pt idx="206">6.3059099999999892</cx:pt>
          <cx:pt idx="207">6.1616999999999997</cx:pt>
          <cx:pt idx="208">5.7683999999999997</cx:pt>
          <cx:pt idx="209">7.5712000000000002</cx:pt>
          <cx:pt idx="210">11.781120000000001</cx:pt>
          <cx:pt idx="211">19.225000000000001</cx:pt>
          <cx:pt idx="212">10.6952999999999</cx:pt>
          <cx:pt idx="213">10.278600000000001</cx:pt>
          <cx:pt idx="214">5.89949999999999</cx:pt>
          <cx:pt idx="215">10.5564</cx:pt>
          <cx:pt idx="216">12.177599999999899</cx:pt>
          <cx:pt idx="217">10.153589999999999</cx:pt>
          <cx:pt idx="218">9.4590899999999998</cx:pt>
          <cx:pt idx="219">12.460799999999999</cx:pt>
          <cx:pt idx="220">5.1279999999999903</cx:pt>
          <cx:pt idx="221">6.1616999999999997</cx:pt>
          <cx:pt idx="222">41.1111</cx:pt>
          <cx:pt idx="223">10.6952999999999</cx:pt>
          <cx:pt idx="224">8.6527999999999992</cx:pt>
          <cx:pt idx="225">10.278600000000001</cx:pt>
          <cx:pt idx="226">9.7368899999999989</cx:pt>
          <cx:pt idx="227">7.8415999999999997</cx:pt>
          <cx:pt idx="228">41.1111</cx:pt>
          <cx:pt idx="229">12.967500000000001</cx:pt>
          <cx:pt idx="230">8.9367199999999993</cx:pt>
          <cx:pt idx="231">10.6952999999999</cx:pt>
          <cx:pt idx="232">42.723299999999995</cx:pt>
          <cx:pt idx="233">19.225000000000001</cx:pt>
          <cx:pt idx="234">15.771799999999999</cx:pt>
          <cx:pt idx="235">4.8972400000000205</cx:pt>
          <cx:pt idx="236">6.2927999999999997</cx:pt>
          <cx:pt idx="237">6.8171999999999997</cx:pt>
          <cx:pt idx="238">7.4359999999999999</cx:pt>
          <cx:pt idx="239">12.967500000000001</cx:pt>
          <cx:pt idx="240">10.4175</cx:pt>
          <cx:pt idx="241">11.328000000000001</cx:pt>
          <cx:pt idx="242">6.03059999999999</cx:pt>
          <cx:pt idx="243">19.225000000000001</cx:pt>
          <cx:pt idx="244">6.03059999999999</cx:pt>
          <cx:pt idx="245">6.4239000000000006</cx:pt>
          <cx:pt idx="246">10.973099999999999</cx:pt>
          <cx:pt idx="247">5.7683999999999997</cx:pt>
          <cx:pt idx="248">5.63729999999999</cx:pt>
          <cx:pt idx="249">5.63729999999999</cx:pt>
          <cx:pt idx="250">11.328000000000001</cx:pt>
          <cx:pt idx="251">6.8171999999999997</cx:pt>
          <cx:pt idx="252">10.5564</cx:pt>
          <cx:pt idx="253">6.03059999999999</cx:pt>
          <cx:pt idx="254">7.3008000000000006</cx:pt>
          <cx:pt idx="255">11.92272</cx:pt>
          <cx:pt idx="256">7.1655999999999995</cx:pt>
          <cx:pt idx="257">9.5840999999999994</cx:pt>
          <cx:pt idx="258">51.052999999999706</cx:pt>
          <cx:pt idx="259">13.736999999999998</cx:pt>
          <cx:pt idx="260">5.7683999999999997</cx:pt>
          <cx:pt idx="261">12.967500000000001</cx:pt>
          <cx:pt idx="262">6.4239000000000006</cx:pt>
          <cx:pt idx="263">4.2305999999999999</cx:pt>
          <cx:pt idx="264">10.834199999999999</cx:pt>
          <cx:pt idx="265">7.7063999999999995</cx:pt>
          <cx:pt idx="266">6.6860999999999908</cx:pt>
          <cx:pt idx="267">17.0718</cx:pt>
          <cx:pt idx="268">14.3154</cx:pt>
          <cx:pt idx="269">11.611199999999899</cx:pt>
          <cx:pt idx="270">11.4696</cx:pt>
          <cx:pt idx="271">8.1120000000000001</cx:pt>
          <cx:pt idx="272">16.764200000000002</cx:pt>
          <cx:pt idx="273">11.4696</cx:pt>
          <cx:pt idx="274">6.5549999999999997</cx:pt>
          <cx:pt idx="275">9.4451999999999998</cx:pt>
          <cx:pt idx="276">10.0008</cx:pt>
          <cx:pt idx="277">54.035569999999701</cx:pt>
          <cx:pt idx="278">5.0126199999999894</cx:pt>
          <cx:pt idx="279">5.5061999999999998</cx:pt>
          <cx:pt idx="280">15.182200000000002</cx:pt>
          <cx:pt idx="281">7.4359999999999999</cx:pt>
          <cx:pt idx="282">19.071199999999997</cx:pt>
          <cx:pt idx="283">5.1279999999999903</cx:pt>
          <cx:pt idx="284">8.1120000000000001</cx:pt>
          <cx:pt idx="285">4.7562199999999999</cx:pt>
          <cx:pt idx="286">19.378799999999998</cx:pt>
          <cx:pt idx="287">9.722999999999999</cx:pt>
          <cx:pt idx="288">42.992000000000004</cx:pt>
          <cx:pt idx="289">35.226570000000002</cx:pt>
          <cx:pt idx="290">39.767599999999995</cx:pt>
          <cx:pt idx="291">10.973099999999999</cx:pt>
          <cx:pt idx="292">8.7880000000000003</cx:pt>
          <cx:pt idx="293">11.611199999999899</cx:pt>
          <cx:pt idx="294">17.840799999999902</cx:pt>
          <cx:pt idx="295">53.471299999999701</cx:pt>
          <cx:pt idx="296">7.5712000000000002</cx:pt>
          <cx:pt idx="297">6.5549999999999997</cx:pt>
          <cx:pt idx="298">9.5840999999999994</cx:pt>
          <cx:pt idx="299">16.917999999999999</cx:pt>
          <cx:pt idx="300">12.602399999999999</cx:pt>
          <cx:pt idx="301">5.6504099999999999</cx:pt>
          <cx:pt idx="302">12.460799999999999</cx:pt>
          <cx:pt idx="303">9.4451999999999998</cx:pt>
          <cx:pt idx="304">5.5061999999999998</cx:pt>
          <cx:pt idx="305">38.692799999999998</cx:pt>
          <cx:pt idx="306">10.973099999999999</cx:pt>
          <cx:pt idx="307">49.978200000000001</cx:pt>
          <cx:pt idx="308">11.328000000000001</cx:pt>
          <cx:pt idx="309">6.5549999999999997</cx:pt>
          <cx:pt idx="310">6.1616999999999997</cx:pt>
          <cx:pt idx="311">6.03059999999999</cx:pt>
          <cx:pt idx="312">17.687000000000001</cx:pt>
          <cx:pt idx="313">13.881599999999999</cx:pt>
          <cx:pt idx="314">4.9998000000000005</cx:pt>
          <cx:pt idx="315">3.0768</cx:pt>
          <cx:pt idx="316">7.1791200000000002</cx:pt>
          <cx:pt idx="317">7.3008000000000006</cx:pt>
          <cx:pt idx="318">12.177599999999899</cx:pt>
          <cx:pt idx="319">6.4239000000000006</cx:pt>
          <cx:pt idx="320">18.148399999999899</cx:pt>
          <cx:pt idx="321">12.333360000000001</cx:pt>
          <cx:pt idx="322">45.678999999999995</cx:pt>
          <cx:pt idx="323">4.9998000000000005</cx:pt>
          <cx:pt idx="324">11.4696</cx:pt>
          <cx:pt idx="325">39.767599999999995</cx:pt>
          <cx:pt idx="326">13.5924</cx:pt>
          <cx:pt idx="327">5.7683999999999997</cx:pt>
          <cx:pt idx="328">8.5175999999999998</cx:pt>
          <cx:pt idx="329">9.722999999999999</cx:pt>
          <cx:pt idx="330">17.994599999999998</cx:pt>
          <cx:pt idx="331">13.881599999999999</cx:pt>
          <cx:pt idx="332">12.460799999999999</cx:pt>
          <cx:pt idx="333">48.903400000000005</cx:pt>
          <cx:pt idx="334">3.7178000000000004</cx:pt>
          <cx:pt idx="335">11.752799999999999</cx:pt>
          <cx:pt idx="336">7.1655999999999995</cx:pt>
          <cx:pt idx="337">6.1616999999999997</cx:pt>
          <cx:pt idx="338">12.61656</cx:pt>
          <cx:pt idx="339">4.9998000000000005</cx:pt>
          <cx:pt idx="340">4.7433999999999994</cx:pt>
          <cx:pt idx="341">13.109999999999999</cx:pt>
          <cx:pt idx="342">12.460799999999999</cx:pt>
          <cx:pt idx="343">10.0008</cx:pt>
          <cx:pt idx="344">19.532599999999999</cx:pt>
          <cx:pt idx="345">15.6244</cx:pt>
          <cx:pt idx="346">12.460799999999999</cx:pt>
          <cx:pt idx="347">10.0008</cx:pt>
          <cx:pt idx="348">5.63729999999999</cx:pt>
          <cx:pt idx="349">5.7683999999999997</cx:pt>
          <cx:pt idx="350">37.3492999999999</cx:pt>
          <cx:pt idx="351">7.1655999999999995</cx:pt>
          <cx:pt idx="352">5.5061999999999998</cx:pt>
          <cx:pt idx="353">19.686400000000003</cx:pt>
          <cx:pt idx="354">11.4696</cx:pt>
          <cx:pt idx="355">8.3823999999999987</cx:pt>
          <cx:pt idx="356">10.973099999999999</cx:pt>
          <cx:pt idx="357">6.03059999999999</cx:pt>
          <cx:pt idx="358">18.148399999999899</cx:pt>
          <cx:pt idx="359">11.4696</cx:pt>
          <cx:pt idx="360">37.618000000000002</cx:pt>
          <cx:pt idx="361">10.6952999999999</cx:pt>
          <cx:pt idx="362">7.8415999999999997</cx:pt>
          <cx:pt idx="363">10.973099999999999</cx:pt>
          <cx:pt idx="364">12.319199999999899</cx:pt>
          <cx:pt idx="365">7.5982400000000201</cx:pt>
          <cx:pt idx="366">7.5712000000000002</cx:pt>
          <cx:pt idx="367">18.778979999999901</cx:pt>
          <cx:pt idx="368">5.1279999999999903</cx:pt>
          <cx:pt idx="369">19.071199999999997</cx:pt>
          <cx:pt idx="370">18.302199999999999</cx:pt>
          <cx:pt idx="371">11.894399999999999</cx:pt>
          <cx:pt idx="372">41.379800000000003</cx:pt>
          <cx:pt idx="373">4.4870000000000001</cx:pt>
          <cx:pt idx="374">5.7683999999999997</cx:pt>
          <cx:pt idx="375">8.1120000000000001</cx:pt>
          <cx:pt idx="376">45.141599999999997</cx:pt>
          <cx:pt idx="377">10.6952999999999</cx:pt>
          <cx:pt idx="378">14.1708</cx:pt>
          <cx:pt idx="379">6.5549999999999997</cx:pt>
          <cx:pt idx="380">14.8873999999999</cx:pt>
          <cx:pt idx="381">11.611199999999899</cx:pt>
          <cx:pt idx="382">6.6860999999999908</cx:pt>
          <cx:pt idx="383">5.89949999999999</cx:pt>
          <cx:pt idx="384">5.5061999999999998</cx:pt>
          <cx:pt idx="385">40.842399999999998</cx:pt>
          <cx:pt idx="386">10.278600000000001</cx:pt>
          <cx:pt idx="387">18.917400000000001</cx:pt>
          <cx:pt idx="388">10.6952999999999</cx:pt>
          <cx:pt idx="389">12.177599999999899</cx:pt>
          <cx:pt idx="390">14.0261999999999</cx:pt>
          <cx:pt idx="391">10.834199999999999</cx:pt>
          <cx:pt idx="392">11.4696</cx:pt>
          <cx:pt idx="393">3.9741999999999997</cx:pt>
          <cx:pt idx="394">8.9232000000000014</cx:pt>
          <cx:pt idx="395">7.5712000000000002</cx:pt>
          <cx:pt idx="396">11.752799999999999</cx:pt>
          <cx:pt idx="397">39.525770000000001</cx:pt>
          <cx:pt idx="398">9.4451999999999998</cx:pt>
          <cx:pt idx="399">4.9998000000000005</cx:pt>
          <cx:pt idx="400">6.5549999999999997</cx:pt>
          <cx:pt idx="401">10.0008</cx:pt>
          <cx:pt idx="402">7.463040000000019</cx:pt>
          <cx:pt idx="403">17.2256</cx:pt>
          <cx:pt idx="404">6.03059999999999</cx:pt>
          <cx:pt idx="405">7.7063999999999995</cx:pt>
          <cx:pt idx="406">6.03059999999999</cx:pt>
          <cx:pt idx="407">5.7683999999999997</cx:pt>
          <cx:pt idx="408">12.474959999999999</cx:pt>
          <cx:pt idx="409">11.4696</cx:pt>
          <cx:pt idx="410">14.0261999999999</cx:pt>
          <cx:pt idx="411">48.957139999999697</cx:pt>
          <cx:pt idx="412">11.894399999999999</cx:pt>
          <cx:pt idx="413">43.798099999999998</cx:pt>
          <cx:pt idx="414">7.9767999999999892</cx:pt>
          <cx:pt idx="415">5.7683999999999997</cx:pt>
          <cx:pt idx="416">6.4239000000000006</cx:pt>
          <cx:pt idx="417">7.3008000000000006</cx:pt>
          <cx:pt idx="418">18.7636</cx:pt>
          <cx:pt idx="419">13.881599999999999</cx:pt>
          <cx:pt idx="420">35.1997</cx:pt>
          <cx:pt idx="421">3.9741999999999997</cx:pt>
          <cx:pt idx="422">17.840799999999902</cx:pt>
          <cx:pt idx="423">15.329599999999999</cx:pt>
          <cx:pt idx="424">7.8415999999999997</cx:pt>
          <cx:pt idx="425">10.6952999999999</cx:pt>
          <cx:pt idx="426">43.798099999999998</cx:pt>
          <cx:pt idx="427">16.779579999999999</cx:pt>
          <cx:pt idx="428">12.967500000000001</cx:pt>
          <cx:pt idx="429">17.533199999999997</cx:pt>
          <cx:pt idx="430">62.069699999999905</cx:pt>
          <cx:pt idx="431">15.476999999999999</cx:pt>
          <cx:pt idx="432">10.278600000000001</cx:pt>
          <cx:pt idx="433">9.4451999999999998</cx:pt>
          <cx:pt idx="434">5.1279999999999903</cx:pt>
          <cx:pt idx="435">11.4696</cx:pt>
          <cx:pt idx="436">7.7063999999999995</cx:pt>
          <cx:pt idx="437">2.7050200000000002</cx:pt>
          <cx:pt idx="438">10.834199999999999</cx:pt>
          <cx:pt idx="439">5.6504099999999999</cx:pt>
          <cx:pt idx="440">10.5564</cx:pt>
          <cx:pt idx="441">6.03059999999999</cx:pt>
          <cx:pt idx="442">13.881599999999999</cx:pt>
          <cx:pt idx="443">5.7683999999999997</cx:pt>
          <cx:pt idx="444">10.278600000000001</cx:pt>
          <cx:pt idx="445">9.5840999999999994</cx:pt>
          <cx:pt idx="446">10.6952999999999</cx:pt>
          <cx:pt idx="447">7.7063999999999995</cx:pt>
          <cx:pt idx="448">10.6952999999999</cx:pt>
          <cx:pt idx="449">12.19176</cx:pt>
          <cx:pt idx="450">6.1616999999999997</cx:pt>
          <cx:pt idx="451">6.1616999999999997</cx:pt>
          <cx:pt idx="452">15.9192</cx:pt>
          <cx:pt idx="453">7.5712000000000002</cx:pt>
          <cx:pt idx="454">17.0718</cx:pt>
          <cx:pt idx="455">8.6527999999999992</cx:pt>
          <cx:pt idx="456">18.3175799999999</cx:pt>
          <cx:pt idx="457">10.44528</cx:pt>
          <cx:pt idx="458">12.602399999999999</cx:pt>
          <cx:pt idx="459">6.2927999999999997</cx:pt>
          <cx:pt idx="460">7.5712000000000002</cx:pt>
          <cx:pt idx="461">3.9741999999999997</cx:pt>
          <cx:pt idx="462">5.89949999999999</cx:pt>
          <cx:pt idx="463">5.89949999999999</cx:pt>
          <cx:pt idx="464">39.230199999999897</cx:pt>
          <cx:pt idx="465">7.9767999999999892</cx:pt>
          <cx:pt idx="466">15.771799999999999</cx:pt>
          <cx:pt idx="467">6.6860999999999908</cx:pt>
          <cx:pt idx="468">12.967500000000001</cx:pt>
          <cx:pt idx="469">18.7636</cx:pt>
          <cx:pt idx="470">45.141599999999997</cx:pt>
          <cx:pt idx="471">10.6952999999999</cx:pt>
          <cx:pt idx="472">6.03059999999999</cx:pt>
          <cx:pt idx="473">10.6952999999999</cx:pt>
          <cx:pt idx="474">8.6527999999999992</cx:pt>
          <cx:pt idx="475">7.5712000000000002</cx:pt>
          <cx:pt idx="476">15.9192</cx:pt>
          <cx:pt idx="477">7.5712000000000002</cx:pt>
          <cx:pt idx="478">7.3008000000000006</cx:pt>
          <cx:pt idx="479">9.4451999999999998</cx:pt>
          <cx:pt idx="480">37.3492999999999</cx:pt>
          <cx:pt idx="481">11.894399999999999</cx:pt>
          <cx:pt idx="482">19.378799999999998</cx:pt>
          <cx:pt idx="483">15.6244</cx:pt>
          <cx:pt idx="484">5.63729999999999</cx:pt>
          <cx:pt idx="485">9.8619000000000003</cx:pt>
          <cx:pt idx="486">12.319199999999899</cx:pt>
          <cx:pt idx="487">10.6952999999999</cx:pt>
          <cx:pt idx="488">12.602399999999999</cx:pt>
          <cx:pt idx="489">7.3008000000000006</cx:pt>
          <cx:pt idx="490">12.460799999999999</cx:pt>
          <cx:pt idx="491">6.2927999999999997</cx:pt>
          <cx:pt idx="492">11.328000000000001</cx:pt>
          <cx:pt idx="493">9.0583999999999989</cx:pt>
          <cx:pt idx="494">11.752799999999999</cx:pt>
          <cx:pt idx="495">6.6860999999999908</cx:pt>
          <cx:pt idx="496">53.4712999999999</cx:pt>
          <cx:pt idx="497">6.8171999999999997</cx:pt>
          <cx:pt idx="498">3.2050000000000001</cx:pt>
          <cx:pt idx="499">4.9998000000000005</cx:pt>
          <cx:pt idx="500">11.894399999999999</cx:pt>
          <cx:pt idx="501">7.3008000000000006</cx:pt>
          <cx:pt idx="502">12.825000000000001</cx:pt>
          <cx:pt idx="503">5.5061999999999998</cx:pt>
          <cx:pt idx="504">12.177599999999899</cx:pt>
          <cx:pt idx="505">13.109999999999999</cx:pt>
          <cx:pt idx="506">7.1655999999999995</cx:pt>
          <cx:pt idx="507">6.4239000000000006</cx:pt>
          <cx:pt idx="508">5.1279999999999903</cx:pt>
          <cx:pt idx="509">15.182200000000002</cx:pt>
          <cx:pt idx="510">13.447799999999999</cx:pt>
          <cx:pt idx="511">10.973099999999999</cx:pt>
          <cx:pt idx="512">18.009979999999899</cx:pt>
          <cx:pt idx="513">7.8415999999999997</cx:pt>
          <cx:pt idx="514">10.4175</cx:pt>
          <cx:pt idx="515">7.4495199999999997</cx:pt>
          <cx:pt idx="516">3.7178000000000004</cx:pt>
          <cx:pt idx="517">6.03059999999999</cx:pt>
          <cx:pt idx="518">5.6504099999999999</cx:pt>
          <cx:pt idx="519">7.463040000000019</cx:pt>
          <cx:pt idx="520">10.278600000000001</cx:pt>
          <cx:pt idx="521">10.139699999999999</cx:pt>
          <cx:pt idx="522">5.5061999999999998</cx:pt>
          <cx:pt idx="523">6.4239000000000006</cx:pt>
          <cx:pt idx="524">10.973099999999999</cx:pt>
          <cx:pt idx="525">15.771799999999999</cx:pt>
          <cx:pt idx="526">11.894399999999999</cx:pt>
          <cx:pt idx="527">13.47672</cx:pt>
          <cx:pt idx="528">35.495269999999898</cx:pt>
          <cx:pt idx="529">12.177599999999899</cx:pt>
          <cx:pt idx="530">7.8415999999999997</cx:pt>
          <cx:pt idx="531">4.9998000000000005</cx:pt>
          <cx:pt idx="532">18.148399999999899</cx:pt>
          <cx:pt idx="533">8.9232000000000014</cx:pt>
          <cx:pt idx="534">5.7683999999999997</cx:pt>
          <cx:pt idx="535">6.03059999999999</cx:pt>
          <cx:pt idx="536">17.3794</cx:pt>
          <cx:pt idx="537">4.2305999999999999</cx:pt>
          <cx:pt idx="538">7.0574400000000201</cx:pt>
          <cx:pt idx="539">18.7636</cx:pt>
          <cx:pt idx="540">12.602399999999999</cx:pt>
          <cx:pt idx="541">4.1023999999999994</cx:pt>
          <cx:pt idx="542">3.2178199999999997</cx:pt>
          <cx:pt idx="543">4.1023999999999994</cx:pt>
          <cx:pt idx="544">55.164109999999702</cx:pt>
          <cx:pt idx="545">15.771799999999999</cx:pt>
          <cx:pt idx="546">5.2561999999999998</cx:pt>
          <cx:pt idx="547">46.753799999999998</cx:pt>
          <cx:pt idx="548">12.602399999999999</cx:pt>
          <cx:pt idx="549">10.278600000000001</cx:pt>
          <cx:pt idx="550">8.2472000000000012</cx:pt>
          <cx:pt idx="551">6.2927999999999997</cx:pt>
          <cx:pt idx="552">7.5712000000000002</cx:pt>
          <cx:pt idx="553">6.03059999999999</cx:pt>
          <cx:pt idx="554">10.0008</cx:pt>
          <cx:pt idx="555">10.0008</cx:pt>
          <cx:pt idx="556">11.639520000000001</cx:pt>
          <cx:pt idx="557">5.7683999999999997</cx:pt>
          <cx:pt idx="558">17.0718</cx:pt>
          <cx:pt idx="559">10.973099999999999</cx:pt>
          <cx:pt idx="560">7.1655999999999995</cx:pt>
          <cx:pt idx="561">11.4696</cx:pt>
          <cx:pt idx="562">15.9192</cx:pt>
          <cx:pt idx="563">18.932779999999998</cx:pt>
          <cx:pt idx="564">12.460799999999999</cx:pt>
          <cx:pt idx="565">3.7434400000000201</cx:pt>
          <cx:pt idx="566">9.8619000000000003</cx:pt>
          <cx:pt idx="567">17.2256</cx:pt>
          <cx:pt idx="568">6.03059999999999</cx:pt>
          <cx:pt idx="569">5.63729999999999</cx:pt>
          <cx:pt idx="570">17.840799999999902</cx:pt>
          <cx:pt idx="571">4.1023999999999994</cx:pt>
          <cx:pt idx="572">5.5061999999999998</cx:pt>
          <cx:pt idx="573">8.6527999999999992</cx:pt>
          <cx:pt idx="574">5.89949999999999</cx:pt>
          <cx:pt idx="575">17.2256</cx:pt>
          <cx:pt idx="576">6.2927999999999997</cx:pt>
          <cx:pt idx="577">4.2434199999999995</cx:pt>
          <cx:pt idx="578">10.0008</cx:pt>
          <cx:pt idx="579">51.859100000000005</cx:pt>
          <cx:pt idx="580">4.9998000000000005</cx:pt>
          <cx:pt idx="581">6.4239000000000006</cx:pt>
          <cx:pt idx="582">8.9232000000000014</cx:pt>
          <cx:pt idx="583">6.8171999999999997</cx:pt>
          <cx:pt idx="584">6.8171999999999997</cx:pt>
          <cx:pt idx="585">12.036</cx:pt>
          <cx:pt idx="586">5.89949999999999</cx:pt>
          <cx:pt idx="587">5.7683999999999997</cx:pt>
          <cx:pt idx="588">5.7683999999999997</cx:pt>
          <cx:pt idx="589">12.825000000000001</cx:pt>
          <cx:pt idx="590">4.3588000000000005</cx:pt>
          <cx:pt idx="591">12.05016</cx:pt>
          <cx:pt idx="592">12.319199999999899</cx:pt>
          <cx:pt idx="593">16.764200000000002</cx:pt>
          <cx:pt idx="594">18.148399999999899</cx:pt>
          <cx:pt idx="595">10.6952999999999</cx:pt>
          <cx:pt idx="596">8.6527999999999992</cx:pt>
          <cx:pt idx="597">9.8619000000000003</cx:pt>
          <cx:pt idx="598">5.63729999999999</cx:pt>
          <cx:pt idx="599">10.973099999999999</cx:pt>
          <cx:pt idx="600">16.764200000000002</cx:pt>
          <cx:pt idx="601">12.177599999999899</cx:pt>
          <cx:pt idx="602">5.7683999999999997</cx:pt>
          <cx:pt idx="603">7.7063999999999995</cx:pt>
          <cx:pt idx="604">5.89949999999999</cx:pt>
          <cx:pt idx="605">7.5712000000000002</cx:pt>
          <cx:pt idx="606">10.0008</cx:pt>
          <cx:pt idx="607">11.328000000000001</cx:pt>
          <cx:pt idx="608">4.1023999999999994</cx:pt>
          <cx:pt idx="609">17.2256</cx:pt>
          <cx:pt idx="610">7.7063999999999995</cx:pt>
          <cx:pt idx="611">7.8415999999999997</cx:pt>
          <cx:pt idx="612">12.825000000000001</cx:pt>
          <cx:pt idx="613">15.491739999999901</cx:pt>
          <cx:pt idx="614">6.5549999999999997</cx:pt>
          <cx:pt idx="615">10.0008</cx:pt>
          <cx:pt idx="616">5.2561999999999998</cx:pt>
          <cx:pt idx="617">4.3588000000000005</cx:pt>
          <cx:pt idx="618">4.4870000000000001</cx:pt>
          <cx:pt idx="619">7.8415999999999997</cx:pt>
          <cx:pt idx="620">5.63729999999999</cx:pt>
          <cx:pt idx="621">6.03059999999999</cx:pt>
          <cx:pt idx="622">10.6952999999999</cx:pt>
          <cx:pt idx="623">16.764200000000002</cx:pt>
          <cx:pt idx="624">9.4451999999999998</cx:pt>
          <cx:pt idx="625">5.63729999999999</cx:pt>
          <cx:pt idx="626">10.5564</cx:pt>
          <cx:pt idx="627">5.7683999999999997</cx:pt>
          <cx:pt idx="628">15.639140000000001</cx:pt>
          <cx:pt idx="629">7.1655999999999995</cx:pt>
          <cx:pt idx="630">11.752799999999999</cx:pt>
          <cx:pt idx="631">8.2472000000000012</cx:pt>
          <cx:pt idx="632">18.456</cx:pt>
          <cx:pt idx="633">5.7683999999999997</cx:pt>
          <cx:pt idx="634">5.5061999999999998</cx:pt>
          <cx:pt idx="635">17.533199999999997</cx:pt>
          <cx:pt idx="636">6.5549999999999997</cx:pt>
          <cx:pt idx="637">4.9998000000000005</cx:pt>
          <cx:pt idx="638">6.2927999999999997</cx:pt>
          <cx:pt idx="639">4.6280199999999905</cx:pt>
          <cx:pt idx="640">4.7433999999999994</cx:pt>
          <cx:pt idx="641">9.5840999999999994</cx:pt>
          <cx:pt idx="642">5.89949999999999</cx:pt>
          <cx:pt idx="643">8.2472000000000012</cx:pt>
          <cx:pt idx="644">12.319199999999899</cx:pt>
          <cx:pt idx="645">17.3794</cx:pt>
          <cx:pt idx="646">6.1616999999999997</cx:pt>
          <cx:pt idx="647">15.771799999999999</cx:pt>
          <cx:pt idx="648">15.786539999999999</cx:pt>
          <cx:pt idx="649">6.4239000000000006</cx:pt>
          <cx:pt idx="650">15.6244</cx:pt>
          <cx:pt idx="651">11.34216</cx:pt>
          <cx:pt idx="652">15.6244</cx:pt>
          <cx:pt idx="653">18.009979999999899</cx:pt>
          <cx:pt idx="654">8.3823999999999987</cx:pt>
          <cx:pt idx="655">10.5564</cx:pt>
          <cx:pt idx="656">4.4870000000000001</cx:pt>
          <cx:pt idx="657">5.2561999999999998</cx:pt>
          <cx:pt idx="658">5.89949999999999</cx:pt>
          <cx:pt idx="659">19.071199999999997</cx:pt>
          <cx:pt idx="660">10.834199999999999</cx:pt>
          <cx:pt idx="661">10.4175</cx:pt>
          <cx:pt idx="662">10.4175</cx:pt>
          <cx:pt idx="663">10.139699999999999</cx:pt>
          <cx:pt idx="664">34.689170000000004</cx:pt>
          <cx:pt idx="665">9.6118800000000206</cx:pt>
          <cx:pt idx="666">7.7063999999999995</cx:pt>
          <cx:pt idx="667">7.3008000000000006</cx:pt>
          <cx:pt idx="668">8.5175999999999998</cx:pt>
          <cx:pt idx="669">10.973099999999999</cx:pt>
          <cx:pt idx="670">11.4696</cx:pt>
          <cx:pt idx="671">39.230199999999897</cx:pt>
          <cx:pt idx="672">5.0126199999999894</cx:pt>
          <cx:pt idx="673">15.9192</cx:pt>
          <cx:pt idx="674">6.2927999999999997</cx:pt>
          <cx:pt idx="675">6.1616999999999997</cx:pt>
          <cx:pt idx="676">4.7433999999999994</cx:pt>
          <cx:pt idx="677">3.2178199999999997</cx:pt>
          <cx:pt idx="678">11.611199999999899</cx:pt>
          <cx:pt idx="679">12.460799999999999</cx:pt>
          <cx:pt idx="680">11.328000000000001</cx:pt>
          <cx:pt idx="681">11.4696</cx:pt>
          <cx:pt idx="682">5.2690199999999905</cx:pt>
          <cx:pt idx="683">8.3823999999999987</cx:pt>
          <cx:pt idx="684">10.5564</cx:pt>
          <cx:pt idx="685">5.5061999999999998</cx:pt>
          <cx:pt idx="686">7.1655999999999995</cx:pt>
          <cx:pt idx="687">6.8171999999999997</cx:pt>
          <cx:pt idx="688">7.3008000000000006</cx:pt>
          <cx:pt idx="689">5.63729999999999</cx:pt>
          <cx:pt idx="690">54.546099999999996</cx:pt>
          <cx:pt idx="691">8.2472000000000012</cx:pt>
          <cx:pt idx="692">15.639140000000001</cx:pt>
          <cx:pt idx="693">40.842399999999998</cx:pt>
          <cx:pt idx="694">16.764200000000002</cx:pt>
          <cx:pt idx="695">15.034799999999901</cx:pt>
          <cx:pt idx="696">17.687000000000001</cx:pt>
          <cx:pt idx="697">18.302199999999999</cx:pt>
          <cx:pt idx="698">10.6952999999999</cx:pt>
          <cx:pt idx="699">17.840799999999902</cx:pt>
          <cx:pt idx="700">7.7063999999999995</cx:pt>
          <cx:pt idx="701">6.5549999999999997</cx:pt>
          <cx:pt idx="702">10.278600000000001</cx:pt>
          <cx:pt idx="703">6.8171999999999997</cx:pt>
          <cx:pt idx="704">7.5712000000000002</cx:pt>
          <cx:pt idx="705">6.03059999999999</cx:pt>
          <cx:pt idx="706">6.03059999999999</cx:pt>
          <cx:pt idx="707">15.771799999999999</cx:pt>
          <cx:pt idx="708">18.6098</cx:pt>
          <cx:pt idx="709">19.225000000000001</cx:pt>
          <cx:pt idx="710">7.3008000000000006</cx:pt>
          <cx:pt idx="711">8.1255199999999999</cx:pt>
          <cx:pt idx="712">9.0583999999999989</cx:pt>
          <cx:pt idx="713">7.3008000000000006</cx:pt>
          <cx:pt idx="714">13.447799999999999</cx:pt>
          <cx:pt idx="715">8.7880000000000003</cx:pt>
          <cx:pt idx="716">14.75474</cx:pt>
          <cx:pt idx="717">5.63729999999999</cx:pt>
          <cx:pt idx="718">11.894399999999999</cx:pt>
          <cx:pt idx="719">41.648499999999999</cx:pt>
          <cx:pt idx="720">10.5564</cx:pt>
          <cx:pt idx="721">4.8715999999999999</cx:pt>
          <cx:pt idx="722">12.036</cx:pt>
          <cx:pt idx="723">5.2561999999999998</cx:pt>
          <cx:pt idx="724">40.305</cx:pt>
          <cx:pt idx="725">17.2256</cx:pt>
          <cx:pt idx="726">7.4359999999999999</cx:pt>
          <cx:pt idx="727">17.533199999999997</cx:pt>
          <cx:pt idx="728">17.687000000000001</cx:pt>
          <cx:pt idx="729">8.2472000000000012</cx:pt>
          <cx:pt idx="730">9.8619000000000003</cx:pt>
          <cx:pt idx="731">44.335500000000003</cx:pt>
          <cx:pt idx="732">6.4239000000000006</cx:pt>
          <cx:pt idx="733">12.602399999999999</cx:pt>
          <cx:pt idx="734">6.4239000000000006</cx:pt>
          <cx:pt idx="735">6.8171999999999997</cx:pt>
          <cx:pt idx="736">40.331869999999995</cx:pt>
          <cx:pt idx="737">7.1655999999999995</cx:pt>
          <cx:pt idx="738">11.752799999999999</cx:pt>
          <cx:pt idx="739">4.2305999999999999</cx:pt>
          <cx:pt idx="740">7.8415999999999997</cx:pt>
          <cx:pt idx="741">3.4742199999999896</cx:pt>
          <cx:pt idx="742">6.5549999999999997</cx:pt>
          <cx:pt idx="743">11.328000000000001</cx:pt>
          <cx:pt idx="744">7.3008000000000006</cx:pt>
          <cx:pt idx="745">5.2561999999999998</cx:pt>
          <cx:pt idx="746">5.1279999999999903</cx:pt>
          <cx:pt idx="747">11.752799999999999</cx:pt>
          <cx:pt idx="748">12.825000000000001</cx:pt>
          <cx:pt idx="749">5.2561999999999998</cx:pt>
          <cx:pt idx="750">7.8415999999999997</cx:pt>
          <cx:pt idx="751">49.709499999999998</cx:pt>
          <cx:pt idx="752">17.533199999999997</cx:pt>
          <cx:pt idx="753">4.9998000000000005</cx:pt>
          <cx:pt idx="754">8.3823999999999987</cx:pt>
          <cx:pt idx="755">6.1616999999999997</cx:pt>
          <cx:pt idx="756">6.2927999999999997</cx:pt>
          <cx:pt idx="757">44.872899999999902</cx:pt>
          <cx:pt idx="758">5.9126099999999893</cx:pt>
          <cx:pt idx="759">5.7683999999999997</cx:pt>
          <cx:pt idx="760">11.752799999999999</cx:pt>
          <cx:pt idx="761">4.4870000000000001</cx:pt>
          <cx:pt idx="762">9.5840999999999994</cx:pt>
          <cx:pt idx="763">5.7683999999999997</cx:pt>
          <cx:pt idx="764">10.0008</cx:pt>
          <cx:pt idx="765">6.5549999999999997</cx:pt>
          <cx:pt idx="766">8.5175999999999998</cx:pt>
          <cx:pt idx="767">4.4870000000000001</cx:pt>
          <cx:pt idx="768">12.967500000000001</cx:pt>
          <cx:pt idx="769">5.63729999999999</cx:pt>
          <cx:pt idx="770">5.7683999999999997</cx:pt>
          <cx:pt idx="771">18.4713799999999</cx:pt>
          <cx:pt idx="772">5.7683999999999997</cx:pt>
          <cx:pt idx="773">10.848089999999901</cx:pt>
          <cx:pt idx="774">6.03059999999999</cx:pt>
          <cx:pt idx="775">13.447799999999999</cx:pt>
          <cx:pt idx="776">6.5549999999999997</cx:pt>
          <cx:pt idx="777">11.4696</cx:pt>
          <cx:pt idx="778">7.9767999999999892</cx:pt>
          <cx:pt idx="779">6.03059999999999</cx:pt>
          <cx:pt idx="780">8.5175999999999998</cx:pt>
          <cx:pt idx="781">18.009979999999899</cx:pt>
          <cx:pt idx="782">8.5175999999999998</cx:pt>
          <cx:pt idx="783">41.379800000000003</cx:pt>
          <cx:pt idx="784">8.9232000000000014</cx:pt>
          <cx:pt idx="785">5.89949999999999</cx:pt>
          <cx:pt idx="786">7.3008000000000006</cx:pt>
          <cx:pt idx="787">6.6860999999999908</cx:pt>
          <cx:pt idx="788">19.686400000000003</cx:pt>
          <cx:pt idx="789">18.7636</cx:pt>
          <cx:pt idx="790">7.7063999999999995</cx:pt>
          <cx:pt idx="791">4.6151999999999997</cx:pt>
          <cx:pt idx="792">4.3588000000000005</cx:pt>
          <cx:pt idx="793">8.1120000000000001</cx:pt>
          <cx:pt idx="794">4.7433999999999994</cx:pt>
          <cx:pt idx="795">7.3008000000000006</cx:pt>
          <cx:pt idx="796">8.1255199999999999</cx:pt>
          <cx:pt idx="797">13.109999999999999</cx:pt>
          <cx:pt idx="798">7.1655999999999995</cx:pt>
          <cx:pt idx="799">37.3492999999999</cx:pt>
          <cx:pt idx="800">11.4696</cx:pt>
          <cx:pt idx="801">40.036300000000004</cx:pt>
          <cx:pt idx="802">3.9741999999999997</cx:pt>
          <cx:pt idx="803">6.03059999999999</cx:pt>
          <cx:pt idx="804">18.6098</cx:pt>
          <cx:pt idx="805">11.4696</cx:pt>
          <cx:pt idx="806">17.0718</cx:pt>
          <cx:pt idx="807">3.9741999999999997</cx:pt>
          <cx:pt idx="808">6.5549999999999997</cx:pt>
          <cx:pt idx="809">17.0718</cx:pt>
          <cx:pt idx="810">15.182200000000002</cx:pt>
          <cx:pt idx="811">4.7433999999999994</cx:pt>
          <cx:pt idx="812">11.752799999999999</cx:pt>
          <cx:pt idx="813">7.9767999999999892</cx:pt>
          <cx:pt idx="814">10.278600000000001</cx:pt>
          <cx:pt idx="815">5.5061999999999998</cx:pt>
          <cx:pt idx="816">8.9232000000000014</cx:pt>
          <cx:pt idx="817">7.3008000000000006</cx:pt>
          <cx:pt idx="818">10.973099999999999</cx:pt>
          <cx:pt idx="819">5.1279999999999903</cx:pt>
          <cx:pt idx="820">7.7063999999999995</cx:pt>
          <cx:pt idx="821">8.1120000000000001</cx:pt>
          <cx:pt idx="822">17.3794</cx:pt>
          <cx:pt idx="823">4.6151999999999997</cx:pt>
          <cx:pt idx="824">5.63729999999999</cx:pt>
          <cx:pt idx="825">13.109999999999999</cx:pt>
          <cx:pt idx="826">8.6527999999999992</cx:pt>
          <cx:pt idx="827">10.57029</cx:pt>
          <cx:pt idx="828">14.0261999999999</cx:pt>
          <cx:pt idx="829">9.0583999999999989</cx:pt>
          <cx:pt idx="830">10.5564</cx:pt>
          <cx:pt idx="831">35.468400000000003</cx:pt>
          <cx:pt idx="832">10.834199999999999</cx:pt>
          <cx:pt idx="833">10.834199999999999</cx:pt>
          <cx:pt idx="834">53.202599999999997</cx:pt>
          <cx:pt idx="835">11.4696</cx:pt>
          <cx:pt idx="836">4.3588000000000005</cx:pt>
          <cx:pt idx="837">8.6527999999999992</cx:pt>
          <cx:pt idx="838">4.1023999999999994</cx:pt>
          <cx:pt idx="839">7.1655999999999995</cx:pt>
          <cx:pt idx="840">5.1408199999999997</cx:pt>
          <cx:pt idx="841">9.7368899999999989</cx:pt>
          <cx:pt idx="842">10.5564</cx:pt>
          <cx:pt idx="843">4.6151999999999997</cx:pt>
          <cx:pt idx="844">18.7636</cx:pt>
          <cx:pt idx="845">19.086580000000001</cx:pt>
          <cx:pt idx="846">7.5712000000000002</cx:pt>
          <cx:pt idx="847">5.7683999999999997</cx:pt>
          <cx:pt idx="848">5.5193099999999999</cx:pt>
          <cx:pt idx="849">6.6860999999999908</cx:pt>
          <cx:pt idx="850">7.9903199999999996</cx:pt>
          <cx:pt idx="851">14.1708</cx:pt>
          <cx:pt idx="852">6.5549999999999997</cx:pt>
          <cx:pt idx="853">50.246899999999904</cx:pt>
          <cx:pt idx="854">12.474959999999999</cx:pt>
          <cx:pt idx="855">40.600569999999706</cx:pt>
          <cx:pt idx="856">6.6860999999999908</cx:pt>
          <cx:pt idx="857">7.7063999999999995</cx:pt>
          <cx:pt idx="858">11.894399999999999</cx:pt>
          <cx:pt idx="859">6.8171999999999997</cx:pt>
          <cx:pt idx="860">12.825000000000001</cx:pt>
          <cx:pt idx="861">35.495269999999898</cx:pt>
          <cx:pt idx="862">14.1708</cx:pt>
          <cx:pt idx="863">4.1023999999999994</cx:pt>
          <cx:pt idx="864">7.3008000000000006</cx:pt>
          <cx:pt idx="865">17.533199999999997</cx:pt>
          <cx:pt idx="866">5.89949999999999</cx:pt>
          <cx:pt idx="867">4.7433999999999994</cx:pt>
          <cx:pt idx="868">7.7063999999999995</cx:pt>
          <cx:pt idx="869">15.9192</cx:pt>
          <cx:pt idx="870">19.547980000000003</cx:pt>
          <cx:pt idx="871">12.460799999999999</cx:pt>
          <cx:pt idx="872">12.319199999999899</cx:pt>
          <cx:pt idx="873">34.930999999999997</cx:pt>
          <cx:pt idx="874">19.532599999999999</cx:pt>
          <cx:pt idx="875">14.0261999999999</cx:pt>
          <cx:pt idx="876">19.071199999999997</cx:pt>
          <cx:pt idx="877">15.771799999999999</cx:pt>
          <cx:pt idx="878">12.319199999999899</cx:pt>
          <cx:pt idx="879">18.917400000000001</cx:pt>
          <cx:pt idx="880">1.55122</cx:pt>
          <cx:pt idx="881">15.771799999999999</cx:pt>
          <cx:pt idx="882">6.5549999999999997</cx:pt>
          <cx:pt idx="883">7.8415999999999997</cx:pt>
          <cx:pt idx="884">10.834199999999999</cx:pt>
          <cx:pt idx="885">10.6952999999999</cx:pt>
          <cx:pt idx="886">11.328000000000001</cx:pt>
          <cx:pt idx="887">6.03059999999999</cx:pt>
          <cx:pt idx="888">18.148399999999899</cx:pt>
          <cx:pt idx="889">10.834199999999999</cx:pt>
          <cx:pt idx="890">7.3008000000000006</cx:pt>
          <cx:pt idx="891">18.302199999999999</cx:pt>
          <cx:pt idx="892">6.1616999999999997</cx:pt>
          <cx:pt idx="893">12.83925</cx:pt>
          <cx:pt idx="894">11.4696</cx:pt>
          <cx:pt idx="895">10.6952999999999</cx:pt>
          <cx:pt idx="896">17.687000000000001</cx:pt>
          <cx:pt idx="897">8.1120000000000001</cx:pt>
          <cx:pt idx="898">11.611199999999899</cx:pt>
          <cx:pt idx="899">35.468400000000003</cx:pt>
          <cx:pt idx="900">10.278600000000001</cx:pt>
          <cx:pt idx="901">15.491739999999901</cx:pt>
          <cx:pt idx="902">18.148399999999899</cx:pt>
          <cx:pt idx="903">5.5061999999999998</cx:pt>
          <cx:pt idx="904">9.3340800000000197</cx:pt>
          <cx:pt idx="905">4.8715999999999999</cx:pt>
          <cx:pt idx="906">6.8171999999999997</cx:pt>
          <cx:pt idx="907">18.640560000000001</cx:pt>
          <cx:pt idx="908">5.63729999999999</cx:pt>
          <cx:pt idx="909">6.2927999999999997</cx:pt>
          <cx:pt idx="910">6.03059999999999</cx:pt>
          <cx:pt idx="911">17.0718</cx:pt>
          <cx:pt idx="912">17.3794</cx:pt>
          <cx:pt idx="913">4.7433999999999994</cx:pt>
          <cx:pt idx="914">6.2927999999999997</cx:pt>
          <cx:pt idx="915">12.825000000000001</cx:pt>
          <cx:pt idx="916">9.722999999999999</cx:pt>
          <cx:pt idx="917">17.2256</cx:pt>
          <cx:pt idx="918">13.447799999999999</cx:pt>
          <cx:pt idx="919">4.9998000000000005</cx:pt>
          <cx:pt idx="920">11.611199999999899</cx:pt>
          <cx:pt idx="921">5.63729999999999</cx:pt>
          <cx:pt idx="922">10.6952999999999</cx:pt>
          <cx:pt idx="923">7.5712000000000002</cx:pt>
          <cx:pt idx="924">8.3823999999999987</cx:pt>
          <cx:pt idx="925">5.89949999999999</cx:pt>
          <cx:pt idx="926">40.331869999999995</cx:pt>
          <cx:pt idx="927">6.6860999999999908</cx:pt>
          <cx:pt idx="928">7.1655999999999995</cx:pt>
          <cx:pt idx="929">5.5061999999999998</cx:pt>
          <cx:pt idx="930">10.6952999999999</cx:pt>
          <cx:pt idx="931">10.6952999999999</cx:pt>
          <cx:pt idx="932">8.3823999999999987</cx:pt>
          <cx:pt idx="933">5.89949999999999</cx:pt>
          <cx:pt idx="934">46.485100000000003</cx:pt>
          <cx:pt idx="935">49.709499999999998</cx:pt>
          <cx:pt idx="936">11.4696</cx:pt>
          <cx:pt idx="937">3.34601999999999</cx:pt>
          <cx:pt idx="938">8.1120000000000001</cx:pt>
          <cx:pt idx="939">10.834199999999999</cx:pt>
          <cx:pt idx="940">7.7063999999999995</cx:pt>
          <cx:pt idx="941">16.764200000000002</cx:pt>
          <cx:pt idx="942">10.6952999999999</cx:pt>
          <cx:pt idx="943">15.491739999999901</cx:pt>
          <cx:pt idx="944">17.3794</cx:pt>
          <cx:pt idx="945">5.7683999999999997</cx:pt>
          <cx:pt idx="946">5.7683999999999997</cx:pt>
          <cx:pt idx="947">8.7880000000000003</cx:pt>
          <cx:pt idx="948">6.5549999999999997</cx:pt>
          <cx:pt idx="949">10.4175</cx:pt>
          <cx:pt idx="950">39.498899999999999</cx:pt>
          <cx:pt idx="951">9.5979900000000011</cx:pt>
          <cx:pt idx="952">15.786539999999999</cx:pt>
          <cx:pt idx="953">7.5712000000000002</cx:pt>
          <cx:pt idx="954">12.319199999999899</cx:pt>
          <cx:pt idx="955">10.278600000000001</cx:pt>
          <cx:pt idx="956">12.177599999999899</cx:pt>
          <cx:pt idx="957">6.03059999999999</cx:pt>
          <cx:pt idx="958">8.6527999999999992</cx:pt>
          <cx:pt idx="959">35.737099999999998</cx:pt>
          <cx:pt idx="960">10.292490000000001</cx:pt>
          <cx:pt idx="961">8.9232000000000014</cx:pt>
          <cx:pt idx="962">18.625179999999901</cx:pt>
          <cx:pt idx="963">10.834199999999999</cx:pt>
          <cx:pt idx="964">18.917400000000001</cx:pt>
          <cx:pt idx="965">17.3794</cx:pt>
          <cx:pt idx="966">10.5564</cx:pt>
          <cx:pt idx="967">13.109999999999999</cx:pt>
          <cx:pt idx="968">36.543199999999999</cx:pt>
          <cx:pt idx="969">10.5564</cx:pt>
          <cx:pt idx="970">19.071199999999997</cx:pt>
          <cx:pt idx="971">2.3204199999999999</cx:pt>
          <cx:pt idx="972">7.5712000000000002</cx:pt>
          <cx:pt idx="973">7.3008000000000006</cx:pt>
          <cx:pt idx="974">16.779579999999999</cx:pt>
          <cx:pt idx="975">10.6952999999999</cx:pt>
          <cx:pt idx="976">11.34216</cx:pt>
          <cx:pt idx="977">13.109999999999999</cx:pt>
          <cx:pt idx="978">5.6504099999999999</cx:pt>
          <cx:pt idx="979">39.498899999999999</cx:pt>
          <cx:pt idx="980">5.63729999999999</cx:pt>
          <cx:pt idx="981">6.03059999999999</cx:pt>
          <cx:pt idx="982">12.967500000000001</cx:pt>
          <cx:pt idx="983">10.5564</cx:pt>
          <cx:pt idx="984">8.2472000000000012</cx:pt>
          <cx:pt idx="985">7.1655999999999995</cx:pt>
          <cx:pt idx="986">17.533199999999997</cx:pt>
          <cx:pt idx="987">8.5175999999999998</cx:pt>
          <cx:pt idx="988">17.2256</cx:pt>
          <cx:pt idx="989">10.973099999999999</cx:pt>
          <cx:pt idx="990">10.5564</cx:pt>
          <cx:pt idx="991">11.766959999999999</cx:pt>
          <cx:pt idx="992">4.8715999999999999</cx:pt>
          <cx:pt idx="993">5.7683999999999997</cx:pt>
          <cx:pt idx="994">12.967500000000001</cx:pt>
          <cx:pt idx="995">10.4175</cx:pt>
          <cx:pt idx="996">8.5175999999999998</cx:pt>
          <cx:pt idx="997">7.9903199999999996</cx:pt>
          <cx:pt idx="998">5.89949999999999</cx:pt>
          <cx:pt idx="999">10.292490000000001</cx:pt>
          <cx:pt idx="1000">17.0718</cx:pt>
          <cx:pt idx="1001">8.7880000000000003</cx:pt>
          <cx:pt idx="1002">39.767599999999995</cx:pt>
          <cx:pt idx="1003">40.036300000000004</cx:pt>
          <cx:pt idx="1004">5.7683999999999997</cx:pt>
          <cx:pt idx="1005">5.89949999999999</cx:pt>
          <cx:pt idx="1006">6.6860999999999908</cx:pt>
          <cx:pt idx="1007">19.378799999999998</cx:pt>
          <cx:pt idx="1008">8.2472000000000012</cx:pt>
          <cx:pt idx="1009">5.7683999999999997</cx:pt>
          <cx:pt idx="1010">6.1748099999999999</cx:pt>
          <cx:pt idx="1011">10.278600000000001</cx:pt>
          <cx:pt idx="1012">5.63729999999999</cx:pt>
          <cx:pt idx="1013">10.139699999999999</cx:pt>
          <cx:pt idx="1014">5.5193099999999999</cx:pt>
          <cx:pt idx="1015">14.0261999999999</cx:pt>
          <cx:pt idx="1016">11.611199999999899</cx:pt>
          <cx:pt idx="1017">18.917400000000001</cx:pt>
          <cx:pt idx="1018">14.607339999999899</cx:pt>
          <cx:pt idx="1019">6.03059999999999</cx:pt>
          <cx:pt idx="1020">6.03059999999999</cx:pt>
          <cx:pt idx="1021">4.8715999999999999</cx:pt>
          <cx:pt idx="1022">8.1120000000000001</cx:pt>
          <cx:pt idx="1023">6.1616999999999997</cx:pt>
          <cx:pt idx="1024">12.319199999999899</cx:pt>
          <cx:pt idx="1025">11.328000000000001</cx:pt>
          <cx:pt idx="1026">10.278600000000001</cx:pt>
          <cx:pt idx="1027">11.625360000000001</cx:pt>
          <cx:pt idx="1028">15.786539999999999</cx:pt>
          <cx:pt idx="1029">11.752799999999999</cx:pt>
          <cx:pt idx="1030">11.4696</cx:pt>
          <cx:pt idx="1031">19.071199999999997</cx:pt>
          <cx:pt idx="1032">7.4359999999999999</cx:pt>
          <cx:pt idx="1033">10.139699999999999</cx:pt>
          <cx:pt idx="1034">18.302199999999999</cx:pt>
          <cx:pt idx="1035">37.91357</cx:pt>
          <cx:pt idx="1036">12.319199999999899</cx:pt>
          <cx:pt idx="1037">10.7091899999999</cx:pt>
          <cx:pt idx="1038">11.611199999999899</cx:pt>
          <cx:pt idx="1039">5.7683999999999997</cx:pt>
          <cx:pt idx="1040">11.894399999999999</cx:pt>
          <cx:pt idx="1041">15.771799999999999</cx:pt>
          <cx:pt idx="1042">8.3823999999999987</cx:pt>
          <cx:pt idx="1043">10.5564</cx:pt>
          <cx:pt idx="1044">17.702379999999902</cx:pt>
          <cx:pt idx="1045">5.7683999999999997</cx:pt>
          <cx:pt idx="1046">37.080599999999905</cx:pt>
          <cx:pt idx="1047">18.917400000000001</cx:pt>
          <cx:pt idx="1048">17.840799999999902</cx:pt>
          <cx:pt idx="1049">8.6527999999999992</cx:pt>
          <cx:pt idx="1050">6.03059999999999</cx:pt>
          <cx:pt idx="1051">8.80152</cx:pt>
          <cx:pt idx="1052">8.2472000000000012</cx:pt>
          <cx:pt idx="1053">7.7063999999999995</cx:pt>
          <cx:pt idx="1054">7.5712000000000002</cx:pt>
          <cx:pt idx="1055">10.973099999999999</cx:pt>
          <cx:pt idx="1056">15.771799999999999</cx:pt>
          <cx:pt idx="1057">12.602399999999999</cx:pt>
          <cx:pt idx="1058">11.894399999999999</cx:pt>
          <cx:pt idx="1059">6.5549999999999997</cx:pt>
          <cx:pt idx="1060">5.7683999999999997</cx:pt>
          <cx:pt idx="1061">8.9232000000000014</cx:pt>
          <cx:pt idx="1062">6.2927999999999997</cx:pt>
          <cx:pt idx="1063">8.9367199999999993</cx:pt>
          <cx:pt idx="1064">10.973099999999999</cx:pt>
          <cx:pt idx="1065">10.6952999999999</cx:pt>
          <cx:pt idx="1066">8.2472000000000012</cx:pt>
          <cx:pt idx="1067">4.6151999999999997</cx:pt>
          <cx:pt idx="1068">10.0008</cx:pt>
          <cx:pt idx="1069">12.177599999999899</cx:pt>
          <cx:pt idx="1070">7.9903199999999996</cx:pt>
          <cx:pt idx="1071">41.379800000000003</cx:pt>
          <cx:pt idx="1072">9.4451999999999998</cx:pt>
          <cx:pt idx="1073">43.556270000000005</cx:pt>
          <cx:pt idx="1074">10.139699999999999</cx:pt>
          <cx:pt idx="1075">15.771799999999999</cx:pt>
          <cx:pt idx="1076">7.4359999999999999</cx:pt>
          <cx:pt idx="1077">4.7433999999999994</cx:pt>
          <cx:pt idx="1078">10.153589999999999</cx:pt>
          <cx:pt idx="1079">5.0126199999999894</cx:pt>
          <cx:pt idx="1080">10.0008</cx:pt>
          <cx:pt idx="1081">10.278600000000001</cx:pt>
          <cx:pt idx="1082">48.392870000000002</cx:pt>
          <cx:pt idx="1083">7.5712000000000002</cx:pt>
          <cx:pt idx="1084">3.4613999999999998</cx:pt>
          <cx:pt idx="1085">7.4359999999999999</cx:pt>
          <cx:pt idx="1086">47.828600000000002</cx:pt>
          <cx:pt idx="1087">10.973099999999999</cx:pt>
          <cx:pt idx="1088">4.3588000000000005</cx:pt>
          <cx:pt idx="1089">18.7636</cx:pt>
          <cx:pt idx="1090">16.764200000000002</cx:pt>
          <cx:pt idx="1091">57.7704999999997</cx:pt>
          <cx:pt idx="1092">8.9232000000000014</cx:pt>
          <cx:pt idx="1093">12.967500000000001</cx:pt>
          <cx:pt idx="1094">17.533199999999997</cx:pt>
          <cx:pt idx="1095">5.89949999999999</cx:pt>
          <cx:pt idx="1096">7.5712000000000002</cx:pt>
          <cx:pt idx="1097">12.036</cx:pt>
          <cx:pt idx="1098">19.071199999999997</cx:pt>
          <cx:pt idx="1099">5.6504099999999999</cx:pt>
          <cx:pt idx="1100">6.6860999999999908</cx:pt>
          <cx:pt idx="1101">6.1616999999999997</cx:pt>
          <cx:pt idx="1102">5.89949999999999</cx:pt>
          <cx:pt idx="1103">8.9232000000000014</cx:pt>
          <cx:pt idx="1104">2.9485999999999999</cx:pt>
          <cx:pt idx="1105">11.752799999999999</cx:pt>
          <cx:pt idx="1106">8.9232000000000014</cx:pt>
          <cx:pt idx="1107">16.764200000000002</cx:pt>
          <cx:pt idx="1108">4.8715999999999999</cx:pt>
          <cx:pt idx="1109">10.5564</cx:pt>
          <cx:pt idx="1110">5.7683999999999997</cx:pt>
          <cx:pt idx="1111">8.9232000000000014</cx:pt>
          <cx:pt idx="1112">6.6860999999999908</cx:pt>
          <cx:pt idx="1113">13.736999999999998</cx:pt>
          <cx:pt idx="1114">11.752799999999999</cx:pt>
          <cx:pt idx="1115">3.5895999999999999</cx:pt>
          <cx:pt idx="1116">8.2472000000000012</cx:pt>
          <cx:pt idx="1117">10.139699999999999</cx:pt>
          <cx:pt idx="1118">11.894399999999999</cx:pt>
          <cx:pt idx="1119">6.2927999999999997</cx:pt>
          <cx:pt idx="1120">11.752799999999999</cx:pt>
          <cx:pt idx="1121">7.3008000000000006</cx:pt>
          <cx:pt idx="1122">49.709499999999998</cx:pt>
          <cx:pt idx="1123">14.0261999999999</cx:pt>
          <cx:pt idx="1124">13.881599999999999</cx:pt>
          <cx:pt idx="1125">8.2472000000000012</cx:pt>
          <cx:pt idx="1126">10.973099999999999</cx:pt>
          <cx:pt idx="1127">13.447799999999999</cx:pt>
          <cx:pt idx="1128">7.3008000000000006</cx:pt>
          <cx:pt idx="1129">6.8171999999999997</cx:pt>
          <cx:pt idx="1130">18.3175799999999</cx:pt>
          <cx:pt idx="1131">9.722999999999999</cx:pt>
          <cx:pt idx="1132">10.6952999999999</cx:pt>
          <cx:pt idx="1133">9.8619000000000003</cx:pt>
          <cx:pt idx="1134">15.771799999999999</cx:pt>
          <cx:pt idx="1135">10.139699999999999</cx:pt>
          <cx:pt idx="1136">13.5924</cx:pt>
          <cx:pt idx="1137">6.2927999999999997</cx:pt>
          <cx:pt idx="1138">5.5061999999999998</cx:pt>
          <cx:pt idx="1139">2.3075999999999999</cx:pt>
          <cx:pt idx="1140">55.083499999999994</cx:pt>
          <cx:pt idx="1141">12.319199999999899</cx:pt>
          <cx:pt idx="1142">6.5549999999999997</cx:pt>
          <cx:pt idx="1143">4.9998000000000005</cx:pt>
          <cx:pt idx="1144">7.9767999999999892</cx:pt>
          <cx:pt idx="1145">14.8873999999999</cx:pt>
          <cx:pt idx="1146">16.917999999999999</cx:pt>
          <cx:pt idx="1147">5.7683999999999997</cx:pt>
          <cx:pt idx="1148">11.752799999999999</cx:pt>
          <cx:pt idx="1149">10.6952999999999</cx:pt>
          <cx:pt idx="1150">6.8171999999999997</cx:pt>
          <cx:pt idx="1151">5.63729999999999</cx:pt>
          <cx:pt idx="1152">7.5712000000000002</cx:pt>
          <cx:pt idx="1153">12.177599999999899</cx:pt>
          <cx:pt idx="1154">4.2305999999999999</cx:pt>
          <cx:pt idx="1155">8.9232000000000014</cx:pt>
          <cx:pt idx="1156">15.034799999999901</cx:pt>
          <cx:pt idx="1157">4.9998000000000005</cx:pt>
          <cx:pt idx="1158">6.6860999999999908</cx:pt>
          <cx:pt idx="1159">19.686400000000003</cx:pt>
          <cx:pt idx="1160">17.0718</cx:pt>
          <cx:pt idx="1161">4.4870000000000001</cx:pt>
          <cx:pt idx="1162">7.3008000000000006</cx:pt>
          <cx:pt idx="1163">14.0261999999999</cx:pt>
          <cx:pt idx="1164">4.7562199999999999</cx:pt>
          <cx:pt idx="1165">47.828600000000002</cx:pt>
          <cx:pt idx="1166">6.4239000000000006</cx:pt>
          <cx:pt idx="1167">7.7063999999999995</cx:pt>
          <cx:pt idx="1168">9.722999999999999</cx:pt>
          <cx:pt idx="1169">43.529399999999903</cx:pt>
          <cx:pt idx="1170">10.5564</cx:pt>
          <cx:pt idx="1171">7.0574400000000201</cx:pt>
          <cx:pt idx="1172">7.9767999999999892</cx:pt>
          <cx:pt idx="1173">11.328000000000001</cx:pt>
          <cx:pt idx="1174">13.109999999999999</cx:pt>
          <cx:pt idx="1175">7.7063999999999995</cx:pt>
          <cx:pt idx="1176">6.5549999999999997</cx:pt>
          <cx:pt idx="1177">5.5061999999999998</cx:pt>
          <cx:pt idx="1178">6.8171999999999997</cx:pt>
          <cx:pt idx="1179">37.107469999999999</cx:pt>
          <cx:pt idx="1180">10.5564</cx:pt>
          <cx:pt idx="1181">8.3823999999999987</cx:pt>
          <cx:pt idx="1182">6.2927999999999997</cx:pt>
          <cx:pt idx="1183">6.03059999999999</cx:pt>
          <cx:pt idx="1184">7.4359999999999999</cx:pt>
          <cx:pt idx="1185">5.63729999999999</cx:pt>
          <cx:pt idx="1186">12.319199999999899</cx:pt>
          <cx:pt idx="1187">5.89949999999999</cx:pt>
          <cx:pt idx="1188">8.5311199999999907</cx:pt>
          <cx:pt idx="1189">12.967500000000001</cx:pt>
          <cx:pt idx="1190">12.036</cx:pt>
          <cx:pt idx="1191">4.7433999999999994</cx:pt>
          <cx:pt idx="1192">10.57029</cx:pt>
          <cx:pt idx="1193">6.03059999999999</cx:pt>
          <cx:pt idx="1194">5.2561999999999998</cx:pt>
          <cx:pt idx="1195">5.63729999999999</cx:pt>
          <cx:pt idx="1196">7.3008000000000006</cx:pt>
          <cx:pt idx="1197">13.896059999999899</cx:pt>
          <cx:pt idx="1198">12.036</cx:pt>
          <cx:pt idx="1199">11.894399999999999</cx:pt>
          <cx:pt idx="1200">11.328000000000001</cx:pt>
          <cx:pt idx="1201">5.2561999999999998</cx:pt>
          <cx:pt idx="1202">11.48376</cx:pt>
          <cx:pt idx="1203">11.611199999999899</cx:pt>
          <cx:pt idx="1204">12.319199999999899</cx:pt>
          <cx:pt idx="1205">40.842399999999998</cx:pt>
          <cx:pt idx="1206">10.278600000000001</cx:pt>
          <cx:pt idx="1207">8.9232000000000014</cx:pt>
          <cx:pt idx="1208">6.03059999999999</cx:pt>
          <cx:pt idx="1209">18.302199999999999</cx:pt>
          <cx:pt idx="1210">11.4696</cx:pt>
          <cx:pt idx="1211">15.771799999999999</cx:pt>
          <cx:pt idx="1212">10.6952999999999</cx:pt>
          <cx:pt idx="1213">6.03059999999999</cx:pt>
          <cx:pt idx="1214">36.005800000000001</cx:pt>
          <cx:pt idx="1215">8.9232000000000014</cx:pt>
          <cx:pt idx="1216">7.5712000000000002</cx:pt>
          <cx:pt idx="1217">4.7433999999999994</cx:pt>
          <cx:pt idx="1218">10.5564</cx:pt>
          <cx:pt idx="1219">6.2927999999999997</cx:pt>
          <cx:pt idx="1220">6.3190200000000196</cx:pt>
          <cx:pt idx="1221">10.278600000000001</cx:pt>
          <cx:pt idx="1222">9.0583999999999989</cx:pt>
          <cx:pt idx="1223">17.871559999999999</cx:pt>
          <cx:pt idx="1224">13.447799999999999</cx:pt>
          <cx:pt idx="1225">11.611199999999899</cx:pt>
          <cx:pt idx="1226">9.722999999999999</cx:pt>
          <cx:pt idx="1227">4.4870000000000001</cx:pt>
          <cx:pt idx="1228">6.4239000000000006</cx:pt>
          <cx:pt idx="1229">3.9741999999999997</cx:pt>
          <cx:pt idx="1230">40.842399999999998</cx:pt>
          <cx:pt idx="1231">18.6098</cx:pt>
          <cx:pt idx="1232">43.2607</cx:pt>
          <cx:pt idx="1233">10.834199999999999</cx:pt>
          <cx:pt idx="1234">7.4359999999999999</cx:pt>
          <cx:pt idx="1235">5.89949999999999</cx:pt>
          <cx:pt idx="1236">12.460799999999999</cx:pt>
          <cx:pt idx="1237">9.0583999999999989</cx:pt>
          <cx:pt idx="1238">4.6151999999999997</cx:pt>
          <cx:pt idx="1239">10.6952999999999</cx:pt>
          <cx:pt idx="1240">5.7683999999999997</cx:pt>
          <cx:pt idx="1241">15.771799999999999</cx:pt>
          <cx:pt idx="1242">9.0583999999999989</cx:pt>
          <cx:pt idx="1243">15.771799999999999</cx:pt>
          <cx:pt idx="1244">12.177599999999899</cx:pt>
          <cx:pt idx="1245">12.319199999999899</cx:pt>
          <cx:pt idx="1246">8.1255199999999999</cx:pt>
          <cx:pt idx="1247">15.9192</cx:pt>
          <cx:pt idx="1248">40.573700000000002</cx:pt>
          <cx:pt idx="1249">5.63729999999999</cx:pt>
          <cx:pt idx="1250">14.3154</cx:pt>
          <cx:pt idx="1251">18.148399999999899</cx:pt>
          <cx:pt idx="1252">4.3588000000000005</cx:pt>
          <cx:pt idx="1253">3.4613999999999998</cx:pt>
          <cx:pt idx="1254">6.2927999999999997</cx:pt>
          <cx:pt idx="1255">16.917999999999999</cx:pt>
          <cx:pt idx="1256">5.89949999999999</cx:pt>
          <cx:pt idx="1257">7.9767999999999892</cx:pt>
          <cx:pt idx="1258">10.973099999999999</cx:pt>
          <cx:pt idx="1259">17.3794</cx:pt>
          <cx:pt idx="1260">9.0583999999999989</cx:pt>
          <cx:pt idx="1261">6.8171999999999997</cx:pt>
          <cx:pt idx="1262">11.894399999999999</cx:pt>
          <cx:pt idx="1263">12.460799999999999</cx:pt>
          <cx:pt idx="1264">18.456</cx:pt>
          <cx:pt idx="1265">15.771799999999999</cx:pt>
          <cx:pt idx="1266">7.5712000000000002</cx:pt>
          <cx:pt idx="1267">8.3823999999999987</cx:pt>
          <cx:pt idx="1268">13.5924</cx:pt>
          <cx:pt idx="1269">45.678999999999995</cx:pt>
          <cx:pt idx="1270">6.03059999999999</cx:pt>
          <cx:pt idx="1271">16.764200000000002</cx:pt>
          <cx:pt idx="1272">16.764200000000002</cx:pt>
          <cx:pt idx="1273">9.5840999999999994</cx:pt>
          <cx:pt idx="1274">6.03059999999999</cx:pt>
          <cx:pt idx="1275">5.63729999999999</cx:pt>
          <cx:pt idx="1276">12.177599999999899</cx:pt>
          <cx:pt idx="1277">10.986989999999899</cx:pt>
          <cx:pt idx="1278">10.139699999999999</cx:pt>
          <cx:pt idx="1279">11.328000000000001</cx:pt>
          <cx:pt idx="1280">8.9232000000000014</cx:pt>
          <cx:pt idx="1281">10.973099999999999</cx:pt>
          <cx:pt idx="1282">10.139699999999999</cx:pt>
          <cx:pt idx="1283">10.973099999999999</cx:pt>
          <cx:pt idx="1284">18.917400000000001</cx:pt>
          <cx:pt idx="1285">8.6527999999999992</cx:pt>
          <cx:pt idx="1286">15.771799999999999</cx:pt>
          <cx:pt idx="1287">5.5061999999999998</cx:pt>
          <cx:pt idx="1288">7.8415999999999997</cx:pt>
          <cx:pt idx="1289">34.95787</cx:pt>
          <cx:pt idx="1290">6.03059999999999</cx:pt>
          <cx:pt idx="1291">9.0583999999999989</cx:pt>
          <cx:pt idx="1292">8.9232000000000014</cx:pt>
          <cx:pt idx="1293">10.6952999999999</cx:pt>
          <cx:pt idx="1294">9.722999999999999</cx:pt>
          <cx:pt idx="1295">13.109999999999999</cx:pt>
          <cx:pt idx="1296">6.03059999999999</cx:pt>
          <cx:pt idx="1297">3.0768</cx:pt>
          <cx:pt idx="1298">5.63729999999999</cx:pt>
          <cx:pt idx="1299">3.3332000000000002</cx:pt>
          <cx:pt idx="1300">7.5712000000000002</cx:pt>
          <cx:pt idx="1301">6.6992099999999999</cx:pt>
          <cx:pt idx="1302">7.5712000000000002</cx:pt>
          <cx:pt idx="1303">42.992000000000004</cx:pt>
          <cx:pt idx="1304">11.00088</cx:pt>
          <cx:pt idx="1305">8.1120000000000001</cx:pt>
          <cx:pt idx="1306">12.319199999999899</cx:pt>
          <cx:pt idx="1307">8.5175999999999998</cx:pt>
          <cx:pt idx="1308">12.460799999999999</cx:pt>
          <cx:pt idx="1309">18.302199999999999</cx:pt>
          <cx:pt idx="1310">5.2561999999999998</cx:pt>
          <cx:pt idx="1311">6.5549999999999997</cx:pt>
          <cx:pt idx="1312">5.63729999999999</cx:pt>
          <cx:pt idx="1313">6.1616999999999997</cx:pt>
          <cx:pt idx="1314">9.4451999999999998</cx:pt>
          <cx:pt idx="1315">6.8171999999999997</cx:pt>
          <cx:pt idx="1316">11.4696</cx:pt>
          <cx:pt idx="1317">8.2742400000000202</cx:pt>
          <cx:pt idx="1318">15.182200000000002</cx:pt>
          <cx:pt idx="1319">45.947700000000005</cx:pt>
          <cx:pt idx="1320">11.752799999999999</cx:pt>
          <cx:pt idx="1321">36.274499999999996</cx:pt>
          <cx:pt idx="1322">18.456</cx:pt>
          <cx:pt idx="1323">15.6244</cx:pt>
          <cx:pt idx="1324">40.842399999999998</cx:pt>
          <cx:pt idx="1325">4.2305999999999999</cx:pt>
          <cx:pt idx="1326">16.917999999999999</cx:pt>
          <cx:pt idx="1327">6.4239000000000006</cx:pt>
          <cx:pt idx="1328">14.0261999999999</cx:pt>
          <cx:pt idx="1329">8.6527999999999992</cx:pt>
          <cx:pt idx="1330">18.302199999999999</cx:pt>
          <cx:pt idx="1331">6.1616999999999997</cx:pt>
          <cx:pt idx="1332">15.9192</cx:pt>
          <cx:pt idx="1333">4.3588000000000005</cx:pt>
          <cx:pt idx="1334">6.03059999999999</cx:pt>
          <cx:pt idx="1335">10.6952999999999</cx:pt>
          <cx:pt idx="1336">9.722999999999999</cx:pt>
          <cx:pt idx="1337">6.03059999999999</cx:pt>
          <cx:pt idx="1338">11.752799999999999</cx:pt>
          <cx:pt idx="1339">5.5061999999999998</cx:pt>
          <cx:pt idx="1340">14.3154</cx:pt>
          <cx:pt idx="1341">5.1279999999999903</cx:pt>
          <cx:pt idx="1342">10.834199999999999</cx:pt>
          <cx:pt idx="1343">5.1408199999999997</cx:pt>
          <cx:pt idx="1344">15.476999999999999</cx:pt>
          <cx:pt idx="1345">6.8171999999999997</cx:pt>
          <cx:pt idx="1346">7.4359999999999999</cx:pt>
          <cx:pt idx="1347">12.825000000000001</cx:pt>
          <cx:pt idx="1348">5.1279999999999903</cx:pt>
          <cx:pt idx="1349">12.825000000000001</cx:pt>
          <cx:pt idx="1350">12.460799999999999</cx:pt>
          <cx:pt idx="1351">12.036</cx:pt>
          <cx:pt idx="1352">10.139699999999999</cx:pt>
          <cx:pt idx="1353">15.476999999999999</cx:pt>
          <cx:pt idx="1354">52.933899999999902</cx:pt>
          <cx:pt idx="1355">7.1655999999999995</cx:pt>
          <cx:pt idx="1356">14.74</cx:pt>
          <cx:pt idx="1357">5.89949999999999</cx:pt>
          <cx:pt idx="1358">11.611199999999899</cx:pt>
          <cx:pt idx="1359">7.8415999999999997</cx:pt>
          <cx:pt idx="1360">11.752799999999999</cx:pt>
          <cx:pt idx="1361">5.63729999999999</cx:pt>
          <cx:pt idx="1362">10.278600000000001</cx:pt>
          <cx:pt idx="1363">5.89949999999999</cx:pt>
          <cx:pt idx="1364">5.89949999999999</cx:pt>
          <cx:pt idx="1365">15.476999999999999</cx:pt>
          <cx:pt idx="1366">6.03059999999999</cx:pt>
          <cx:pt idx="1367">11.4696</cx:pt>
          <cx:pt idx="1368">6.03059999999999</cx:pt>
          <cx:pt idx="1369">10.278600000000001</cx:pt>
          <cx:pt idx="1370">7.3008000000000006</cx:pt>
          <cx:pt idx="1371">10.973099999999999</cx:pt>
          <cx:pt idx="1372">4.6151999999999997</cx:pt>
          <cx:pt idx="1373">8.1120000000000001</cx:pt>
          <cx:pt idx="1374">10.973099999999999</cx:pt>
          <cx:pt idx="1375">9.5840999999999994</cx:pt>
          <cx:pt idx="1376">17.687000000000001</cx:pt>
          <cx:pt idx="1377">37.886699999999998</cx:pt>
          <cx:pt idx="1378">6.2927999999999997</cx:pt>
          <cx:pt idx="1379">9.4451999999999998</cx:pt>
          <cx:pt idx="1380">39.525770000000001</cx:pt>
          <cx:pt idx="1381">11.611199999999899</cx:pt>
          <cx:pt idx="1382">10.834199999999999</cx:pt>
          <cx:pt idx="1383">11.328000000000001</cx:pt>
          <cx:pt idx="1384">4.9998000000000005</cx:pt>
          <cx:pt idx="1385">8.3823999999999987</cx:pt>
          <cx:pt idx="1386">15.491739999999901</cx:pt>
          <cx:pt idx="1387">9.8619000000000003</cx:pt>
          <cx:pt idx="1388">7.9767999999999892</cx:pt>
          <cx:pt idx="1389">6.8171999999999997</cx:pt>
          <cx:pt idx="1390">16.764200000000002</cx:pt>
          <cx:pt idx="1391">40.842399999999998</cx:pt>
          <cx:pt idx="1392">13.109999999999999</cx:pt>
          <cx:pt idx="1393">10.6952999999999</cx:pt>
          <cx:pt idx="1394">3.9741999999999997</cx:pt>
          <cx:pt idx="1395">5.89949999999999</cx:pt>
          <cx:pt idx="1396">6.4239000000000006</cx:pt>
          <cx:pt idx="1397">12.967500000000001</cx:pt>
          <cx:pt idx="1398">17.994599999999998</cx:pt>
          <cx:pt idx="1399">7.8415999999999997</cx:pt>
          <cx:pt idx="1400">5.7815099999999902</cx:pt>
          <cx:pt idx="1401">6.03059999999999</cx:pt>
          <cx:pt idx="1402">5.63729999999999</cx:pt>
          <cx:pt idx="1403">10.57029</cx:pt>
          <cx:pt idx="1404">5.89949999999999</cx:pt>
          <cx:pt idx="1405">10.4175</cx:pt>
          <cx:pt idx="1406">15.476999999999999</cx:pt>
          <cx:pt idx="1407">6.03059999999999</cx:pt>
          <cx:pt idx="1408">10.0008</cx:pt>
          <cx:pt idx="1409">12.319199999999899</cx:pt>
          <cx:pt idx="1410">15.476999999999999</cx:pt>
          <cx:pt idx="1411">6.03059999999999</cx:pt>
          <cx:pt idx="1412">8.3823999999999987</cx:pt>
          <cx:pt idx="1413">37.080599999999905</cx:pt>
          <cx:pt idx="1414">5.5061999999999998</cx:pt>
          <cx:pt idx="1415">10.973099999999999</cx:pt>
          <cx:pt idx="1416">6.2927999999999997</cx:pt>
          <cx:pt idx="1417">11.611199999999899</cx:pt>
          <cx:pt idx="1418">11.4696</cx:pt>
          <cx:pt idx="1419">4.4870000000000001</cx:pt>
          <cx:pt idx="1420">8.3823999999999987</cx:pt>
          <cx:pt idx="1421">62.929539999999697</cx:pt>
          <cx:pt idx="1422">35.737099999999998</cx:pt>
          <cx:pt idx="1423">12.825000000000001</cx:pt>
          <cx:pt idx="1424">5.2561999999999998</cx:pt>
          <cx:pt idx="1425">5.7683999999999997</cx:pt>
          <cx:pt idx="1426">11.752799999999999</cx:pt>
          <cx:pt idx="1427">12.319199999999899</cx:pt>
          <cx:pt idx="1428">7.4359999999999999</cx:pt>
          <cx:pt idx="1429">19.225000000000001</cx:pt>
          <cx:pt idx="1430">3.9741999999999997</cx:pt>
          <cx:pt idx="1431">7.5712000000000002</cx:pt>
          <cx:pt idx="1432">16.764200000000002</cx:pt>
          <cx:pt idx="1433">12.036</cx:pt>
          <cx:pt idx="1434">18.6098</cx:pt>
          <cx:pt idx="1435">13.447799999999999</cx:pt>
          <cx:pt idx="1436">18.302199999999999</cx:pt>
          <cx:pt idx="1437">15.771799999999999</cx:pt>
          <cx:pt idx="1438">8.6527999999999992</cx:pt>
          <cx:pt idx="1439">41.379800000000003</cx:pt>
          <cx:pt idx="1440">15.639140000000001</cx:pt>
          <cx:pt idx="1441">40.305</cx:pt>
          <cx:pt idx="1442">44.066799999999901</cx:pt>
          <cx:pt idx="1443">6.4239000000000006</cx:pt>
          <cx:pt idx="1444">10.57029</cx:pt>
          <cx:pt idx="1445">13.1242499999999</cx:pt>
          <cx:pt idx="1446">8.80152</cx:pt>
          <cx:pt idx="1447">6.5549999999999997</cx:pt>
          <cx:pt idx="1448">13.447799999999999</cx:pt>
          <cx:pt idx="1449">6.4239000000000006</cx:pt>
          <cx:pt idx="1450">9.5840999999999994</cx:pt>
          <cx:pt idx="1451">18.917400000000001</cx:pt>
          <cx:pt idx="1452">8.3823999999999987</cx:pt>
          <cx:pt idx="1453">8.9232000000000014</cx:pt>
          <cx:pt idx="1454">6.5549999999999997</cx:pt>
          <cx:pt idx="1455">7.3008000000000006</cx:pt>
          <cx:pt idx="1456">13.5924</cx:pt>
          <cx:pt idx="1457">6.2927999999999997</cx:pt>
          <cx:pt idx="1458">15.476999999999999</cx:pt>
          <cx:pt idx="1459">3.5895999999999999</cx:pt>
          <cx:pt idx="1460">19.101960000000002</cx:pt>
          <cx:pt idx="1461">41.648499999999999</cx:pt>
          <cx:pt idx="1462">8.3823999999999987</cx:pt>
          <cx:pt idx="1463">5.89949999999999</cx:pt>
          <cx:pt idx="1464">6.1616999999999997</cx:pt>
          <cx:pt idx="1465">19.686400000000003</cx:pt>
          <cx:pt idx="1466">8.6527999999999992</cx:pt>
          <cx:pt idx="1467">16.764200000000002</cx:pt>
          <cx:pt idx="1468">7.1655999999999995</cx:pt>
          <cx:pt idx="1469">11.4696</cx:pt>
          <cx:pt idx="1470">6.03059999999999</cx:pt>
          <cx:pt idx="1471">18.917400000000001</cx:pt>
          <cx:pt idx="1472">9.4451999999999998</cx:pt>
          <cx:pt idx="1473">17.840799999999902</cx:pt>
          <cx:pt idx="1474">17.687000000000001</cx:pt>
          <cx:pt idx="1475">15.786539999999999</cx:pt>
          <cx:pt idx="1476">10.139699999999999</cx:pt>
          <cx:pt idx="1477">49.978200000000001</cx:pt>
          <cx:pt idx="1478">18.456</cx:pt>
          <cx:pt idx="1479">5.2561999999999998</cx:pt>
          <cx:pt idx="1480">35.468400000000003</cx:pt>
          <cx:pt idx="1481">7.9767999999999892</cx:pt>
          <cx:pt idx="1482">8.9232000000000014</cx:pt>
          <cx:pt idx="1483">4.1023999999999994</cx:pt>
          <cx:pt idx="1484">11.894399999999999</cx:pt>
          <cx:pt idx="1485">10.0008</cx:pt>
          <cx:pt idx="1486">12.825000000000001</cx:pt>
          <cx:pt idx="1487">3.8460000000000001</cx:pt>
          <cx:pt idx="1488">17.0718</cx:pt>
          <cx:pt idx="1489">6.2927999999999997</cx:pt>
          <cx:pt idx="1490">5.89949999999999</cx:pt>
          <cx:pt idx="1491">9.4451999999999998</cx:pt>
          <cx:pt idx="1492">6.6992099999999999</cx:pt>
          <cx:pt idx="1493">3.9741999999999997</cx:pt>
          <cx:pt idx="1494">6.2927999999999997</cx:pt>
          <cx:pt idx="1495">6.5549999999999997</cx:pt>
          <cx:pt idx="1496">10.6952999999999</cx:pt>
          <cx:pt idx="1497">4.9998000000000005</cx:pt>
          <cx:pt idx="1498">18.148399999999899</cx:pt>
          <cx:pt idx="1499">10.278600000000001</cx:pt>
          <cx:pt idx="1500">15.476999999999999</cx:pt>
          <cx:pt idx="1501">15.04954</cx:pt>
          <cx:pt idx="1502">13.881599999999999</cx:pt>
          <cx:pt idx="1503">7.1655999999999995</cx:pt>
          <cx:pt idx="1504">10.834199999999999</cx:pt>
          <cx:pt idx="1505">12.967500000000001</cx:pt>
          <cx:pt idx="1506">6.5549999999999997</cx:pt>
          <cx:pt idx="1507">5.63729999999999</cx:pt>
          <cx:pt idx="1508">6.1616999999999997</cx:pt>
          <cx:pt idx="1509">17.08718</cx:pt>
          <cx:pt idx="1510">5.7683999999999997</cx:pt>
          <cx:pt idx="1511">12.602399999999999</cx:pt>
          <cx:pt idx="1512">11.611199999999899</cx:pt>
          <cx:pt idx="1513">11.328000000000001</cx:pt>
          <cx:pt idx="1514">9.8619000000000003</cx:pt>
          <cx:pt idx="1515">14.3154</cx:pt>
          <cx:pt idx="1516">5.5061999999999998</cx:pt>
          <cx:pt idx="1517">6.6860999999999908</cx:pt>
          <cx:pt idx="1518">11.4696</cx:pt>
          <cx:pt idx="1519">5.7683999999999997</cx:pt>
          <cx:pt idx="1520">47.022500000000001</cx:pt>
          <cx:pt idx="1521">11.752799999999999</cx:pt>
          <cx:pt idx="1522">10.0008</cx:pt>
          <cx:pt idx="1523">11.894399999999999</cx:pt>
          <cx:pt idx="1524">9.4451999999999998</cx:pt>
          <cx:pt idx="1525">12.036</cx:pt>
          <cx:pt idx="1526">6.2927999999999997</cx:pt>
          <cx:pt idx="1527">7.7063999999999995</cx:pt>
          <cx:pt idx="1528">12.036</cx:pt>
          <cx:pt idx="1529">6.03059999999999</cx:pt>
          <cx:pt idx="1530">18.302199999999999</cx:pt>
          <cx:pt idx="1531">9.8619000000000003</cx:pt>
          <cx:pt idx="1532">13.5924</cx:pt>
          <cx:pt idx="1533">35.495269999999898</cx:pt>
          <cx:pt idx="1534">7.1655999999999995</cx:pt>
          <cx:pt idx="1535">6.4239000000000006</cx:pt>
          <cx:pt idx="1536">41.379800000000003</cx:pt>
          <cx:pt idx="1537">17.0718</cx:pt>
          <cx:pt idx="1538">6.5549999999999997</cx:pt>
          <cx:pt idx="1539">18.456</cx:pt>
          <cx:pt idx="1540">15.50648</cx:pt>
          <cx:pt idx="1541">19.225000000000001</cx:pt>
          <cx:pt idx="1542">18.009979999999899</cx:pt>
          <cx:pt idx="1543">7.1655999999999995</cx:pt>
          <cx:pt idx="1544">9.4451999999999998</cx:pt>
          <cx:pt idx="1545">5.5061999999999998</cx:pt>
          <cx:pt idx="1546">13.109999999999999</cx:pt>
          <cx:pt idx="1547">15.9192</cx:pt>
          <cx:pt idx="1548">13.447799999999999</cx:pt>
          <cx:pt idx="1549">6.6860999999999908</cx:pt>
          <cx:pt idx="1550">9.8619000000000003</cx:pt>
          <cx:pt idx="1551">10.5564</cx:pt>
          <cx:pt idx="1552">7.9767999999999892</cx:pt>
          <cx:pt idx="1553">17.994599999999998</cx:pt>
          <cx:pt idx="1554">7.5712000000000002</cx:pt>
          <cx:pt idx="1555">10.0008</cx:pt>
          <cx:pt idx="1556">8.1120000000000001</cx:pt>
          <cx:pt idx="1557">10.01469</cx:pt>
          <cx:pt idx="1558">10.139699999999999</cx:pt>
          <cx:pt idx="1559">6.1616999999999997</cx:pt>
          <cx:pt idx="1560">9.8619000000000003</cx:pt>
          <cx:pt idx="1561">6.4239000000000006</cx:pt>
          <cx:pt idx="1562">7.9767999999999892</cx:pt>
          <cx:pt idx="1563">6.8171999999999997</cx:pt>
          <cx:pt idx="1564">8.5446400000000207</cx:pt>
          <cx:pt idx="1565">10.848089999999901</cx:pt>
          <cx:pt idx="1566">4.4870000000000001</cx:pt>
          <cx:pt idx="1567">6.4239000000000006</cx:pt>
          <cx:pt idx="1568">8.2472000000000012</cx:pt>
          <cx:pt idx="1569">6.4239000000000006</cx:pt>
          <cx:pt idx="1570">9.7368899999999989</cx:pt>
          <cx:pt idx="1571">34.930999999999997</cx:pt>
          <cx:pt idx="1572">17.548580000000001</cx:pt>
          <cx:pt idx="1573">5.7683999999999997</cx:pt>
          <cx:pt idx="1574">6.1616999999999997</cx:pt>
          <cx:pt idx="1575">5.7683999999999997</cx:pt>
          <cx:pt idx="1576">9.0583999999999989</cx:pt>
          <cx:pt idx="1577">10.4175</cx:pt>
          <cx:pt idx="1578">7.8415999999999997</cx:pt>
          <cx:pt idx="1579">4.2434199999999995</cx:pt>
          <cx:pt idx="1580">10.139699999999999</cx:pt>
          <cx:pt idx="1581">9.4451999999999998</cx:pt>
          <cx:pt idx="1582">5.7683999999999997</cx:pt>
          <cx:pt idx="1583">7.1655999999999995</cx:pt>
          <cx:pt idx="1584">5.7683999999999997</cx:pt>
          <cx:pt idx="1585">10.6952999999999</cx:pt>
          <cx:pt idx="1586">5.7683999999999997</cx:pt>
          <cx:pt idx="1587">11.752799999999999</cx:pt>
          <cx:pt idx="1588">5.5061999999999998</cx:pt>
          <cx:pt idx="1589">19.547980000000003</cx:pt>
          <cx:pt idx="1590">5.5061999999999998</cx:pt>
          <cx:pt idx="1591">5.1408199999999997</cx:pt>
          <cx:pt idx="1592">42.185899999999997</cx:pt>
          <cx:pt idx="1593">6.6860999999999908</cx:pt>
          <cx:pt idx="1594">12.177599999999899</cx:pt>
          <cx:pt idx="1595">16.917999999999999</cx:pt>
          <cx:pt idx="1596">8.3823999999999987</cx:pt>
          <cx:pt idx="1597">10.834199999999999</cx:pt>
          <cx:pt idx="1598">10.973099999999999</cx:pt>
          <cx:pt idx="1599">11.752799999999999</cx:pt>
          <cx:pt idx="1600">16.764200000000002</cx:pt>
          <cx:pt idx="1601">10.6952999999999</cx:pt>
          <cx:pt idx="1602">13.447799999999999</cx:pt>
          <cx:pt idx="1603">15.771799999999999</cx:pt>
          <cx:pt idx="1604">5.2690199999999905</cx:pt>
          <cx:pt idx="1605">12.177599999999899</cx:pt>
          <cx:pt idx="1606">2.4358</cx:pt>
          <cx:pt idx="1607">18.6098</cx:pt>
          <cx:pt idx="1608">46.485100000000003</cx:pt>
          <cx:pt idx="1609">16.625780000000002</cx:pt>
          <cx:pt idx="1610">15.771799999999999</cx:pt>
          <cx:pt idx="1611">17.3794</cx:pt>
          <cx:pt idx="1612">7.3143200000000004</cx:pt>
          <cx:pt idx="1613">4.8715999999999999</cx:pt>
          <cx:pt idx="1614">15.9192</cx:pt>
          <cx:pt idx="1615">10.6952999999999</cx:pt>
          <cx:pt idx="1616">10.278600000000001</cx:pt>
          <cx:pt idx="1617">8.5175999999999998</cx:pt>
          <cx:pt idx="1618">38.424100000000003</cx:pt>
          <cx:pt idx="1619">5.63729999999999</cx:pt>
          <cx:pt idx="1620">6.8171999999999997</cx:pt>
          <cx:pt idx="1621">8.9232000000000014</cx:pt>
          <cx:pt idx="1622">40.842399999999998</cx:pt>
          <cx:pt idx="1623">12.460799999999999</cx:pt>
          <cx:pt idx="1624">6.03059999999999</cx:pt>
          <cx:pt idx="1625">36.274499999999996</cx:pt>
          <cx:pt idx="1626">10.0008</cx:pt>
          <cx:pt idx="1627">11.894399999999999</cx:pt>
          <cx:pt idx="1628">6.03059999999999</cx:pt>
          <cx:pt idx="1629">9.8619000000000003</cx:pt>
          <cx:pt idx="1630">5.5061999999999998</cx:pt>
          <cx:pt idx="1631">7.3008000000000006</cx:pt>
          <cx:pt idx="1632">6.5549999999999997</cx:pt>
          <cx:pt idx="1633">7.9767999999999892</cx:pt>
          <cx:pt idx="1634">9.8619000000000003</cx:pt>
          <cx:pt idx="1635">7.8415999999999997</cx:pt>
          <cx:pt idx="1636">6.0437099999999999</cx:pt>
          <cx:pt idx="1637">10.278600000000001</cx:pt>
          <cx:pt idx="1638">10.834199999999999</cx:pt>
          <cx:pt idx="1639">3.7178000000000004</cx:pt>
          <cx:pt idx="1640">10.0008</cx:pt>
          <cx:pt idx="1641">9.8619000000000003</cx:pt>
          <cx:pt idx="1642">7.8415999999999997</cx:pt>
          <cx:pt idx="1643">13.1242499999999</cx:pt>
          <cx:pt idx="1644">11.4696</cx:pt>
          <cx:pt idx="1645">7.7063999999999995</cx:pt>
          <cx:pt idx="1646">7.7063999999999995</cx:pt>
          <cx:pt idx="1647">17.256359999999901</cx:pt>
          <cx:pt idx="1648">10.278600000000001</cx:pt>
          <cx:pt idx="1649">16.917999999999999</cx:pt>
          <cx:pt idx="1650">7.4495199999999997</cx:pt>
          <cx:pt idx="1651">13.462259999999901</cx:pt>
          <cx:pt idx="1652">6.5681099999999892</cx:pt>
          <cx:pt idx="1653">10.278600000000001</cx:pt>
          <cx:pt idx="1654">6.8171999999999997</cx:pt>
          <cx:pt idx="1655">66.368899999999698</cx:pt>
          <cx:pt idx="1656">10.139699999999999</cx:pt>
          <cx:pt idx="1657">8.5175999999999998</cx:pt>
          <cx:pt idx="1658">6.03059999999999</cx:pt>
          <cx:pt idx="1659">7.1655999999999995</cx:pt>
          <cx:pt idx="1660">12.460799999999999</cx:pt>
          <cx:pt idx="1661">10.292490000000001</cx:pt>
          <cx:pt idx="1662">5.63729999999999</cx:pt>
          <cx:pt idx="1663">3.9741999999999997</cx:pt>
          <cx:pt idx="1664">6.4239000000000006</cx:pt>
          <cx:pt idx="1665">5.5061999999999998</cx:pt>
          <cx:pt idx="1666">4.9998000000000005</cx:pt>
          <cx:pt idx="1667">8.7880000000000003</cx:pt>
          <cx:pt idx="1668">11.4696</cx:pt>
          <cx:pt idx="1669">4.1152199999999999</cx:pt>
          <cx:pt idx="1670">51.8590999999997</cx:pt>
          <cx:pt idx="1671">5.89949999999999</cx:pt>
          <cx:pt idx="1672">11.4696</cx:pt>
          <cx:pt idx="1673">6.2927999999999997</cx:pt>
          <cx:pt idx="1674">7.1655999999999995</cx:pt>
          <cx:pt idx="1675">8.5175999999999998</cx:pt>
          <cx:pt idx="1676">3.8460000000000001</cx:pt>
          <cx:pt idx="1677">10.973099999999999</cx:pt>
          <cx:pt idx="1678">15.786539999999999</cx:pt>
          <cx:pt idx="1679">7.4359999999999999</cx:pt>
          <cx:pt idx="1680">6.5549999999999997</cx:pt>
          <cx:pt idx="1681">9.5840999999999994</cx:pt>
          <cx:pt idx="1682">5.1408199999999997</cx:pt>
          <cx:pt idx="1683">7.9903199999999996</cx:pt>
          <cx:pt idx="1684">5.63729999999999</cx:pt>
          <cx:pt idx="1685">10.0008</cx:pt>
          <cx:pt idx="1686">3.5895999999999999</cx:pt>
          <cx:pt idx="1687">43.798099999999998</cx:pt>
          <cx:pt idx="1688">36.005800000000001</cx:pt>
          <cx:pt idx="1689">35.226570000000002</cx:pt>
          <cx:pt idx="1690">12.177599999999899</cx:pt>
          <cx:pt idx="1691">8.9232000000000014</cx:pt>
          <cx:pt idx="1692">15.771799999999999</cx:pt>
          <cx:pt idx="1693">5.6504099999999999</cx:pt>
          <cx:pt idx="1694">8.7880000000000003</cx:pt>
          <cx:pt idx="1695">4.6151999999999997</cx:pt>
          <cx:pt idx="1696">14.1708</cx:pt>
          <cx:pt idx="1697">38.1554</cx:pt>
          <cx:pt idx="1698">12.036</cx:pt>
          <cx:pt idx="1699">4.4870000000000001</cx:pt>
          <cx:pt idx="1700">7.7063999999999995</cx:pt>
          <cx:pt idx="1701">7.4359999999999999</cx:pt>
          <cx:pt idx="1702">8.1120000000000001</cx:pt>
          <cx:pt idx="1703">6.03059999999999</cx:pt>
          <cx:pt idx="1704">10.834199999999999</cx:pt>
          <cx:pt idx="1705">14.74</cx:pt>
          <cx:pt idx="1706">12.319199999999899</cx:pt>
          <cx:pt idx="1707">5.7683999999999997</cx:pt>
          <cx:pt idx="1708">42.185899999999997</cx:pt>
          <cx:pt idx="1709">7.4359999999999999</cx:pt>
          <cx:pt idx="1710">6.2927999999999997</cx:pt>
          <cx:pt idx="1711">6.03059999999999</cx:pt>
          <cx:pt idx="1712">5.7683999999999997</cx:pt>
          <cx:pt idx="1713">8.3823999999999987</cx:pt>
          <cx:pt idx="1714">8.5175999999999998</cx:pt>
          <cx:pt idx="1715">12.036</cx:pt>
          <cx:pt idx="1716">4.8715999999999999</cx:pt>
          <cx:pt idx="1717">4.9998000000000005</cx:pt>
          <cx:pt idx="1718">6.8171999999999997</cx:pt>
          <cx:pt idx="1719">17.0718</cx:pt>
          <cx:pt idx="1720">10.139699999999999</cx:pt>
          <cx:pt idx="1721">7.9767999999999892</cx:pt>
          <cx:pt idx="1722">5.5193099999999999</cx:pt>
          <cx:pt idx="1723">8.7880000000000003</cx:pt>
          <cx:pt idx="1724">8.9232000000000014</cx:pt>
          <cx:pt idx="1725">5.5061999999999998</cx:pt>
          <cx:pt idx="1726">13.881599999999999</cx:pt>
          <cx:pt idx="1727">18.3175799999999</cx:pt>
          <cx:pt idx="1728">10.5564</cx:pt>
          <cx:pt idx="1729">5.63729999999999</cx:pt>
          <cx:pt idx="1730">6.03059999999999</cx:pt>
          <cx:pt idx="1731">6.2927999999999997</cx:pt>
          <cx:pt idx="1732">2.4358</cx:pt>
          <cx:pt idx="1733">7.1655999999999995</cx:pt>
          <cx:pt idx="1734">5.5061999999999998</cx:pt>
          <cx:pt idx="1735">39.767599999999995</cx:pt>
          <cx:pt idx="1736">5.9388300000000198</cx:pt>
          <cx:pt idx="1737">10.6952999999999</cx:pt>
          <cx:pt idx="1738">6.03059999999999</cx:pt>
          <cx:pt idx="1739">7.1655999999999995</cx:pt>
          <cx:pt idx="1740">7.5712000000000002</cx:pt>
          <cx:pt idx="1741">6.1616999999999997</cx:pt>
          <cx:pt idx="1742">5.7683999999999997</cx:pt>
          <cx:pt idx="1743">5.63729999999999</cx:pt>
          <cx:pt idx="1744">17.0718</cx:pt>
          <cx:pt idx="1745">6.5549999999999997</cx:pt>
          <cx:pt idx="1746">3.8460000000000001</cx:pt>
          <cx:pt idx="1747">48.097299999999898</cx:pt>
          <cx:pt idx="1748">7.3008000000000006</cx:pt>
          <cx:pt idx="1749">7.5712000000000002</cx:pt>
          <cx:pt idx="1750">7.7063999999999995</cx:pt>
          <cx:pt idx="1751">6.8171999999999997</cx:pt>
          <cx:pt idx="1752">6.4239000000000006</cx:pt>
          <cx:pt idx="1753">6.2927999999999997</cx:pt>
          <cx:pt idx="1754">5.89949999999999</cx:pt>
          <cx:pt idx="1755">15.771799999999999</cx:pt>
          <cx:pt idx="1756">9.5840999999999994</cx:pt>
          <cx:pt idx="1757">12.825000000000001</cx:pt>
          <cx:pt idx="1758">7.3008000000000006</cx:pt>
          <cx:pt idx="1759">10.5564</cx:pt>
          <cx:pt idx="1760">7.4359999999999999</cx:pt>
          <cx:pt idx="1761">4.7433999999999994</cx:pt>
          <cx:pt idx="1762">8.9367199999999993</cx:pt>
          <cx:pt idx="1763">11.4696</cx:pt>
          <cx:pt idx="1764">8.5175999999999998</cx:pt>
          <cx:pt idx="1765">10.834199999999999</cx:pt>
          <cx:pt idx="1766">6.4239000000000006</cx:pt>
          <cx:pt idx="1767">4.3588000000000005</cx:pt>
          <cx:pt idx="1768">17.2256</cx:pt>
          <cx:pt idx="1769">7.1655999999999995</cx:pt>
          <cx:pt idx="1770">7.9767999999999892</cx:pt>
          <cx:pt idx="1771">3.9741999999999997</cx:pt>
          <cx:pt idx="1772">8.3823999999999987</cx:pt>
          <cx:pt idx="1773">14.0261999999999</cx:pt>
          <cx:pt idx="1774">7.7063999999999995</cx:pt>
          <cx:pt idx="1775">11.4696</cx:pt>
          <cx:pt idx="1776">18.917400000000001</cx:pt>
          <cx:pt idx="1777">5.6504099999999999</cx:pt>
          <cx:pt idx="1778">10.57029</cx:pt>
          <cx:pt idx="1779">5.5061999999999998</cx:pt>
          <cx:pt idx="1780">10.973099999999999</cx:pt>
          <cx:pt idx="1781">3.9741999999999997</cx:pt>
          <cx:pt idx="1782">17.0718</cx:pt>
          <cx:pt idx="1783">6.2927999999999997</cx:pt>
          <cx:pt idx="1784">17.533199999999997</cx:pt>
          <cx:pt idx="1785">35.495269999999898</cx:pt>
          <cx:pt idx="1786">9.5840999999999994</cx:pt>
          <cx:pt idx="1787">3.4742199999999896</cx:pt>
          <cx:pt idx="1788">5.7683999999999997</cx:pt>
          <cx:pt idx="1789">7.5712000000000002</cx:pt>
          <cx:pt idx="1790">12.319199999999899</cx:pt>
          <cx:pt idx="1791">11.894399999999999</cx:pt>
          <cx:pt idx="1792">16.625780000000002</cx:pt>
          <cx:pt idx="1793">8.7880000000000003</cx:pt>
          <cx:pt idx="1794">13.881599999999999</cx:pt>
          <cx:pt idx="1795">5.63729999999999</cx:pt>
          <cx:pt idx="1796">7.9767999999999892</cx:pt>
          <cx:pt idx="1797">10.0008</cx:pt>
          <cx:pt idx="1798">5.89949999999999</cx:pt>
          <cx:pt idx="1799">18.917400000000001</cx:pt>
          <cx:pt idx="1800">7.1655999999999995</cx:pt>
          <cx:pt idx="1801">8.6527999999999992</cx:pt>
          <cx:pt idx="1802">11.611199999999899</cx:pt>
          <cx:pt idx="1803">13.1242499999999</cx:pt>
          <cx:pt idx="1804">18.302199999999999</cx:pt>
          <cx:pt idx="1805">5.7683999999999997</cx:pt>
          <cx:pt idx="1806">5.7683999999999997</cx:pt>
          <cx:pt idx="1807">6.4239000000000006</cx:pt>
          <cx:pt idx="1808">12.319199999999899</cx:pt>
          <cx:pt idx="1809">7.4359999999999999</cx:pt>
          <cx:pt idx="1810">10.4175</cx:pt>
          <cx:pt idx="1811">8.5175999999999998</cx:pt>
          <cx:pt idx="1812">10.973099999999999</cx:pt>
          <cx:pt idx="1813">10.7091899999999</cx:pt>
          <cx:pt idx="1814">6.6860999999999908</cx:pt>
          <cx:pt idx="1815">6.8171999999999997</cx:pt>
          <cx:pt idx="1816">5.2561999999999998</cx:pt>
          <cx:pt idx="1817">18.302199999999999</cx:pt>
          <cx:pt idx="1818">5.89949999999999</cx:pt>
          <cx:pt idx="1819">9.0583999999999989</cx:pt>
          <cx:pt idx="1820">10.834199999999999</cx:pt>
          <cx:pt idx="1821">8.5175999999999998</cx:pt>
          <cx:pt idx="1822">9.5840999999999994</cx:pt>
          <cx:pt idx="1823">6.03059999999999</cx:pt>
          <cx:pt idx="1824">5.1279999999999903</cx:pt>
          <cx:pt idx="1825">10.6952999999999</cx:pt>
          <cx:pt idx="1826">7.5712000000000002</cx:pt>
          <cx:pt idx="1827">5.7683999999999997</cx:pt>
          <cx:pt idx="1828">6.6860999999999908</cx:pt>
          <cx:pt idx="1829">10.6952999999999</cx:pt>
          <cx:pt idx="1830">12.602399999999999</cx:pt>
          <cx:pt idx="1831">3.9870200000000002</cx:pt>
          <cx:pt idx="1832">10.834199999999999</cx:pt>
          <cx:pt idx="1833">4.4870000000000001</cx:pt>
          <cx:pt idx="1834">6.5549999999999997</cx:pt>
          <cx:pt idx="1835">41.648499999999999</cx:pt>
          <cx:pt idx="1836">3.8460000000000001</cx:pt>
          <cx:pt idx="1837">13.751459999999899</cx:pt>
          <cx:pt idx="1838">6.2927999999999997</cx:pt>
          <cx:pt idx="1839">6.5549999999999997</cx:pt>
          <cx:pt idx="1840">5.6504099999999999</cx:pt>
          <cx:pt idx="1841">1.9358199999999999</cx:pt>
          <cx:pt idx="1842">8.6527999999999992</cx:pt>
          <cx:pt idx="1843">46.753799999999998</cx:pt>
          <cx:pt idx="1844">15.771799999999999</cx:pt>
          <cx:pt idx="1845">10.0008</cx:pt>
          <cx:pt idx="1846">36.838769999999997</cx:pt>
          <cx:pt idx="1847">36.543199999999999</cx:pt>
          <cx:pt idx="1848">10.834199999999999</cx:pt>
          <cx:pt idx="1849">11.4696</cx:pt>
          <cx:pt idx="1850">11.894399999999999</cx:pt>
          <cx:pt idx="1851">5.7683999999999997</cx:pt>
          <cx:pt idx="1852">16.764200000000002</cx:pt>
          <cx:pt idx="1853">5.63729999999999</cx:pt>
          <cx:pt idx="1854">8.1120000000000001</cx:pt>
          <cx:pt idx="1855">38.988370000000003</cx:pt>
          <cx:pt idx="1856">6.4239000000000006</cx:pt>
          <cx:pt idx="1857">7.463040000000019</cx:pt>
          <cx:pt idx="1858">6.03059999999999</cx:pt>
          <cx:pt idx="1859">13.881599999999899</cx:pt>
          <cx:pt idx="1860">6.2927999999999997</cx:pt>
          <cx:pt idx="1861">11.4696</cx:pt>
          <cx:pt idx="1862">18.148399999999899</cx:pt>
          <cx:pt idx="1863">7.3008000000000006</cx:pt>
          <cx:pt idx="1864">15.329599999999999</cx:pt>
          <cx:pt idx="1865">16.93338</cx:pt>
          <cx:pt idx="1866">4.4870000000000001</cx:pt>
          <cx:pt idx="1867">9.4451999999999998</cx:pt>
          <cx:pt idx="1868">3.5895999999999999</cx:pt>
          <cx:pt idx="1869">17.0718</cx:pt>
          <cx:pt idx="1870">7.1655999999999995</cx:pt>
          <cx:pt idx="1871">5.0126199999999894</cx:pt>
          <cx:pt idx="1872">14.8873999999999</cx:pt>
          <cx:pt idx="1873">10.5564</cx:pt>
          <cx:pt idx="1874">17.3794</cx:pt>
          <cx:pt idx="1875">4.8715999999999999</cx:pt>
          <cx:pt idx="1876">19.532599999999999</cx:pt>
          <cx:pt idx="1877">7.8551199999999906</cx:pt>
          <cx:pt idx="1878">5.7683999999999997</cx:pt>
          <cx:pt idx="1879">6.2927999999999997</cx:pt>
          <cx:pt idx="1880">10.973099999999999</cx:pt>
          <cx:pt idx="1881">6.03059999999999</cx:pt>
          <cx:pt idx="1882">15.182200000000002</cx:pt>
          <cx:pt idx="1883">35.1997</cx:pt>
          <cx:pt idx="1884">13.5924</cx:pt>
          <cx:pt idx="1885">7.1655999999999995</cx:pt>
          <cx:pt idx="1886">8.1120000000000001</cx:pt>
          <cx:pt idx="1887">8.9232000000000014</cx:pt>
          <cx:pt idx="1888">5.63729999999999</cx:pt>
          <cx:pt idx="1889">6.5681099999999892</cx:pt>
          <cx:pt idx="1890">5.89949999999999</cx:pt>
          <cx:pt idx="1891">11.328000000000001</cx:pt>
          <cx:pt idx="1892">5.63729999999999</cx:pt>
          <cx:pt idx="1893">12.036</cx:pt>
          <cx:pt idx="1894">15.9192</cx:pt>
          <cx:pt idx="1895">6.8171999999999997</cx:pt>
          <cx:pt idx="1896">8.1120000000000001</cx:pt>
          <cx:pt idx="1897">10.6952999999999</cx:pt>
          <cx:pt idx="1898">17.994599999999998</cx:pt>
          <cx:pt idx="1899">15.329599999999999</cx:pt>
          <cx:pt idx="1900">4.6151999999999997</cx:pt>
          <cx:pt idx="1901">7.1655999999999995</cx:pt>
          <cx:pt idx="1902">18.7636</cx:pt>
          <cx:pt idx="1903">6.1616999999999997</cx:pt>
          <cx:pt idx="1904">11.4696</cx:pt>
          <cx:pt idx="1905">6.4239000000000006</cx:pt>
          <cx:pt idx="1906">12.319199999999899</cx:pt>
          <cx:pt idx="1907">11.894399999999999</cx:pt>
          <cx:pt idx="1908">11.894399999999999</cx:pt>
          <cx:pt idx="1909">5.7683999999999997</cx:pt>
          <cx:pt idx="1910">7.7063999999999995</cx:pt>
          <cx:pt idx="1911">12.825000000000001</cx:pt>
          <cx:pt idx="1912">6.6860999999999908</cx:pt>
          <cx:pt idx="1913">11.894399999999999</cx:pt>
          <cx:pt idx="1914">19.378799999999998</cx:pt>
          <cx:pt idx="1915">15.6244</cx:pt>
          <cx:pt idx="1916">7.8415999999999997</cx:pt>
          <cx:pt idx="1917">12.036</cx:pt>
          <cx:pt idx="1918">6.6860999999999908</cx:pt>
          <cx:pt idx="1919">5.7683999999999997</cx:pt>
          <cx:pt idx="1920">4.4870000000000001</cx:pt>
          <cx:pt idx="1921">7.8415999999999997</cx:pt>
          <cx:pt idx="1922">9.0583999999999989</cx:pt>
          <cx:pt idx="1923">9.722999999999999</cx:pt>
          <cx:pt idx="1924">16.917999999999999</cx:pt>
          <cx:pt idx="1925">5.5061999999999998</cx:pt>
          <cx:pt idx="1926">8.2472000000000012</cx:pt>
          <cx:pt idx="1927">10.973099999999999</cx:pt>
          <cx:pt idx="1928">38.692799999999998</cx:pt>
          <cx:pt idx="1929">5.63729999999999</cx:pt>
          <cx:pt idx="1930">7.4359999999999999</cx:pt>
          <cx:pt idx="1931">10.973099999999999</cx:pt>
          <cx:pt idx="1932">16.917999999999999</cx:pt>
          <cx:pt idx="1933">5.5061999999999998</cx:pt>
          <cx:pt idx="1934">6.2927999999999997</cx:pt>
          <cx:pt idx="1935">6.2927999999999997</cx:pt>
          <cx:pt idx="1936">5.7683999999999997</cx:pt>
          <cx:pt idx="1937">44.872899999999902</cx:pt>
          <cx:pt idx="1938">10.973099999999999</cx:pt>
          <cx:pt idx="1939">12.460799999999999</cx:pt>
          <cx:pt idx="1940">15.476999999999999</cx:pt>
          <cx:pt idx="1941">4.2305999999999999</cx:pt>
          <cx:pt idx="1942">6.5549999999999997</cx:pt>
          <cx:pt idx="1943">10.139699999999999</cx:pt>
          <cx:pt idx="1944">11.752799999999999</cx:pt>
          <cx:pt idx="1945">10.834199999999999</cx:pt>
          <cx:pt idx="1946">7.4359999999999999</cx:pt>
          <cx:pt idx="1947">7.5712000000000002</cx:pt>
          <cx:pt idx="1948">11.328000000000001</cx:pt>
          <cx:pt idx="1949">7.8415999999999997</cx:pt>
          <cx:pt idx="1950">6.03059999999999</cx:pt>
          <cx:pt idx="1951">6.03059999999999</cx:pt>
          <cx:pt idx="1952">7.3008000000000006</cx:pt>
          <cx:pt idx="1953">43.798099999999998</cx:pt>
          <cx:pt idx="1954">6.6992099999999999</cx:pt>
          <cx:pt idx="1955">10.4175</cx:pt>
          <cx:pt idx="1956">10.0008</cx:pt>
          <cx:pt idx="1957">5.1279999999999903</cx:pt>
          <cx:pt idx="1958">7.5712000000000002</cx:pt>
          <cx:pt idx="1959">5.89949999999999</cx:pt>
          <cx:pt idx="1960">44.604199999999999</cx:pt>
          <cx:pt idx="1961">34.930999999999997</cx:pt>
          <cx:pt idx="1962">19.686400000000003</cx:pt>
          <cx:pt idx="1963">7.3008000000000006</cx:pt>
          <cx:pt idx="1964">3.9741999999999997</cx:pt>
          <cx:pt idx="1965">5.2561999999999998</cx:pt>
          <cx:pt idx="1966">3.7178000000000004</cx:pt>
          <cx:pt idx="1967">7.7063999999999995</cx:pt>
          <cx:pt idx="1968">8.7880000000000003</cx:pt>
          <cx:pt idx="1969">46.216399999999901</cx:pt>
          <cx:pt idx="1970">7.4359999999999999</cx:pt>
          <cx:pt idx="1971">5.89949999999999</cx:pt>
          <cx:pt idx="1972">4.4870000000000001</cx:pt>
          <cx:pt idx="1973">10.973099999999999</cx:pt>
          <cx:pt idx="1974">7.7063999999999995</cx:pt>
          <cx:pt idx="1975">15.771799999999999</cx:pt>
          <cx:pt idx="1976">18.7636</cx:pt>
          <cx:pt idx="1977">6.2927999999999997</cx:pt>
          <cx:pt idx="1978">4.7433999999999994</cx:pt>
          <cx:pt idx="1979">15.771799999999999</cx:pt>
          <cx:pt idx="1980">3.4613999999999998</cx:pt>
          <cx:pt idx="1981">10.4175</cx:pt>
          <cx:pt idx="1982">13.109999999999999</cx:pt>
          <cx:pt idx="1983">5.7683999999999997</cx:pt>
          <cx:pt idx="1984">11.894399999999999</cx:pt>
          <cx:pt idx="1985">5.9126099999999893</cx:pt>
          <cx:pt idx="1986">18.625179999999901</cx:pt>
          <cx:pt idx="1987">7.1655999999999995</cx:pt>
          <cx:pt idx="1988">10.834199999999999</cx:pt>
          <cx:pt idx="1989">10.278600000000001</cx:pt>
          <cx:pt idx="1990">10.6952999999999</cx:pt>
          <cx:pt idx="1991">18.302199999999999</cx:pt>
          <cx:pt idx="1992">19.071199999999997</cx:pt>
          <cx:pt idx="1993">41.1111</cx:pt>
          <cx:pt idx="1994">8.6527999999999992</cx:pt>
          <cx:pt idx="1995">3.9870200000000002</cx:pt>
          <cx:pt idx="1996">10.4175</cx:pt>
          <cx:pt idx="1997">7.5712000000000002</cx:pt>
          <cx:pt idx="1998">8.9232000000000014</cx:pt>
          <cx:pt idx="1999">47.291199999999698</cx:pt>
          <cx:pt idx="2000">6.1616999999999997</cx:pt>
          <cx:pt idx="2001">10.57029</cx:pt>
          <cx:pt idx="2002">10.973099999999999</cx:pt>
          <cx:pt idx="2003">6.03059999999999</cx:pt>
          <cx:pt idx="2004">6.6860999999999908</cx:pt>
          <cx:pt idx="2005">36.274499999999996</cx:pt>
          <cx:pt idx="2006">9.722999999999999</cx:pt>
          <cx:pt idx="2007">6.5549999999999997</cx:pt>
          <cx:pt idx="2008">10.973099999999999</cx:pt>
          <cx:pt idx="2009">5.5061999999999998</cx:pt>
          <cx:pt idx="2010">6.2927999999999997</cx:pt>
          <cx:pt idx="2011">5.89949999999999</cx:pt>
          <cx:pt idx="2012">11.752799999999999</cx:pt>
          <cx:pt idx="2013">36.005800000000001</cx:pt>
          <cx:pt idx="2014">10.6952999999999</cx:pt>
          <cx:pt idx="2015">11.4696</cx:pt>
          <cx:pt idx="2016">39.525770000000001</cx:pt>
          <cx:pt idx="2017">8.2472000000000012</cx:pt>
          <cx:pt idx="2018">11.752799999999999</cx:pt>
          <cx:pt idx="2019">11.752799999999999</cx:pt>
          <cx:pt idx="2020">16.917999999999999</cx:pt>
          <cx:pt idx="2021">15.04954</cx:pt>
          <cx:pt idx="2022">2.4358</cx:pt>
          <cx:pt idx="2023">3.4613999999999998</cx:pt>
          <cx:pt idx="2024">4.3588000000000005</cx:pt>
          <cx:pt idx="2025">8.6527999999999992</cx:pt>
          <cx:pt idx="2026">4.2434199999999995</cx:pt>
          <cx:pt idx="2027">4.4870000000000001</cx:pt>
          <cx:pt idx="2028">11.894399999999999</cx:pt>
          <cx:pt idx="2029">12.825000000000001</cx:pt>
          <cx:pt idx="2030">3.08962</cx:pt>
          <cx:pt idx="2031">35.468400000000003</cx:pt>
          <cx:pt idx="2032">10.6952999999999</cx:pt>
          <cx:pt idx="2033">10.6952999999999</cx:pt>
          <cx:pt idx="2034">7.5712000000000002</cx:pt>
          <cx:pt idx="2035">6.6860999999999908</cx:pt>
          <cx:pt idx="2036">15.9192</cx:pt>
          <cx:pt idx="2037">43.2607</cx:pt>
          <cx:pt idx="2038">8.9232000000000014</cx:pt>
          <cx:pt idx="2039">11.4696</cx:pt>
          <cx:pt idx="2040">16.764200000000002</cx:pt>
          <cx:pt idx="2041">13.736999999999998</cx:pt>
          <cx:pt idx="2042">10.5564</cx:pt>
          <cx:pt idx="2043">6.03059999999999</cx:pt>
          <cx:pt idx="2044">6.1616999999999997</cx:pt>
          <cx:pt idx="2045">7.3008000000000006</cx:pt>
          <cx:pt idx="2046">17.856179999999998</cx:pt>
          <cx:pt idx="2047">6.2927999999999997</cx:pt>
          <cx:pt idx="2048">36.005800000000001</cx:pt>
          <cx:pt idx="2049">40.842399999999998</cx:pt>
          <cx:pt idx="2050">3.5895999999999999</cx:pt>
          <cx:pt idx="2051">10.973099999999999</cx:pt>
          <cx:pt idx="2052">6.03059999999999</cx:pt>
          <cx:pt idx="2053">17.533199999999997</cx:pt>
          <cx:pt idx="2054">3.9741999999999997</cx:pt>
          <cx:pt idx="2055">17.994599999999998</cx:pt>
          <cx:pt idx="2056">12.967500000000001</cx:pt>
          <cx:pt idx="2057">16.917999999999999</cx:pt>
          <cx:pt idx="2058">18.6098</cx:pt>
          <cx:pt idx="2059">6.1616999999999997</cx:pt>
          <cx:pt idx="2060">10.278600000000001</cx:pt>
          <cx:pt idx="2061">6.6860999999999908</cx:pt>
          <cx:pt idx="2062">8.3823999999999987</cx:pt>
          <cx:pt idx="2063">6.4239000000000006</cx:pt>
          <cx:pt idx="2064">17.0718</cx:pt>
          <cx:pt idx="2065">10.139699999999999</cx:pt>
          <cx:pt idx="2066">11.4696</cx:pt>
          <cx:pt idx="2067">18.48676</cx:pt>
          <cx:pt idx="2068">10.278600000000001</cx:pt>
          <cx:pt idx="2069">35.737099999999998</cx:pt>
          <cx:pt idx="2070">6.03059999999999</cx:pt>
          <cx:pt idx="2071">41.917200000000001</cx:pt>
          <cx:pt idx="2072">6.5549999999999997</cx:pt>
          <cx:pt idx="2073">7.1655999999999995</cx:pt>
          <cx:pt idx="2074">11.328000000000001</cx:pt>
          <cx:pt idx="2075">10.973099999999999</cx:pt>
          <cx:pt idx="2076">8.9232000000000014</cx:pt>
          <cx:pt idx="2077">10.6952999999999</cx:pt>
          <cx:pt idx="2078">11.752799999999999</cx:pt>
          <cx:pt idx="2079">12.036</cx:pt>
          <cx:pt idx="2080">5.7683999999999997</cx:pt>
          <cx:pt idx="2081">17.3794</cx:pt>
          <cx:pt idx="2082">8.3823999999999987</cx:pt>
          <cx:pt idx="2083">19.071199999999997</cx:pt>
          <cx:pt idx="2084">10.4175</cx:pt>
          <cx:pt idx="2085">11.4696</cx:pt>
          <cx:pt idx="2086">4.4870000000000001</cx:pt>
          <cx:pt idx="2087">17.0718</cx:pt>
          <cx:pt idx="2088">8.7880000000000003</cx:pt>
          <cx:pt idx="2089">7.3008000000000006</cx:pt>
          <cx:pt idx="2090">7.1655999999999995</cx:pt>
          <cx:pt idx="2091">12.177599999999899</cx:pt>
          <cx:pt idx="2092">7.8415999999999997</cx:pt>
          <cx:pt idx="2093">7.463040000000019</cx:pt>
          <cx:pt idx="2094">19.532599999999999</cx:pt>
          <cx:pt idx="2095">11.752799999999999</cx:pt>
          <cx:pt idx="2096">6.03059999999999</cx:pt>
          <cx:pt idx="2097">8.3823999999999987</cx:pt>
          <cx:pt idx="2098">15.771799999999999</cx:pt>
          <cx:pt idx="2099">8.3823999999999987</cx:pt>
          <cx:pt idx="2100">48.097299999999898</cx:pt>
          <cx:pt idx="2101">17.0718</cx:pt>
          <cx:pt idx="2102">8.5311199999999907</cx:pt>
          <cx:pt idx="2103">10.5564</cx:pt>
          <cx:pt idx="2104">16.764200000000002</cx:pt>
          <cx:pt idx="2105">41.1111</cx:pt>
          <cx:pt idx="2106">2.3204199999999999</cx:pt>
          <cx:pt idx="2107">19.071199999999997</cx:pt>
          <cx:pt idx="2108">8.1120000000000001</cx:pt>
          <cx:pt idx="2109">47.828600000000002</cx:pt>
          <cx:pt idx="2110">8.2472000000000012</cx:pt>
          <cx:pt idx="2111">9.4451999999999998</cx:pt>
          <cx:pt idx="2112">12.460799999999999</cx:pt>
          <cx:pt idx="2113">4.1023999999999994</cx:pt>
          <cx:pt idx="2114">10.6952999999999</cx:pt>
          <cx:pt idx="2115">12.177599999999899</cx:pt>
          <cx:pt idx="2116">12.602399999999999</cx:pt>
          <cx:pt idx="2117">8.9232000000000014</cx:pt>
          <cx:pt idx="2118">12.177599999999899</cx:pt>
          <cx:pt idx="2119">15.182200000000002</cx:pt>
          <cx:pt idx="2120">6.5549999999999997</cx:pt>
          <cx:pt idx="2121">5.7683999999999997</cx:pt>
          <cx:pt idx="2122">3.9741999999999997</cx:pt>
          <cx:pt idx="2123">9.8619000000000003</cx:pt>
          <cx:pt idx="2124">9.722999999999999</cx:pt>
          <cx:pt idx="2125">7.7334400000000203</cx:pt>
          <cx:pt idx="2126">6.5549999999999997</cx:pt>
          <cx:pt idx="2127">7.1791200000000002</cx:pt>
          <cx:pt idx="2128">17.994599999999998</cx:pt>
          <cx:pt idx="2129">19.071199999999997</cx:pt>
          <cx:pt idx="2130">5.1408199999999997</cx:pt>
          <cx:pt idx="2131">5.7683999999999997</cx:pt>
          <cx:pt idx="2132">5.2690199999999905</cx:pt>
          <cx:pt idx="2133">4.4870000000000001</cx:pt>
          <cx:pt idx="2134">5.2690199999999905</cx:pt>
          <cx:pt idx="2135">6.03059999999999</cx:pt>
          <cx:pt idx="2136">5.7683999999999997</cx:pt>
          <cx:pt idx="2137">6.2927999999999997</cx:pt>
          <cx:pt idx="2138">12.825000000000001</cx:pt>
          <cx:pt idx="2139">3.9741999999999997</cx:pt>
          <cx:pt idx="2140">38.961499999999901</cx:pt>
          <cx:pt idx="2141">40.842399999999998</cx:pt>
          <cx:pt idx="2142">11.611199999999899</cx:pt>
          <cx:pt idx="2143">6.4239000000000006</cx:pt>
          <cx:pt idx="2144">10.278600000000001</cx:pt>
          <cx:pt idx="2145">7.4359999999999999</cx:pt>
          <cx:pt idx="2146">11.752799999999999</cx:pt>
          <cx:pt idx="2147">4.2305999999999999</cx:pt>
          <cx:pt idx="2148">6.1616999999999997</cx:pt>
          <cx:pt idx="2149">36.543199999999999</cx:pt>
          <cx:pt idx="2150">17.687000000000001</cx:pt>
          <cx:pt idx="2151">7.8415999999999997</cx:pt>
          <cx:pt idx="2152">52.127799999999901</cx:pt>
          <cx:pt idx="2153">11.894399999999999</cx:pt>
          <cx:pt idx="2154">10.5564</cx:pt>
          <cx:pt idx="2155">12.319199999999899</cx:pt>
          <cx:pt idx="2156">37.618000000000002</cx:pt>
          <cx:pt idx="2157">12.602399999999999</cx:pt>
          <cx:pt idx="2158">11.894399999999999</cx:pt>
          <cx:pt idx="2159">10.5564</cx:pt>
          <cx:pt idx="2160">18.148399999999899</cx:pt>
          <cx:pt idx="2161">10.139699999999999</cx:pt>
          <cx:pt idx="2162">4.8715999999999999</cx:pt>
          <cx:pt idx="2163">7.3008000000000006</cx:pt>
          <cx:pt idx="2164">9.8619000000000003</cx:pt>
          <cx:pt idx="2165">10.848089999999901</cx:pt>
          <cx:pt idx="2166">10.6952999999999</cx:pt>
          <cx:pt idx="2167">4.8715999999999999</cx:pt>
          <cx:pt idx="2168">10.6952999999999</cx:pt>
          <cx:pt idx="2169">38.692799999999998</cx:pt>
          <cx:pt idx="2170">16.917999999999999</cx:pt>
          <cx:pt idx="2171">7.3008000000000006</cx:pt>
          <cx:pt idx="2172">10.973099999999999</cx:pt>
          <cx:pt idx="2173">8.9232000000000014</cx:pt>
          <cx:pt idx="2174">11.752799999999999</cx:pt>
          <cx:pt idx="2175">42.185899999999997</cx:pt>
          <cx:pt idx="2176">11.894399999999999</cx:pt>
          <cx:pt idx="2177">18.456</cx:pt>
          <cx:pt idx="2178">42.992000000000004</cx:pt>
          <cx:pt idx="2179">10.973099999999999</cx:pt>
          <cx:pt idx="2180">5.89949999999999</cx:pt>
          <cx:pt idx="2181">16.81034</cx:pt>
          <cx:pt idx="2182">40.573700000000002</cx:pt>
          <cx:pt idx="2183">15.476999999999999</cx:pt>
          <cx:pt idx="2184">15.9192</cx:pt>
          <cx:pt idx="2185">15.771799999999999</cx:pt>
          <cx:pt idx="2186">12.967500000000001</cx:pt>
          <cx:pt idx="2187">15.476999999999999</cx:pt>
          <cx:pt idx="2188">18.7636</cx:pt>
          <cx:pt idx="2189">7.4359999999999999</cx:pt>
          <cx:pt idx="2190">7.5712000000000002</cx:pt>
          <cx:pt idx="2191">35.468400000000003</cx:pt>
          <cx:pt idx="2192">4.4870000000000001</cx:pt>
          <cx:pt idx="2193">4.4870000000000001</cx:pt>
          <cx:pt idx="2194">15.329599999999999</cx:pt>
          <cx:pt idx="2195">34.930999999999997</cx:pt>
          <cx:pt idx="2196">8.1255199999999999</cx:pt>
          <cx:pt idx="2197">15.771799999999999</cx:pt>
          <cx:pt idx="2198">12.319199999999899</cx:pt>
          <cx:pt idx="2199">5.89949999999999</cx:pt>
          <cx:pt idx="2200">12.177599999999899</cx:pt>
          <cx:pt idx="2201">6.8171999999999997</cx:pt>
          <cx:pt idx="2202">10.6952999999999</cx:pt>
          <cx:pt idx="2203">7.3008000000000006</cx:pt>
          <cx:pt idx="2204">9.8896800000000198</cx:pt>
          <cx:pt idx="2205">17.3794</cx:pt>
          <cx:pt idx="2206">36.543199999999999</cx:pt>
          <cx:pt idx="2207">9.5840999999999994</cx:pt>
          <cx:pt idx="2208">11.328000000000001</cx:pt>
          <cx:pt idx="2209">13.447799999999999</cx:pt>
          <cx:pt idx="2210">10.973099999999999</cx:pt>
          <cx:pt idx="2211">10.834199999999999</cx:pt>
          <cx:pt idx="2212">15.771799999999999</cx:pt>
          <cx:pt idx="2213">6.03059999999999</cx:pt>
          <cx:pt idx="2214">9.7368899999999989</cx:pt>
          <cx:pt idx="2215">5.63729999999999</cx:pt>
          <cx:pt idx="2216">6.6860999999999908</cx:pt>
          <cx:pt idx="2217">5.7815099999999902</cx:pt>
          <cx:pt idx="2218">6.1616999999999997</cx:pt>
          <cx:pt idx="2219">35.737099999999998</cx:pt>
          <cx:pt idx="2220">8.3823999999999987</cx:pt>
          <cx:pt idx="2221">10.973099999999999</cx:pt>
          <cx:pt idx="2222">8.6527999999999992</cx:pt>
          <cx:pt idx="2223">11.752799999999999</cx:pt>
          <cx:pt idx="2224">18.7636</cx:pt>
          <cx:pt idx="2225">4.1023999999999994</cx:pt>
          <cx:pt idx="2226">16.917999999999999</cx:pt>
          <cx:pt idx="2227">15.9192</cx:pt>
          <cx:pt idx="2228">6.03059999999999</cx:pt>
          <cx:pt idx="2229">3.8460000000000001</cx:pt>
          <cx:pt idx="2230">5.5061999999999998</cx:pt>
          <cx:pt idx="2231">10.57029</cx:pt>
          <cx:pt idx="2232">10.5564</cx:pt>
          <cx:pt idx="2233">8.1120000000000001</cx:pt>
          <cx:pt idx="2234">10.0008</cx:pt>
          <cx:pt idx="2235">7.1655999999999995</cx:pt>
          <cx:pt idx="2236">15.786539999999999</cx:pt>
          <cx:pt idx="2237">40.842399999999998</cx:pt>
          <cx:pt idx="2238">7.1655999999999995</cx:pt>
          <cx:pt idx="2239">13.447799999999999</cx:pt>
          <cx:pt idx="2240">7.4359999999999999</cx:pt>
          <cx:pt idx="2241">15.639140000000001</cx:pt>
          <cx:pt idx="2242">18.6098</cx:pt>
          <cx:pt idx="2243">5.5061999999999998</cx:pt>
          <cx:pt idx="2244">14.3154</cx:pt>
          <cx:pt idx="2245">7.3008000000000006</cx:pt>
          <cx:pt idx="2246">9.8757900000000003</cx:pt>
          <cx:pt idx="2247">3.9741999999999997</cx:pt>
          <cx:pt idx="2248">5.7683999999999997</cx:pt>
          <cx:pt idx="2249">10.278600000000001</cx:pt>
          <cx:pt idx="2250">10.5564</cx:pt>
          <cx:pt idx="2251">8.3823999999999987</cx:pt>
          <cx:pt idx="2252">9.0583999999999989</cx:pt>
          <cx:pt idx="2253">7.3008000000000006</cx:pt>
          <cx:pt idx="2254">10.139699999999999</cx:pt>
          <cx:pt idx="2255">12.177599999999899</cx:pt>
          <cx:pt idx="2256">7.5712000000000002</cx:pt>
          <cx:pt idx="2257">4.9998000000000005</cx:pt>
          <cx:pt idx="2258">10.278600000000001</cx:pt>
          <cx:pt idx="2259">11.611199999999899</cx:pt>
          <cx:pt idx="2260">8.9232000000000014</cx:pt>
          <cx:pt idx="2261">6.8171999999999997</cx:pt>
          <cx:pt idx="2262">17.3794</cx:pt>
          <cx:pt idx="2263">35.1997</cx:pt>
          <cx:pt idx="2264">16.641159999999999</cx:pt>
          <cx:pt idx="2265">12.177599999999899</cx:pt>
          <cx:pt idx="2266">5.7683999999999997</cx:pt>
          <cx:pt idx="2267">6.5549999999999997</cx:pt>
          <cx:pt idx="2268">7.9767999999999892</cx:pt>
          <cx:pt idx="2269">61.854739999999694</cx:pt>
          <cx:pt idx="2270">44.066799999999901</cx:pt>
          <cx:pt idx="2271">6.6860999999999908</cx:pt>
          <cx:pt idx="2272">9.5840999999999994</cx:pt>
          <cx:pt idx="2273">36.005800000000001</cx:pt>
          <cx:pt idx="2274">5.1279999999999903</cx:pt>
          <cx:pt idx="2275">10.5564</cx:pt>
          <cx:pt idx="2276">5.1279999999999903</cx:pt>
          <cx:pt idx="2277">8.3823999999999987</cx:pt>
          <cx:pt idx="2278">17.08718</cx:pt>
          <cx:pt idx="2279">4.7433999999999994</cx:pt>
          <cx:pt idx="2280">12.967500000000001</cx:pt>
          <cx:pt idx="2281">7.5712000000000002</cx:pt>
          <cx:pt idx="2282">8.2472000000000012</cx:pt>
          <cx:pt idx="2283">5.7683999999999997</cx:pt>
          <cx:pt idx="2284">3.4613999999999998</cx:pt>
          <cx:pt idx="2285">5.63729999999999</cx:pt>
          <cx:pt idx="2286">4.2305999999999999</cx:pt>
          <cx:pt idx="2287">34.930999999999997</cx:pt>
          <cx:pt idx="2288">18.4713799999999</cx:pt>
          <cx:pt idx="2289">11.4696</cx:pt>
          <cx:pt idx="2290">6.6860999999999908</cx:pt>
          <cx:pt idx="2291">18.7636</cx:pt>
          <cx:pt idx="2292">15.476999999999999</cx:pt>
          <cx:pt idx="2293">6.6860999999999908</cx:pt>
          <cx:pt idx="2294">6.8171999999999997</cx:pt>
          <cx:pt idx="2295">6.5549999999999997</cx:pt>
          <cx:pt idx="2296">16.917999999999999</cx:pt>
          <cx:pt idx="2297">6.5549999999999997</cx:pt>
          <cx:pt idx="2298">41.675370000000001</cx:pt>
          <cx:pt idx="2299">8.7880000000000003</cx:pt>
          <cx:pt idx="2300">7.8415999999999997</cx:pt>
          <cx:pt idx="2301">9.4451999999999998</cx:pt>
          <cx:pt idx="2302">7.4359999999999999</cx:pt>
          <cx:pt idx="2303">9.0583999999999989</cx:pt>
          <cx:pt idx="2304">5.7683999999999997</cx:pt>
          <cx:pt idx="2305">9.3201899999999895</cx:pt>
          <cx:pt idx="2306">10.0008</cx:pt>
          <cx:pt idx="2307">10.6952999999999</cx:pt>
          <cx:pt idx="2308">10.6952999999999</cx:pt>
          <cx:pt idx="2309">15.6244</cx:pt>
          <cx:pt idx="2310">44.604199999999999</cx:pt>
          <cx:pt idx="2311">6.5549999999999997</cx:pt>
          <cx:pt idx="2312">7.3008000000000006</cx:pt>
          <cx:pt idx="2313">11.611199999999899</cx:pt>
          <cx:pt idx="2314">18.7636</cx:pt>
          <cx:pt idx="2315">7.1655999999999995</cx:pt>
          <cx:pt idx="2316">5.89949999999999</cx:pt>
          <cx:pt idx="2317">6.8171999999999997</cx:pt>
          <cx:pt idx="2318">6.1616999999999997</cx:pt>
          <cx:pt idx="2319">6.2927999999999997</cx:pt>
          <cx:pt idx="2320">9.0583999999999989</cx:pt>
          <cx:pt idx="2321">36.811899999999895</cx:pt>
          <cx:pt idx="2322">52.6651999999997</cx:pt>
          <cx:pt idx="2323">10.139699999999999</cx:pt>
          <cx:pt idx="2324">10.139699999999999</cx:pt>
          <cx:pt idx="2325">7.1655999999999995</cx:pt>
          <cx:pt idx="2326">10.973099999999999</cx:pt>
          <cx:pt idx="2327">6.6860999999999908</cx:pt>
          <cx:pt idx="2328">9.0583999999999989</cx:pt>
          <cx:pt idx="2329">18.302199999999999</cx:pt>
          <cx:pt idx="2330">47.291200000000003</cx:pt>
          <cx:pt idx="2331">6.03059999999999</cx:pt>
          <cx:pt idx="2332">5.5061999999999998</cx:pt>
          <cx:pt idx="2333">10.278600000000001</cx:pt>
          <cx:pt idx="2334">7.3008000000000006</cx:pt>
          <cx:pt idx="2335">16.625780000000002</cx:pt>
          <cx:pt idx="2336">10.6952999999999</cx:pt>
          <cx:pt idx="2337">3.7178000000000004</cx:pt>
          <cx:pt idx="2338">7.9767999999999892</cx:pt>
          <cx:pt idx="2339">45.141599999999997</cx:pt>
          <cx:pt idx="2340">5.89949999999999</cx:pt>
          <cx:pt idx="2341">19.225000000000001</cx:pt>
          <cx:pt idx="2342">12.460799999999999</cx:pt>
          <cx:pt idx="2343">9.5979900000000011</cx:pt>
          <cx:pt idx="2344">18.302199999999999</cx:pt>
          <cx:pt idx="2345">6.6860999999999908</cx:pt>
          <cx:pt idx="2346">6.03059999999999</cx:pt>
          <cx:pt idx="2347">7.4359999999999999</cx:pt>
          <cx:pt idx="2348">7.1655999999999995</cx:pt>
          <cx:pt idx="2349">9.722999999999999</cx:pt>
          <cx:pt idx="2350">6.03059999999999</cx:pt>
          <cx:pt idx="2351">5.89949999999999</cx:pt>
          <cx:pt idx="2352">43.529399999999903</cx:pt>
          <cx:pt idx="2353">11.611199999999899</cx:pt>
          <cx:pt idx="2354">13.736999999999998</cx:pt>
          <cx:pt idx="2355">16.764200000000002</cx:pt>
          <cx:pt idx="2356">5.1279999999999903</cx:pt>
          <cx:pt idx="2357">10.5564</cx:pt>
          <cx:pt idx="2358">4.8715999999999999</cx:pt>
          <cx:pt idx="2359">10.973099999999999</cx:pt>
          <cx:pt idx="2360">8.9232000000000014</cx:pt>
          <cx:pt idx="2361">7.3008000000000006</cx:pt>
          <cx:pt idx="2362">11.894399999999999</cx:pt>
          <cx:pt idx="2363">6.5549999999999997</cx:pt>
          <cx:pt idx="2364">14.769479999999998</cx:pt>
          <cx:pt idx="2365">16.764200000000002</cx:pt>
          <cx:pt idx="2366">10.139699999999999</cx:pt>
          <cx:pt idx="2367">8.5175999999999998</cx:pt>
          <cx:pt idx="2368">10.4175</cx:pt>
          <cx:pt idx="2369">5.5061999999999998</cx:pt>
          <cx:pt idx="2370">38.182270000000003</cx:pt>
          <cx:pt idx="2371">5.63729999999999</cx:pt>
          <cx:pt idx="2372">19.086580000000001</cx:pt>
          <cx:pt idx="2373">36.811899999999895</cx:pt>
          <cx:pt idx="2374">5.63729999999999</cx:pt>
          <cx:pt idx="2375">15.786539999999999</cx:pt>
          <cx:pt idx="2376">6.2927999999999997</cx:pt>
          <cx:pt idx="2377">5.5061999999999998</cx:pt>
          <cx:pt idx="2378">11.752799999999999</cx:pt>
          <cx:pt idx="2379">12.319199999999899</cx:pt>
          <cx:pt idx="2380">8.5311199999999907</cx:pt>
          <cx:pt idx="2381">6.6860999999999908</cx:pt>
          <cx:pt idx="2382">34.930999999999997</cx:pt>
          <cx:pt idx="2383">40.305</cx:pt>
          <cx:pt idx="2384">8.7880000000000003</cx:pt>
          <cx:pt idx="2385">8.1120000000000001</cx:pt>
          <cx:pt idx="2386">11.894399999999999</cx:pt>
          <cx:pt idx="2387">13.447799999999999</cx:pt>
          <cx:pt idx="2388">44.872899999999902</cx:pt>
          <cx:pt idx="2389">13.5924</cx:pt>
          <cx:pt idx="2390">7.3008000000000006</cx:pt>
          <cx:pt idx="2391">10.834199999999999</cx:pt>
          <cx:pt idx="2392">17.0718</cx:pt>
          <cx:pt idx="2393">42.185899999999997</cx:pt>
          <cx:pt idx="2394">12.602399999999999</cx:pt>
          <cx:pt idx="2395">15.6244</cx:pt>
          <cx:pt idx="2396">5.89949999999999</cx:pt>
          <cx:pt idx="2397">7.8415999999999997</cx:pt>
          <cx:pt idx="2398">18.456</cx:pt>
          <cx:pt idx="2399">10.278600000000001</cx:pt>
          <cx:pt idx="2400">18.148399999999899</cx:pt>
          <cx:pt idx="2401">11.4696</cx:pt>
          <cx:pt idx="2402">10.973099999999999</cx:pt>
          <cx:pt idx="2403">7.4495199999999997</cx:pt>
          <cx:pt idx="2404">5.2690199999999905</cx:pt>
          <cx:pt idx="2405">9.5840999999999994</cx:pt>
          <cx:pt idx="2406">17.840799999999902</cx:pt>
          <cx:pt idx="2407">5.7683999999999997</cx:pt>
          <cx:pt idx="2408">8.5175999999999998</cx:pt>
          <cx:pt idx="2409">10.139699999999999</cx:pt>
          <cx:pt idx="2410">10.6952999999999</cx:pt>
          <cx:pt idx="2411">8.5175999999999998</cx:pt>
          <cx:pt idx="2412">11.752799999999999</cx:pt>
          <cx:pt idx="2413">10.973099999999999</cx:pt>
          <cx:pt idx="2414">5.89949999999999</cx:pt>
          <cx:pt idx="2415">9.722999999999999</cx:pt>
          <cx:pt idx="2416">6.03059999999999</cx:pt>
          <cx:pt idx="2417">7.1655999999999995</cx:pt>
          <cx:pt idx="2418">12.602399999999999</cx:pt>
          <cx:pt idx="2419">13.109999999999999</cx:pt>
          <cx:pt idx="2420">10.57029</cx:pt>
          <cx:pt idx="2421">5.2561999999999998</cx:pt>
          <cx:pt idx="2422">17.533199999999997</cx:pt>
          <cx:pt idx="2423">8.5175999999999998</cx:pt>
          <cx:pt idx="2424">17.24098</cx:pt>
          <cx:pt idx="2425">8.7880000000000003</cx:pt>
          <cx:pt idx="2426">11.611199999999899</cx:pt>
          <cx:pt idx="2427">5.5061999999999998</cx:pt>
          <cx:pt idx="2428">4.9998000000000005</cx:pt>
          <cx:pt idx="2429">5.7683999999999997</cx:pt>
          <cx:pt idx="2430">7.9767999999999892</cx:pt>
          <cx:pt idx="2431">7.7063999999999995</cx:pt>
          <cx:pt idx="2432">3.9741999999999997</cx:pt>
          <cx:pt idx="2433">6.4239000000000006</cx:pt>
          <cx:pt idx="2434">43.529399999999903</cx:pt>
          <cx:pt idx="2435">42.185899999999997</cx:pt>
          <cx:pt idx="2436">15.329599999999999</cx:pt>
          <cx:pt idx="2437">5.5061999999999998</cx:pt>
          <cx:pt idx="2438">5.89949999999999</cx:pt>
          <cx:pt idx="2439">6.6860999999999908</cx:pt>
          <cx:pt idx="2440">10.5564</cx:pt>
          <cx:pt idx="2441">17.3794</cx:pt>
          <cx:pt idx="2442">11.4696</cx:pt>
          <cx:pt idx="2443">6.4239000000000006</cx:pt>
          <cx:pt idx="2444">16.917999999999999</cx:pt>
          <cx:pt idx="2445">5.89949999999999</cx:pt>
          <cx:pt idx="2446">5.2561999999999998</cx:pt>
          <cx:pt idx="2447">4.2305999999999999</cx:pt>
          <cx:pt idx="2448">10.0008</cx:pt>
          <cx:pt idx="2449">46.511970000000005</cx:pt>
          <cx:pt idx="2450">10.278600000000001</cx:pt>
          <cx:pt idx="2451">6.6860999999999908</cx:pt>
          <cx:pt idx="2452">5.2561999999999998</cx:pt>
          <cx:pt idx="2453">8.1120000000000001</cx:pt>
          <cx:pt idx="2454">9.0583999999999989</cx:pt>
          <cx:pt idx="2455">7.5712000000000002</cx:pt>
          <cx:pt idx="2456">10.5564</cx:pt>
          <cx:pt idx="2457">6.5549999999999997</cx:pt>
          <cx:pt idx="2458">4.3588000000000005</cx:pt>
          <cx:pt idx="2459">8.7880000000000003</cx:pt>
          <cx:pt idx="2460">4.4870000000000001</cx:pt>
          <cx:pt idx="2461">6.03059999999999</cx:pt>
          <cx:pt idx="2462">7.8415999999999997</cx:pt>
          <cx:pt idx="2463">41.379800000000003</cx:pt>
          <cx:pt idx="2464">10.973099999999999</cx:pt>
          <cx:pt idx="2465">6.03059999999999</cx:pt>
          <cx:pt idx="2466">9.4451999999999998</cx:pt>
          <cx:pt idx="2467">4.6280199999999905</cx:pt>
          <cx:pt idx="2468">7.1655999999999995</cx:pt>
          <cx:pt idx="2469">12.825000000000001</cx:pt>
          <cx:pt idx="2470">5.2561999999999998</cx:pt>
          <cx:pt idx="2471">6.2927999999999997</cx:pt>
          <cx:pt idx="2472">7.4359999999999999</cx:pt>
          <cx:pt idx="2473">7.9767999999999892</cx:pt>
          <cx:pt idx="2474">12.177599999999899</cx:pt>
          <cx:pt idx="2475">8.1120000000000001</cx:pt>
          <cx:pt idx="2476">6.6860999999999908</cx:pt>
          <cx:pt idx="2477">11.4696</cx:pt>
          <cx:pt idx="2478">10.6952999999999</cx:pt>
          <cx:pt idx="2479">15.6244</cx:pt>
          <cx:pt idx="2480">11.4696</cx:pt>
          <cx:pt idx="2481">15.771799999999999</cx:pt>
          <cx:pt idx="2482">9.4451999999999998</cx:pt>
          <cx:pt idx="2483">7.4359999999999999</cx:pt>
          <cx:pt idx="2484">9.4451999999999998</cx:pt>
          <cx:pt idx="2485">8.7880000000000003</cx:pt>
          <cx:pt idx="2486">10.6952999999999</cx:pt>
          <cx:pt idx="2487">12.460799999999999</cx:pt>
          <cx:pt idx="2488">17.3794</cx:pt>
          <cx:pt idx="2489">10.139699999999999</cx:pt>
          <cx:pt idx="2490">10.6952999999999</cx:pt>
          <cx:pt idx="2491">8.7880000000000003</cx:pt>
          <cx:pt idx="2492">6.03059999999999</cx:pt>
          <cx:pt idx="2493">5.6504099999999999</cx:pt>
          <cx:pt idx="2494">6.2927999999999997</cx:pt>
          <cx:pt idx="2495">36.811899999999895</cx:pt>
          <cx:pt idx="2496">5.63729999999999</cx:pt>
          <cx:pt idx="2497">4.9998000000000005</cx:pt>
          <cx:pt idx="2498">6.1616999999999997</cx:pt>
          <cx:pt idx="2499">3.7178000000000004</cx:pt>
          <cx:pt idx="2500">16.764200000000002</cx:pt>
          <cx:pt idx="2501">36.005800000000001</cx:pt>
          <cx:pt idx="2502">10.6952999999999</cx:pt>
          <cx:pt idx="2503">5.89949999999999</cx:pt>
          <cx:pt idx="2504">5.7683999999999997</cx:pt>
          <cx:pt idx="2505">5.89949999999999</cx:pt>
          <cx:pt idx="2506">4.4870000000000001</cx:pt>
          <cx:pt idx="2507">16.917999999999999</cx:pt>
          <cx:pt idx="2508">8.9232000000000014</cx:pt>
          <cx:pt idx="2509">5.5061999999999998</cx:pt>
          <cx:pt idx="2510">13.109999999999999</cx:pt>
          <cx:pt idx="2511">7.7063999999999995</cx:pt>
          <cx:pt idx="2512">19.225000000000001</cx:pt>
          <cx:pt idx="2513">11.328000000000001</cx:pt>
          <cx:pt idx="2514">6.5549999999999997</cx:pt>
          <cx:pt idx="2515">13.447799999999999</cx:pt>
          <cx:pt idx="2516">8.9367199999999993</cx:pt>
          <cx:pt idx="2517">8.7880000000000003</cx:pt>
          <cx:pt idx="2518">17.2256</cx:pt>
          <cx:pt idx="2519">7.5712000000000002</cx:pt>
          <cx:pt idx="2520">5.7683999999999997</cx:pt>
          <cx:pt idx="2521">38.988370000000003</cx:pt>
          <cx:pt idx="2522">35.495269999999898</cx:pt>
          <cx:pt idx="2523">9.5840999999999994</cx:pt>
          <cx:pt idx="2524">16.764200000000002</cx:pt>
          <cx:pt idx="2525">5.1279999999999903</cx:pt>
          <cx:pt idx="2526">7.9767999999999892</cx:pt>
          <cx:pt idx="2527">10.139699999999999</cx:pt>
          <cx:pt idx="2528">7.8415999999999997</cx:pt>
          <cx:pt idx="2529">4.9998000000000005</cx:pt>
          <cx:pt idx="2530">12.177599999999899</cx:pt>
          <cx:pt idx="2531">37.3492999999999</cx:pt>
          <cx:pt idx="2532">6.1616999999999997</cx:pt>
          <cx:pt idx="2533">9.4451999999999998</cx:pt>
          <cx:pt idx="2534">28.777770000000004</cx:pt>
          <cx:pt idx="2535">11.550380000000001</cx:pt>
          <cx:pt idx="2536">6.83958000000003</cx:pt>
          <cx:pt idx="2537">33.883069999999996</cx:pt>
          <cx:pt idx="2538">39.525769999999902</cx:pt>
          <cx:pt idx="2539">10.774939999999999</cx:pt>
          <cx:pt idx="2540">6.2842499999999992</cx:pt>
          <cx:pt idx="2541">11.550380000000001</cx:pt>
          <cx:pt idx="2542">14.16498</cx:pt>
          <cx:pt idx="2543">6.8106600000000004</cx:pt>
          <cx:pt idx="2544">6.8106600000000004</cx:pt>
          <cx:pt idx="2545">26.628170000000001</cx:pt>
          <cx:pt idx="2546">10.332739999999999</cx:pt>
          <cx:pt idx="2547">0.91021999999999992</cx:pt>
          <cx:pt idx="2548">0.91021999999999992</cx:pt>
          <cx:pt idx="2549">6.14175</cx:pt>
          <cx:pt idx="2550">12.16558</cx:pt>
          <cx:pt idx="2551">4.7455199999999902</cx:pt>
          <cx:pt idx="2552">9.30093999999999</cx:pt>
          <cx:pt idx="2553">1.2948200000000001</cx:pt>
          <cx:pt idx="2554">13.2421799999999</cx:pt>
          <cx:pt idx="2555">14.16498</cx:pt>
          <cx:pt idx="2556">3.08962</cx:pt>
          <cx:pt idx="2557">13.549779999999901</cx:pt>
          <cx:pt idx="2558">29.85257</cx:pt>
          <cx:pt idx="2559">1.8332600000000199</cx:pt>
          <cx:pt idx="2560">5.9613599999999902</cx:pt>
          <cx:pt idx="2561">7.0998599999999996</cx:pt>
          <cx:pt idx="2562">6.5214599999999994</cx:pt>
          <cx:pt idx="2563">6.5214599999999994</cx:pt>
          <cx:pt idx="2564">12.62698</cx:pt>
          <cx:pt idx="2565">2.1922199999999998</cx:pt>
          <cx:pt idx="2566">1.42301999999999</cx:pt>
          <cx:pt idx="2567">4.20472</cx:pt>
          <cx:pt idx="2568">29.85257</cx:pt>
          <cx:pt idx="2569">34.205509999999997</cx:pt>
          <cx:pt idx="2570">1.80762</cx:pt>
        </cx:lvl>
      </cx:numDim>
    </cx:data>
    <cx:data id="9">
      <cx:numDim type="val">
        <cx:f>Sheet2!$J$2:$J$11265</cx:f>
        <cx:lvl ptCount="11264" formatCode="General">
          <cx:pt idx="0">17.3794</cx:pt>
          <cx:pt idx="1">9.4451999999999998</cx:pt>
          <cx:pt idx="2">16.917999999999999</cx:pt>
          <cx:pt idx="3">13.1242499999999</cx:pt>
          <cx:pt idx="4">7.5712000000000002</cx:pt>
          <cx:pt idx="5">5.6504099999999999</cx:pt>
          <cx:pt idx="6">7.8415999999999997</cx:pt>
          <cx:pt idx="7">15.182200000000002</cx:pt>
          <cx:pt idx="8">10.6952999999999</cx:pt>
          <cx:pt idx="9">5.2561999999999998</cx:pt>
          <cx:pt idx="10">18.456</cx:pt>
          <cx:pt idx="11">6.4239000000000006</cx:pt>
          <cx:pt idx="12">10.834199999999999</cx:pt>
          <cx:pt idx="13">6.5549999999999997</cx:pt>
          <cx:pt idx="14">11.611199999999899</cx:pt>
          <cx:pt idx="15">10.278600000000001</cx:pt>
          <cx:pt idx="16">15.476999999999999</cx:pt>
          <cx:pt idx="17">6.6860999999999908</cx:pt>
          <cx:pt idx="18">7.3008000000000006</cx:pt>
          <cx:pt idx="19">13.1242499999999</cx:pt>
          <cx:pt idx="20">3.4742199999999896</cx:pt>
          <cx:pt idx="21">37.618000000000002</cx:pt>
          <cx:pt idx="22">10.0008</cx:pt>
          <cx:pt idx="23">14.0261999999999</cx:pt>
          <cx:pt idx="24">4.2305999999999999</cx:pt>
          <cx:pt idx="25">7.9767999999999892</cx:pt>
          <cx:pt idx="26">7.4359999999999999</cx:pt>
          <cx:pt idx="27">4.9998000000000005</cx:pt>
          <cx:pt idx="28">13.109999999999999</cx:pt>
          <cx:pt idx="29">38.424100000000003</cx:pt>
          <cx:pt idx="30">5.7683999999999997</cx:pt>
          <cx:pt idx="31">7.9767999999999892</cx:pt>
          <cx:pt idx="32">15.786539999999999</cx:pt>
          <cx:pt idx="33">10.57029</cx:pt>
          <cx:pt idx="34">17.24098</cx:pt>
          <cx:pt idx="35">17.2256</cx:pt>
          <cx:pt idx="36">5.5061999999999998</cx:pt>
          <cx:pt idx="37">17.0718</cx:pt>
          <cx:pt idx="38">13.751459999999899</cx:pt>
          <cx:pt idx="39">2.9485999999999999</cx:pt>
          <cx:pt idx="40">5.2561999999999998</cx:pt>
          <cx:pt idx="41">2.8332199999999998</cx:pt>
          <cx:pt idx="42">10.973099999999999</cx:pt>
          <cx:pt idx="43">11.4696</cx:pt>
          <cx:pt idx="44">4.2305999999999999</cx:pt>
          <cx:pt idx="45">6.6860999999999908</cx:pt>
          <cx:pt idx="46">15.771799999999999</cx:pt>
          <cx:pt idx="47">10.6952999999999</cx:pt>
          <cx:pt idx="48">10.6952999999999</cx:pt>
          <cx:pt idx="49">44.362369999999999</cx:pt>
          <cx:pt idx="50">6.03059999999999</cx:pt>
          <cx:pt idx="51">15.182200000000002</cx:pt>
          <cx:pt idx="52">11.611199999999899</cx:pt>
          <cx:pt idx="53">11.328000000000001</cx:pt>
          <cx:pt idx="54">7.7199199999999992</cx:pt>
          <cx:pt idx="55">3.5895999999999999</cx:pt>
          <cx:pt idx="56">4.7433999999999994</cx:pt>
          <cx:pt idx="57">6.6860999999999908</cx:pt>
          <cx:pt idx="58">6.2927999999999997</cx:pt>
          <cx:pt idx="59">10.5564</cx:pt>
          <cx:pt idx="60">19.378799999999998</cx:pt>
          <cx:pt idx="61">7.8415999999999997</cx:pt>
          <cx:pt idx="62">39.498899999999999</cx:pt>
          <cx:pt idx="63">9.5979900000000011</cx:pt>
          <cx:pt idx="64">10.973099999999999</cx:pt>
          <cx:pt idx="65">52.181540000000005</cx:pt>
          <cx:pt idx="66">6.6860999999999908</cx:pt>
          <cx:pt idx="67">10.5564</cx:pt>
          <cx:pt idx="68">5.5061999999999998</cx:pt>
          <cx:pt idx="69">43.529399999999903</cx:pt>
          <cx:pt idx="70">10.973099999999999</cx:pt>
          <cx:pt idx="71">4.1023999999999994</cx:pt>
          <cx:pt idx="72">10.278600000000001</cx:pt>
          <cx:pt idx="73">11.328000000000001</cx:pt>
          <cx:pt idx="74">7.1655999999999995</cx:pt>
          <cx:pt idx="75">8.2472000000000012</cx:pt>
          <cx:pt idx="76">8.5175999999999998</cx:pt>
          <cx:pt idx="77">7.1655999999999995</cx:pt>
          <cx:pt idx="78">5.5061999999999998</cx:pt>
          <cx:pt idx="79">4.1023999999999994</cx:pt>
          <cx:pt idx="80">7.8415999999999997</cx:pt>
          <cx:pt idx="81">10.973099999999999</cx:pt>
          <cx:pt idx="82">6.03059999999999</cx:pt>
          <cx:pt idx="83">12.177599999999899</cx:pt>
          <cx:pt idx="84">6.4370099999999999</cx:pt>
          <cx:pt idx="85">17.0718</cx:pt>
          <cx:pt idx="86">9.7368899999999989</cx:pt>
          <cx:pt idx="87">5.2561999999999998</cx:pt>
          <cx:pt idx="88">4.6151999999999997</cx:pt>
          <cx:pt idx="89">15.771799999999999</cx:pt>
          <cx:pt idx="90">6.1616999999999997</cx:pt>
          <cx:pt idx="91">11.328000000000001</cx:pt>
          <cx:pt idx="92">10.278600000000001</cx:pt>
          <cx:pt idx="93">6.2927999999999997</cx:pt>
          <cx:pt idx="94">6.3190200000000196</cx:pt>
          <cx:pt idx="95">10.4175</cx:pt>
          <cx:pt idx="96">47.049370000000003</cx:pt>
          <cx:pt idx="97">18.302199999999999</cx:pt>
          <cx:pt idx="98">19.240380000000002</cx:pt>
          <cx:pt idx="99">41.1111</cx:pt>
          <cx:pt idx="100">7.3008000000000006</cx:pt>
          <cx:pt idx="101">10.139699999999999</cx:pt>
          <cx:pt idx="102">40.305</cx:pt>
          <cx:pt idx="103">4.7433999999999994</cx:pt>
          <cx:pt idx="104">35.1997</cx:pt>
          <cx:pt idx="105">14.3154</cx:pt>
          <cx:pt idx="106">6.03059999999999</cx:pt>
          <cx:pt idx="107">10.7091899999999</cx:pt>
          <cx:pt idx="108">8.3823999999999987</cx:pt>
          <cx:pt idx="109">11.92272</cx:pt>
          <cx:pt idx="110">10.834199999999999</cx:pt>
          <cx:pt idx="111">17.687000000000001</cx:pt>
          <cx:pt idx="112">12.967500000000001</cx:pt>
          <cx:pt idx="113">10.4175</cx:pt>
          <cx:pt idx="114">10.973099999999999</cx:pt>
          <cx:pt idx="115">4.6151999999999997</cx:pt>
          <cx:pt idx="116">19.225000000000001</cx:pt>
          <cx:pt idx="117">18.778979999999901</cx:pt>
          <cx:pt idx="118">13.881599999999999</cx:pt>
          <cx:pt idx="119">12.602399999999999</cx:pt>
          <cx:pt idx="120">5.63729999999999</cx:pt>
          <cx:pt idx="121">13.1242499999999</cx:pt>
          <cx:pt idx="122">4.2305999999999999</cx:pt>
          <cx:pt idx="123">34.71604</cx:pt>
          <cx:pt idx="124">17.0718</cx:pt>
          <cx:pt idx="125">17.702379999999902</cx:pt>
          <cx:pt idx="126">10.139699999999999</cx:pt>
          <cx:pt idx="127">10.834199999999999</cx:pt>
          <cx:pt idx="128">38.182270000000003</cx:pt>
          <cx:pt idx="129">2.5639999999999898</cx:pt>
          <cx:pt idx="130">47.559899999999999</cx:pt>
          <cx:pt idx="131">10.5564</cx:pt>
          <cx:pt idx="132">8.3823999999999987</cx:pt>
          <cx:pt idx="133">9.4451999999999998</cx:pt>
          <cx:pt idx="134">4.1152199999999999</cx:pt>
          <cx:pt idx="135">17.0718</cx:pt>
          <cx:pt idx="136">11.752799999999999</cx:pt>
          <cx:pt idx="137">15.491739999999901</cx:pt>
          <cx:pt idx="138">6.1616999999999997</cx:pt>
          <cx:pt idx="139">14.0406599999999</cx:pt>
          <cx:pt idx="140">10.4175</cx:pt>
          <cx:pt idx="141">6.5549999999999997</cx:pt>
          <cx:pt idx="142">10.6952999999999</cx:pt>
          <cx:pt idx="143">43.2607</cx:pt>
          <cx:pt idx="144">12.839249999999899</cx:pt>
          <cx:pt idx="145">2.8203999999999998</cx:pt>
          <cx:pt idx="146">12.319199999999899</cx:pt>
          <cx:pt idx="147">4.8715999999999999</cx:pt>
          <cx:pt idx="148">10.834199999999999</cx:pt>
          <cx:pt idx="149">11.328000000000001</cx:pt>
          <cx:pt idx="150">14.0406599999999</cx:pt>
          <cx:pt idx="151">14.0406599999999</cx:pt>
          <cx:pt idx="152">14.0406599999999</cx:pt>
          <cx:pt idx="153">10.4175</cx:pt>
          <cx:pt idx="154">18.456</cx:pt>
          <cx:pt idx="155">3.5895999999999999</cx:pt>
          <cx:pt idx="156">10.139699999999999</cx:pt>
          <cx:pt idx="157">4.4870000000000001</cx:pt>
          <cx:pt idx="158">11.328000000000001</cx:pt>
          <cx:pt idx="159">41.1111</cx:pt>
          <cx:pt idx="160">17.24098</cx:pt>
          <cx:pt idx="161">10.834199999999999</cx:pt>
          <cx:pt idx="162">18.917400000000001</cx:pt>
          <cx:pt idx="163">46.485099999999704</cx:pt>
          <cx:pt idx="164">48.634699999999995</cx:pt>
          <cx:pt idx="165">15.04954</cx:pt>
          <cx:pt idx="166">7.4359999999999999</cx:pt>
          <cx:pt idx="167">15.9192</cx:pt>
          <cx:pt idx="168">34.930999999999997</cx:pt>
          <cx:pt idx="169">10.5564</cx:pt>
          <cx:pt idx="170">4.8715999999999999</cx:pt>
          <cx:pt idx="171">10.973099999999999</cx:pt>
          <cx:pt idx="172">10.306379999999999</cx:pt>
          <cx:pt idx="173">12.036</cx:pt>
          <cx:pt idx="174">8.5175999999999998</cx:pt>
          <cx:pt idx="175">10.5564</cx:pt>
          <cx:pt idx="176">10.6952999999999</cx:pt>
          <cx:pt idx="177">9.5840999999999994</cx:pt>
          <cx:pt idx="178">11.4696</cx:pt>
          <cx:pt idx="179">41.1111</cx:pt>
          <cx:pt idx="180">11.328000000000001</cx:pt>
          <cx:pt idx="181">39.230199999999897</cx:pt>
          <cx:pt idx="182">10.0008</cx:pt>
          <cx:pt idx="183">3.7178000000000004</cx:pt>
          <cx:pt idx="184">8.3823999999999987</cx:pt>
          <cx:pt idx="185">6.03059999999999</cx:pt>
          <cx:pt idx="186">7.3008000000000006</cx:pt>
          <cx:pt idx="187">5.89949999999999</cx:pt>
          <cx:pt idx="188">19.240380000000002</cx:pt>
          <cx:pt idx="189">16.917999999999999</cx:pt>
          <cx:pt idx="190">11.894399999999999</cx:pt>
          <cx:pt idx="191">40.842399999999998</cx:pt>
          <cx:pt idx="192">18.6098</cx:pt>
          <cx:pt idx="193">10.431389999999901</cx:pt>
          <cx:pt idx="194">6.6860999999999908</cx:pt>
          <cx:pt idx="195">5.5061999999999998</cx:pt>
          <cx:pt idx="196">5.5061999999999998</cx:pt>
          <cx:pt idx="197">12.460799999999999</cx:pt>
          <cx:pt idx="198">11.4696</cx:pt>
          <cx:pt idx="199">7.9767999999999892</cx:pt>
          <cx:pt idx="200">5.2561999999999998</cx:pt>
          <cx:pt idx="201">10.973099999999999</cx:pt>
          <cx:pt idx="202">4.6151999999999997</cx:pt>
          <cx:pt idx="203">4.1023999999999994</cx:pt>
          <cx:pt idx="204">44.362369999999999</cx:pt>
          <cx:pt idx="205">37.886699999999998</cx:pt>
          <cx:pt idx="206">7.1655999999999995</cx:pt>
          <cx:pt idx="207">42.185899999999997</cx:pt>
          <cx:pt idx="208">2.1794000000000002</cx:pt>
          <cx:pt idx="209">49.1721</cx:pt>
          <cx:pt idx="210">4.4870000000000001</cx:pt>
          <cx:pt idx="211">5.7683999999999997</cx:pt>
          <cx:pt idx="212">17.2256</cx:pt>
          <cx:pt idx="213">11.328000000000001</cx:pt>
          <cx:pt idx="214">37.3492999999999</cx:pt>
          <cx:pt idx="215">4.3588000000000005</cx:pt>
          <cx:pt idx="216">8.2472000000000012</cx:pt>
          <cx:pt idx="217">9.8619000000000003</cx:pt>
          <cx:pt idx="218">12.602399999999999</cx:pt>
          <cx:pt idx="219">10.139699999999999</cx:pt>
          <cx:pt idx="220">5.89949999999999</cx:pt>
          <cx:pt idx="221">36.005800000000001</cx:pt>
          <cx:pt idx="222">10.6952999999999</cx:pt>
          <cx:pt idx="223">6.5549999999999997</cx:pt>
          <cx:pt idx="224">15.6244</cx:pt>
          <cx:pt idx="225">7.4359999999999999</cx:pt>
          <cx:pt idx="226">17.533199999999997</cx:pt>
          <cx:pt idx="227">18.148399999999899</cx:pt>
          <cx:pt idx="228">9.8619000000000003</cx:pt>
          <cx:pt idx="229">14.3154</cx:pt>
          <cx:pt idx="230">17.0718</cx:pt>
          <cx:pt idx="231">6.6992099999999999</cx:pt>
          <cx:pt idx="232">11.328000000000001</cx:pt>
          <cx:pt idx="233">14.1708</cx:pt>
          <cx:pt idx="234">12.177599999999899</cx:pt>
          <cx:pt idx="235">10.139699999999999</cx:pt>
          <cx:pt idx="236">11.894399999999999</cx:pt>
          <cx:pt idx="237">6.8171999999999997</cx:pt>
          <cx:pt idx="238">6.03059999999999</cx:pt>
          <cx:pt idx="239">3.0768</cx:pt>
          <cx:pt idx="240">5.5061999999999998</cx:pt>
          <cx:pt idx="241">10.861980000000001</cx:pt>
          <cx:pt idx="242">19.547980000000003</cx:pt>
          <cx:pt idx="243">10.973099999999999</cx:pt>
          <cx:pt idx="244">18.3175799999999</cx:pt>
          <cx:pt idx="245">6.2927999999999997</cx:pt>
          <cx:pt idx="246">5.63729999999999</cx:pt>
          <cx:pt idx="247">10.6952999999999</cx:pt>
          <cx:pt idx="248">4.6151999999999997</cx:pt>
          <cx:pt idx="249">35.1997</cx:pt>
          <cx:pt idx="250">12.967500000000001</cx:pt>
          <cx:pt idx="251">4.3588000000000005</cx:pt>
          <cx:pt idx="252">6.2927999999999997</cx:pt>
          <cx:pt idx="253">9.722999999999999</cx:pt>
          <cx:pt idx="254">10.139699999999999</cx:pt>
          <cx:pt idx="255">10.834199999999999</cx:pt>
          <cx:pt idx="256">5.5061999999999998</cx:pt>
          <cx:pt idx="257">12.319199999999899</cx:pt>
          <cx:pt idx="258">38.961499999999901</cx:pt>
          <cx:pt idx="259">47.291200000000003</cx:pt>
          <cx:pt idx="260">10.4175</cx:pt>
          <cx:pt idx="261">12.319199999999899</cx:pt>
          <cx:pt idx="262">17.2256</cx:pt>
          <cx:pt idx="263">12.83925</cx:pt>
          <cx:pt idx="264">10.5564</cx:pt>
          <cx:pt idx="265">7.1655999999999995</cx:pt>
          <cx:pt idx="266">10.5564</cx:pt>
          <cx:pt idx="267">57.233099999999702</cx:pt>
          <cx:pt idx="268">10.973099999999999</cx:pt>
          <cx:pt idx="269">37.618000000000002</cx:pt>
          <cx:pt idx="270">15.786539999999999</cx:pt>
          <cx:pt idx="271">4.9998000000000005</cx:pt>
          <cx:pt idx="272">10.5564</cx:pt>
          <cx:pt idx="273">10.5564</cx:pt>
          <cx:pt idx="274">5.89949999999999</cx:pt>
          <cx:pt idx="275">17.687000000000001</cx:pt>
          <cx:pt idx="276">8.9232000000000014</cx:pt>
          <cx:pt idx="277">18.3175799999999</cx:pt>
          <cx:pt idx="278">5.7683999999999997</cx:pt>
          <cx:pt idx="279">10.57029</cx:pt>
          <cx:pt idx="280">5.7683999999999997</cx:pt>
          <cx:pt idx="281">4.6151999999999997</cx:pt>
          <cx:pt idx="282">5.63729999999999</cx:pt>
          <cx:pt idx="283">1.9358199999999999</cx:pt>
          <cx:pt idx="284">6.5549999999999997</cx:pt>
          <cx:pt idx="285">4.7433999999999994</cx:pt>
          <cx:pt idx="286">8.9367199999999993</cx:pt>
          <cx:pt idx="287">18.625179999999901</cx:pt>
          <cx:pt idx="288">17.3794</cx:pt>
          <cx:pt idx="289">15.491739999999901</cx:pt>
          <cx:pt idx="290">4.1023999999999994</cx:pt>
          <cx:pt idx="291">7.4495199999999997</cx:pt>
          <cx:pt idx="292">61.800999999999995</cx:pt>
          <cx:pt idx="293">10.5564</cx:pt>
          <cx:pt idx="294">51.052999999999905</cx:pt>
          <cx:pt idx="295">8.9232000000000014</cx:pt>
          <cx:pt idx="296">34.662300000000002</cx:pt>
          <cx:pt idx="297">12.602399999999999</cx:pt>
          <cx:pt idx="298">15.491739999999901</cx:pt>
          <cx:pt idx="299">37.376169999999995</cx:pt>
          <cx:pt idx="300">4.8715999999999999</cx:pt>
          <cx:pt idx="301">6.4239000000000006</cx:pt>
          <cx:pt idx="302">8.2472000000000012</cx:pt>
          <cx:pt idx="303">9.4451999999999998</cx:pt>
          <cx:pt idx="304">10.278600000000001</cx:pt>
          <cx:pt idx="305">5.1279999999999903</cx:pt>
          <cx:pt idx="306">40.573700000000002</cx:pt>
          <cx:pt idx="307">4.7562199999999999</cx:pt>
          <cx:pt idx="308">5.9126099999999893</cx:pt>
          <cx:pt idx="309">42.723299999999995</cx:pt>
          <cx:pt idx="310">8.9232000000000014</cx:pt>
          <cx:pt idx="311">10.973099999999999</cx:pt>
          <cx:pt idx="312">18.7636</cx:pt>
          <cx:pt idx="313">8.3823999999999987</cx:pt>
          <cx:pt idx="314">10.4175</cx:pt>
          <cx:pt idx="315">6.03059999999999</cx:pt>
          <cx:pt idx="316">16.764200000000002</cx:pt>
          <cx:pt idx="317">4.7433999999999994</cx:pt>
          <cx:pt idx="318">13.1242499999999</cx:pt>
          <cx:pt idx="319">12.177599999999899</cx:pt>
          <cx:pt idx="320">3.2050000000000001</cx:pt>
          <cx:pt idx="321">7.1655999999999995</cx:pt>
          <cx:pt idx="322">7.1655999999999995</cx:pt>
          <cx:pt idx="323">15.786539999999999</cx:pt>
          <cx:pt idx="324">6.4501200000000205</cx:pt>
          <cx:pt idx="325">4.6151999999999997</cx:pt>
          <cx:pt idx="326">19.225000000000001</cx:pt>
          <cx:pt idx="327">16.625780000000002</cx:pt>
          <cx:pt idx="328">10.6952999999999</cx:pt>
          <cx:pt idx="329">12.839249999999899</cx:pt>
          <cx:pt idx="330">5.5061999999999998</cx:pt>
          <cx:pt idx="331">8.6527999999999992</cx:pt>
          <cx:pt idx="332">4.4870000000000001</cx:pt>
          <cx:pt idx="333">12.036</cx:pt>
          <cx:pt idx="334">11.611199999999899</cx:pt>
          <cx:pt idx="335">6.4239000000000006</cx:pt>
          <cx:pt idx="336">11.92272</cx:pt>
          <cx:pt idx="337">5.5061999999999998</cx:pt>
          <cx:pt idx="338">10.278600000000001</cx:pt>
          <cx:pt idx="339">15.182200000000002</cx:pt>
          <cx:pt idx="340">4.4870000000000001</cx:pt>
          <cx:pt idx="341">10.5564</cx:pt>
          <cx:pt idx="342">10.4175</cx:pt>
          <cx:pt idx="343">4.6151999999999997</cx:pt>
          <cx:pt idx="344">7.7063999999999995</cx:pt>
          <cx:pt idx="345">3.9741999999999997</cx:pt>
          <cx:pt idx="346">12.460799999999999</cx:pt>
          <cx:pt idx="347">10.7091899999999</cx:pt>
          <cx:pt idx="348">4.3588000000000005</cx:pt>
          <cx:pt idx="349">10.834199999999999</cx:pt>
          <cx:pt idx="350">10.4175</cx:pt>
          <cx:pt idx="351">13.1242499999999</cx:pt>
          <cx:pt idx="352">4.7433999999999994</cx:pt>
          <cx:pt idx="353">8.9232000000000014</cx:pt>
          <cx:pt idx="354">12.967500000000001</cx:pt>
          <cx:pt idx="355">17.687000000000001</cx:pt>
          <cx:pt idx="356">40.331869999999995</cx:pt>
          <cx:pt idx="357">7.1655999999999995</cx:pt>
          <cx:pt idx="358">11.328000000000001</cx:pt>
          <cx:pt idx="359">6.1616999999999997</cx:pt>
          <cx:pt idx="360">5.7683999999999997</cx:pt>
          <cx:pt idx="361">9.0583999999999989</cx:pt>
          <cx:pt idx="362">4.9998000000000005</cx:pt>
          <cx:pt idx="363">18.7636</cx:pt>
          <cx:pt idx="364">6.1616999999999997</cx:pt>
          <cx:pt idx="365">6.6860999999999908</cx:pt>
          <cx:pt idx="366">9.8619000000000003</cx:pt>
          <cx:pt idx="367">10.834199999999999</cx:pt>
          <cx:pt idx="368">10.6952999999999</cx:pt>
          <cx:pt idx="369">8.5175999999999998</cx:pt>
          <cx:pt idx="370">10.834199999999999</cx:pt>
          <cx:pt idx="371">6.6860999999999908</cx:pt>
          <cx:pt idx="372">16.625780000000002</cx:pt>
          <cx:pt idx="373">3.9741999999999997</cx:pt>
          <cx:pt idx="374">9.8619000000000003</cx:pt>
          <cx:pt idx="375">17.548580000000001</cx:pt>
          <cx:pt idx="376">11.611199999999899</cx:pt>
          <cx:pt idx="377">10.834199999999999</cx:pt>
          <cx:pt idx="378">5.63729999999999</cx:pt>
          <cx:pt idx="379">10.5564</cx:pt>
          <cx:pt idx="380">10.5564</cx:pt>
          <cx:pt idx="381">2.9614199999999999</cx:pt>
          <cx:pt idx="382">5.7683999999999997</cx:pt>
          <cx:pt idx="383">12.177599999999899</cx:pt>
          <cx:pt idx="384">5.7683999999999997</cx:pt>
          <cx:pt idx="385">6.4239000000000006</cx:pt>
          <cx:pt idx="386">8.3823999999999987</cx:pt>
          <cx:pt idx="387">15.786539999999999</cx:pt>
          <cx:pt idx="388">7.4359999999999999</cx:pt>
          <cx:pt idx="389">8.3823999999999987</cx:pt>
          <cx:pt idx="390">13.31766</cx:pt>
          <cx:pt idx="391">12.967500000000001</cx:pt>
          <cx:pt idx="392">16.764200000000002</cx:pt>
          <cx:pt idx="393">52.960769999999904</cx:pt>
          <cx:pt idx="394">18.17916</cx:pt>
          <cx:pt idx="395">10.4175</cx:pt>
          <cx:pt idx="396">5.5061999999999998</cx:pt>
          <cx:pt idx="397">10.834199999999999</cx:pt>
          <cx:pt idx="398">13.1242499999999</cx:pt>
          <cx:pt idx="399">8.7880000000000003</cx:pt>
          <cx:pt idx="400">6.2927999999999997</cx:pt>
          <cx:pt idx="401">6.6860999999999908</cx:pt>
          <cx:pt idx="402">10.6952999999999</cx:pt>
          <cx:pt idx="403">15.034799999999901</cx:pt>
          <cx:pt idx="404">10.139699999999999</cx:pt>
          <cx:pt idx="405">5.5061999999999998</cx:pt>
          <cx:pt idx="406">5.5061999999999998</cx:pt>
          <cx:pt idx="407">4.4870000000000001</cx:pt>
          <cx:pt idx="408">18.163779999999999</cx:pt>
          <cx:pt idx="409">10.5564</cx:pt>
          <cx:pt idx="410">11.328000000000001</cx:pt>
          <cx:pt idx="411">3.9741999999999997</cx:pt>
          <cx:pt idx="412">12.460799999999999</cx:pt>
          <cx:pt idx="413">12.839249999999899</cx:pt>
          <cx:pt idx="414">18.302199999999999</cx:pt>
          <cx:pt idx="415">6.4239000000000006</cx:pt>
          <cx:pt idx="416">5.1279999999999903</cx:pt>
          <cx:pt idx="417">6.1616999999999997</cx:pt>
          <cx:pt idx="418">4.6151999999999997</cx:pt>
          <cx:pt idx="419">12.177599999999899</cx:pt>
          <cx:pt idx="420">6.03059999999999</cx:pt>
          <cx:pt idx="421">6.8171999999999997</cx:pt>
          <cx:pt idx="422">4.2305999999999999</cx:pt>
          <cx:pt idx="423">15.182200000000002</cx:pt>
          <cx:pt idx="424">37.886699999999998</cx:pt>
          <cx:pt idx="425">13.881599999999999</cx:pt>
          <cx:pt idx="426">7.7063999999999995</cx:pt>
          <cx:pt idx="427">34.662300000000002</cx:pt>
          <cx:pt idx="428">18.778979999999901</cx:pt>
          <cx:pt idx="429">3.5895999999999999</cx:pt>
          <cx:pt idx="430">10.5564</cx:pt>
          <cx:pt idx="431">12.319199999999899</cx:pt>
          <cx:pt idx="432">10.4175</cx:pt>
          <cx:pt idx="433">8.9232000000000014</cx:pt>
          <cx:pt idx="434">13.1242499999999</cx:pt>
          <cx:pt idx="435">10.5564</cx:pt>
          <cx:pt idx="436">13.1242499999999</cx:pt>
          <cx:pt idx="437">6.8171999999999997</cx:pt>
          <cx:pt idx="438">6.5549999999999997</cx:pt>
          <cx:pt idx="439">12.6023999999999</cx:pt>
          <cx:pt idx="440">5.89949999999999</cx:pt>
          <cx:pt idx="441">6.03059999999999</cx:pt>
          <cx:pt idx="442">17.687000000000001</cx:pt>
          <cx:pt idx="443">10.6952999999999</cx:pt>
          <cx:pt idx="444">6.2927999999999997</cx:pt>
          <cx:pt idx="445">12.460799999999999</cx:pt>
          <cx:pt idx="446">15.786539999999999</cx:pt>
          <cx:pt idx="447">9.722999999999999</cx:pt>
          <cx:pt idx="448">10.973099999999999</cx:pt>
          <cx:pt idx="449">6.2927999999999997</cx:pt>
          <cx:pt idx="450">18.302199999999999</cx:pt>
          <cx:pt idx="451">9.5840999999999994</cx:pt>
          <cx:pt idx="452">10.6952999999999</cx:pt>
          <cx:pt idx="453">13.462259999999901</cx:pt>
          <cx:pt idx="454">6.6860999999999908</cx:pt>
          <cx:pt idx="455">5.5061999999999998</cx:pt>
          <cx:pt idx="456">11.752799999999999</cx:pt>
          <cx:pt idx="457">6.1616999999999997</cx:pt>
          <cx:pt idx="458">5.2561999999999998</cx:pt>
          <cx:pt idx="459">5.7683999999999997</cx:pt>
          <cx:pt idx="460">35.495269999999898</cx:pt>
          <cx:pt idx="461">37.886699999999998</cx:pt>
          <cx:pt idx="462">4.3588000000000005</cx:pt>
          <cx:pt idx="463">19.378799999999998</cx:pt>
          <cx:pt idx="464">6.1616999999999997</cx:pt>
          <cx:pt idx="465">17.533199999999997</cx:pt>
          <cx:pt idx="466">37.618000000000002</cx:pt>
          <cx:pt idx="467">13.447799999999999</cx:pt>
          <cx:pt idx="468">8.9232000000000014</cx:pt>
          <cx:pt idx="469">41.917200000000001</cx:pt>
          <cx:pt idx="470">41.379800000000003</cx:pt>
          <cx:pt idx="471">37.618000000000002</cx:pt>
          <cx:pt idx="472">3.8460000000000001</cx:pt>
          <cx:pt idx="473">10.973099999999999</cx:pt>
          <cx:pt idx="474">9.0583999999999989</cx:pt>
          <cx:pt idx="475">19.547980000000003</cx:pt>
          <cx:pt idx="476">18.7636</cx:pt>
          <cx:pt idx="477">17.0718</cx:pt>
          <cx:pt idx="478">6.03059999999999</cx:pt>
          <cx:pt idx="479">37.886699999999998</cx:pt>
          <cx:pt idx="480">4.3588000000000005</cx:pt>
          <cx:pt idx="481">8.3823999999999987</cx:pt>
          <cx:pt idx="482">13.5924</cx:pt>
          <cx:pt idx="483">2.1794000000000002</cx:pt>
          <cx:pt idx="484">6.4370099999999999</cx:pt>
          <cx:pt idx="485">7.4359999999999999</cx:pt>
          <cx:pt idx="486">10.5564</cx:pt>
          <cx:pt idx="487">10.139699999999999</cx:pt>
          <cx:pt idx="488">5.7683999999999997</cx:pt>
          <cx:pt idx="489">5.5061999999999998</cx:pt>
          <cx:pt idx="490">12.319199999999899</cx:pt>
          <cx:pt idx="491">5.7946200000000196</cx:pt>
          <cx:pt idx="492">12.825000000000001</cx:pt>
          <cx:pt idx="493">1.6794199999999999</cx:pt>
          <cx:pt idx="494">17.533199999999997</cx:pt>
          <cx:pt idx="495">13.5924</cx:pt>
          <cx:pt idx="496">10.973099999999999</cx:pt>
          <cx:pt idx="497">6.03059999999999</cx:pt>
          <cx:pt idx="498">7.1655999999999995</cx:pt>
          <cx:pt idx="499">8.3823999999999987</cx:pt>
          <cx:pt idx="500">8.7880000000000003</cx:pt>
          <cx:pt idx="501">2.4358</cx:pt>
          <cx:pt idx="502">18.302199999999999</cx:pt>
          <cx:pt idx="503">15.329599999999999</cx:pt>
          <cx:pt idx="504">5.63729999999999</cx:pt>
          <cx:pt idx="505">2.8332199999999998</cx:pt>
          <cx:pt idx="506">11.894399999999999</cx:pt>
          <cx:pt idx="507">14.0406599999999</cx:pt>
          <cx:pt idx="508">11.328000000000001</cx:pt>
          <cx:pt idx="509">5.7683999999999997</cx:pt>
          <cx:pt idx="510">11.611199999999899</cx:pt>
          <cx:pt idx="511">7.4359999999999999</cx:pt>
          <cx:pt idx="512">15.182200000000002</cx:pt>
          <cx:pt idx="513">10.139699999999999</cx:pt>
          <cx:pt idx="514">15.9192</cx:pt>
          <cx:pt idx="515">11.4696</cx:pt>
          <cx:pt idx="516">13.1242499999999</cx:pt>
          <cx:pt idx="517">13.1242499999999</cx:pt>
          <cx:pt idx="518">11.611199999999899</cx:pt>
          <cx:pt idx="519">12.48912</cx:pt>
          <cx:pt idx="520">10.278600000000001</cx:pt>
          <cx:pt idx="521">14.0261999999999</cx:pt>
          <cx:pt idx="522">5.63729999999999</cx:pt>
          <cx:pt idx="523">4.6151999999999997</cx:pt>
          <cx:pt idx="524">12.602399999999999</cx:pt>
          <cx:pt idx="525">10.278600000000001</cx:pt>
          <cx:pt idx="526">5.89949999999999</cx:pt>
          <cx:pt idx="527">10.139699999999999</cx:pt>
          <cx:pt idx="528">4.9998000000000005</cx:pt>
          <cx:pt idx="529">15.182200000000002</cx:pt>
          <cx:pt idx="530">10.7091899999999</cx:pt>
          <cx:pt idx="531">9.8619000000000003</cx:pt>
          <cx:pt idx="532">10.4175</cx:pt>
          <cx:pt idx="533">17.994599999999998</cx:pt>
          <cx:pt idx="534">4.3588000000000005</cx:pt>
          <cx:pt idx="535">17.533199999999997</cx:pt>
          <cx:pt idx="536">37.080599999999905</cx:pt>
          <cx:pt idx="537">11.625360000000001</cx:pt>
          <cx:pt idx="538">11.328000000000001</cx:pt>
          <cx:pt idx="539">4.8715999999999999</cx:pt>
          <cx:pt idx="540">18.932779999999998</cx:pt>
          <cx:pt idx="541">15.786539999999999</cx:pt>
          <cx:pt idx="542">4.8715999999999999</cx:pt>
          <cx:pt idx="543">6.03059999999999</cx:pt>
          <cx:pt idx="544">14.0406599999999</cx:pt>
          <cx:pt idx="545">6.2927999999999997</cx:pt>
          <cx:pt idx="546">7.3008000000000006</cx:pt>
          <cx:pt idx="547">11.752799999999999</cx:pt>
          <cx:pt idx="548">36.838769999999997</cx:pt>
          <cx:pt idx="549">10.5564</cx:pt>
          <cx:pt idx="550">10.6952999999999</cx:pt>
          <cx:pt idx="551">18.009979999999899</cx:pt>
          <cx:pt idx="552">5.89949999999999</cx:pt>
          <cx:pt idx="553">18.6098</cx:pt>
          <cx:pt idx="554">11.625359999999899</cx:pt>
          <cx:pt idx="555">19.547980000000003</cx:pt>
          <cx:pt idx="556">15.771799999999999</cx:pt>
          <cx:pt idx="557">6.03059999999999</cx:pt>
          <cx:pt idx="558">5.63729999999999</cx:pt>
          <cx:pt idx="559">16.764200000000002</cx:pt>
          <cx:pt idx="560">7.3008000000000006</cx:pt>
          <cx:pt idx="561">13.1242499999999</cx:pt>
          <cx:pt idx="562">3.9741999999999997</cx:pt>
          <cx:pt idx="563">6.2927999999999997</cx:pt>
          <cx:pt idx="564">11.4696</cx:pt>
          <cx:pt idx="565">10.6952999999999</cx:pt>
          <cx:pt idx="566">11.611199999999899</cx:pt>
          <cx:pt idx="567">8.6527999999999992</cx:pt>
          <cx:pt idx="568">7.7063999999999995</cx:pt>
          <cx:pt idx="569">5.89949999999999</cx:pt>
          <cx:pt idx="570">36.032670000000003</cx:pt>
          <cx:pt idx="571">5.7683999999999997</cx:pt>
          <cx:pt idx="572">2.4358</cx:pt>
          <cx:pt idx="573">5.2561999999999998</cx:pt>
          <cx:pt idx="574">15.329599999999999</cx:pt>
          <cx:pt idx="575">7.8415999999999997</cx:pt>
          <cx:pt idx="576">15.182200000000002</cx:pt>
          <cx:pt idx="577">14.1708</cx:pt>
          <cx:pt idx="578">6.2927999999999997</cx:pt>
          <cx:pt idx="579">6.2927999999999997</cx:pt>
          <cx:pt idx="580">12.319199999999899</cx:pt>
          <cx:pt idx="581">16.917999999999999</cx:pt>
          <cx:pt idx="582">10.834199999999999</cx:pt>
          <cx:pt idx="583">14.75474</cx:pt>
          <cx:pt idx="584">11.328000000000001</cx:pt>
          <cx:pt idx="585">11.752799999999999</cx:pt>
          <cx:pt idx="586">36.301369999999999</cx:pt>
          <cx:pt idx="587">4.8715999999999999</cx:pt>
          <cx:pt idx="588">5.89949999999999</cx:pt>
          <cx:pt idx="589">4.2305999999999999</cx:pt>
          <cx:pt idx="590">10.4175</cx:pt>
          <cx:pt idx="591">11.4696</cx:pt>
          <cx:pt idx="592">6.03059999999999</cx:pt>
          <cx:pt idx="593">16.764200000000002</cx:pt>
          <cx:pt idx="594">35.468400000000003</cx:pt>
          <cx:pt idx="595">6.6860999999999908</cx:pt>
          <cx:pt idx="596">4.9998000000000005</cx:pt>
          <cx:pt idx="597">35.737099999999998</cx:pt>
          <cx:pt idx="598">10.973099999999999</cx:pt>
          <cx:pt idx="599">12.319199999999899</cx:pt>
          <cx:pt idx="600">4.6151999999999997</cx:pt>
          <cx:pt idx="601">5.5061999999999998</cx:pt>
          <cx:pt idx="602">10.0008</cx:pt>
          <cx:pt idx="603">8.9367199999999993</cx:pt>
          <cx:pt idx="604">10.139699999999999</cx:pt>
          <cx:pt idx="605">13.736999999999998</cx:pt>
          <cx:pt idx="606">6.2927999999999997</cx:pt>
          <cx:pt idx="607">2.5639999999999898</cx:pt>
          <cx:pt idx="608">6.6860999999999908</cx:pt>
          <cx:pt idx="609">12.825000000000001</cx:pt>
          <cx:pt idx="610">12.967500000000001</cx:pt>
          <cx:pt idx="611">5.63729999999999</cx:pt>
          <cx:pt idx="612">9.8619000000000003</cx:pt>
          <cx:pt idx="613">13.5924</cx:pt>
          <cx:pt idx="614">18.148399999999899</cx:pt>
          <cx:pt idx="615">17.702379999999902</cx:pt>
          <cx:pt idx="616">37.618000000000002</cx:pt>
          <cx:pt idx="617">7.4359999999999999</cx:pt>
          <cx:pt idx="618">6.1748099999999999</cx:pt>
          <cx:pt idx="619">8.6527999999999992</cx:pt>
          <cx:pt idx="620">52.665199999999999</cx:pt>
          <cx:pt idx="621">17.3794</cx:pt>
          <cx:pt idx="622">11.35632</cx:pt>
          <cx:pt idx="623">38.1554</cx:pt>
          <cx:pt idx="624">37.3492999999999</cx:pt>
          <cx:pt idx="625">5.7683999999999997</cx:pt>
          <cx:pt idx="626">18.009979999999899</cx:pt>
          <cx:pt idx="627">4.3588000000000005</cx:pt>
          <cx:pt idx="628">6.2927999999999997</cx:pt>
          <cx:pt idx="629">10.6952999999999</cx:pt>
          <cx:pt idx="630">6.2927999999999997</cx:pt>
          <cx:pt idx="631">7.5712000000000002</cx:pt>
          <cx:pt idx="632">6.03059999999999</cx:pt>
          <cx:pt idx="633">6.1616999999999997</cx:pt>
          <cx:pt idx="634">13.1242499999999</cx:pt>
          <cx:pt idx="635">7.4359999999999999</cx:pt>
          <cx:pt idx="636">12.319199999999899</cx:pt>
          <cx:pt idx="637">12.036</cx:pt>
          <cx:pt idx="638">17.840799999999902</cx:pt>
          <cx:pt idx="639">46.216399999999901</cx:pt>
          <cx:pt idx="640">4.3588000000000005</cx:pt>
          <cx:pt idx="641">9.7368899999999989</cx:pt>
          <cx:pt idx="642">10.6952999999999</cx:pt>
          <cx:pt idx="643">7.8415999999999997</cx:pt>
          <cx:pt idx="644">6.03059999999999</cx:pt>
          <cx:pt idx="645">13.109999999999999</cx:pt>
          <cx:pt idx="646">8.3823999999999987</cx:pt>
          <cx:pt idx="647">4.1023999999999994</cx:pt>
          <cx:pt idx="648">7.1655999999999995</cx:pt>
          <cx:pt idx="649">13.896059999999899</cx:pt>
          <cx:pt idx="650">16.764200000000002</cx:pt>
          <cx:pt idx="651">46.753799999999998</cx:pt>
          <cx:pt idx="652">6.4239000000000006</cx:pt>
          <cx:pt idx="653">8.9232000000000014</cx:pt>
          <cx:pt idx="654">18.009979999999899</cx:pt>
          <cx:pt idx="655">13.5924</cx:pt>
          <cx:pt idx="656">6.03059999999999</cx:pt>
          <cx:pt idx="657">8.9367199999999993</cx:pt>
          <cx:pt idx="658">7.5712000000000002</cx:pt>
          <cx:pt idx="659">7.5712000000000002</cx:pt>
          <cx:pt idx="660">42.723299999999995</cx:pt>
          <cx:pt idx="661">5.63729999999999</cx:pt>
          <cx:pt idx="662">4.4870000000000001</cx:pt>
          <cx:pt idx="663">9.722999999999999</cx:pt>
          <cx:pt idx="664">6.2927999999999997</cx:pt>
          <cx:pt idx="665">15.786539999999999</cx:pt>
          <cx:pt idx="666">10.139699999999999</cx:pt>
          <cx:pt idx="667">9.4451999999999998</cx:pt>
          <cx:pt idx="668">5.63729999999999</cx:pt>
          <cx:pt idx="669">4.2434199999999995</cx:pt>
          <cx:pt idx="670">10.834199999999999</cx:pt>
          <cx:pt idx="671">6.5549999999999997</cx:pt>
          <cx:pt idx="672">6.1616999999999997</cx:pt>
          <cx:pt idx="673">11.4696</cx:pt>
          <cx:pt idx="674">8.2472000000000012</cx:pt>
          <cx:pt idx="675">3.5895999999999999</cx:pt>
          <cx:pt idx="676">18.625179999999901</cx:pt>
          <cx:pt idx="677">11.894399999999999</cx:pt>
          <cx:pt idx="678">12.967500000000001</cx:pt>
          <cx:pt idx="679">10.6952999999999</cx:pt>
          <cx:pt idx="680">6.03059999999999</cx:pt>
          <cx:pt idx="681">36.005800000000001</cx:pt>
          <cx:pt idx="682">10.5564</cx:pt>
          <cx:pt idx="683">11.4696</cx:pt>
          <cx:pt idx="684">7.5712000000000002</cx:pt>
          <cx:pt idx="685">10.4175</cx:pt>
          <cx:pt idx="686">10.139699999999999</cx:pt>
          <cx:pt idx="687">10.4175</cx:pt>
          <cx:pt idx="688">9.8619000000000003</cx:pt>
          <cx:pt idx="689">7.3008000000000006</cx:pt>
          <cx:pt idx="690">62.875799999999707</cx:pt>
          <cx:pt idx="691">19.225000000000001</cx:pt>
          <cx:pt idx="692">36.274499999999996</cx:pt>
          <cx:pt idx="693">13.109999999999999</cx:pt>
          <cx:pt idx="694">10.4175</cx:pt>
          <cx:pt idx="695">10.0008</cx:pt>
          <cx:pt idx="696">10.0008</cx:pt>
          <cx:pt idx="697">4.4870000000000001</cx:pt>
          <cx:pt idx="698">17.3794</cx:pt>
          <cx:pt idx="699">5.7683999999999997</cx:pt>
          <cx:pt idx="700">17.533199999999997</cx:pt>
          <cx:pt idx="701">10.139699999999999</cx:pt>
          <cx:pt idx="702">12.839249999999899</cx:pt>
          <cx:pt idx="703">10.0008</cx:pt>
          <cx:pt idx="704">6.5549999999999997</cx:pt>
          <cx:pt idx="705">16.917999999999999</cx:pt>
          <cx:pt idx="706">10.278600000000001</cx:pt>
          <cx:pt idx="707">13.751459999999899</cx:pt>
          <cx:pt idx="708">15.034799999999901</cx:pt>
          <cx:pt idx="709">12.177599999999899</cx:pt>
          <cx:pt idx="710">3.9741999999999997</cx:pt>
          <cx:pt idx="711">5.63729999999999</cx:pt>
          <cx:pt idx="712">11.752799999999999</cx:pt>
          <cx:pt idx="713">42.750169999999898</cx:pt>
          <cx:pt idx="714">7.5712000000000002</cx:pt>
          <cx:pt idx="715">15.491739999999901</cx:pt>
          <cx:pt idx="716">10.278600000000001</cx:pt>
          <cx:pt idx="717">11.611199999999899</cx:pt>
          <cx:pt idx="718">7.4359999999999999</cx:pt>
          <cx:pt idx="719">5.89949999999999</cx:pt>
          <cx:pt idx="720">15.639140000000001</cx:pt>
          <cx:pt idx="721">4.3588000000000005</cx:pt>
          <cx:pt idx="722">16.625780000000002</cx:pt>
          <cx:pt idx="723">10.848089999999901</cx:pt>
          <cx:pt idx="724">4.6408400000000194</cx:pt>
          <cx:pt idx="725">44.899769999999997</cx:pt>
          <cx:pt idx="726">5.89949999999999</cx:pt>
          <cx:pt idx="727">6.2927999999999997</cx:pt>
          <cx:pt idx="728">5.2561999999999998</cx:pt>
          <cx:pt idx="729">10.5564</cx:pt>
          <cx:pt idx="730">15.786539999999999</cx:pt>
          <cx:pt idx="731">8.2472000000000012</cx:pt>
          <cx:pt idx="732">16.93338</cx:pt>
          <cx:pt idx="733">45.4102999999999</cx:pt>
          <cx:pt idx="734">8.5175999999999998</cx:pt>
          <cx:pt idx="735">6.2927999999999997</cx:pt>
          <cx:pt idx="736">4.7433999999999994</cx:pt>
          <cx:pt idx="737">36.301369999999999</cx:pt>
          <cx:pt idx="738">9.0583999999999989</cx:pt>
          <cx:pt idx="739">13.447799999999999</cx:pt>
          <cx:pt idx="740">13.1242499999999</cx:pt>
          <cx:pt idx="741">3.5895999999999999</cx:pt>
          <cx:pt idx="742">12.177599999999899</cx:pt>
          <cx:pt idx="743">11.752799999999999</cx:pt>
          <cx:pt idx="744">18.625179999999901</cx:pt>
          <cx:pt idx="745">7.9767999999999892</cx:pt>
          <cx:pt idx="746">8.5175999999999998</cx:pt>
          <cx:pt idx="747">11.328000000000001</cx:pt>
          <cx:pt idx="748">13.736999999999998</cx:pt>
          <cx:pt idx="749">59.113999999999699</cx:pt>
          <cx:pt idx="750">10.5564</cx:pt>
          <cx:pt idx="751">8.1120000000000001</cx:pt>
          <cx:pt idx="752">5.5061999999999998</cx:pt>
          <cx:pt idx="753">19.532599999999999</cx:pt>
          <cx:pt idx="754">6.1616999999999997</cx:pt>
          <cx:pt idx="755">8.9367199999999993</cx:pt>
          <cx:pt idx="756">14.75474</cx:pt>
          <cx:pt idx="757">8.6527999999999992</cx:pt>
          <cx:pt idx="758">18.917400000000001</cx:pt>
          <cx:pt idx="759">2.1922199999999998</cx:pt>
          <cx:pt idx="760">6.5549999999999997</cx:pt>
          <cx:pt idx="761">8.6527999999999992</cx:pt>
          <cx:pt idx="762">11.894399999999999</cx:pt>
          <cx:pt idx="763">6.03059999999999</cx:pt>
          <cx:pt idx="764">10.973099999999999</cx:pt>
          <cx:pt idx="765">4.4870000000000001</cx:pt>
          <cx:pt idx="766">3.4613999999999998</cx:pt>
          <cx:pt idx="767">8.1120000000000001</cx:pt>
          <cx:pt idx="768">5.2561999999999998</cx:pt>
          <cx:pt idx="769">4.4870000000000001</cx:pt>
          <cx:pt idx="770">6.8171999999999997</cx:pt>
          <cx:pt idx="771">6.5549999999999997</cx:pt>
          <cx:pt idx="772">13.736999999999998</cx:pt>
          <cx:pt idx="773">8.5175999999999998</cx:pt>
          <cx:pt idx="774">9.8619000000000003</cx:pt>
          <cx:pt idx="775">10.4175</cx:pt>
          <cx:pt idx="776">13.736999999999899</cx:pt>
          <cx:pt idx="777">11.752799999999999</cx:pt>
          <cx:pt idx="778">13.1242499999999</cx:pt>
          <cx:pt idx="779">15.182200000000002</cx:pt>
          <cx:pt idx="780">6.2927999999999997</cx:pt>
          <cx:pt idx="781">10.973099999999999</cx:pt>
          <cx:pt idx="782">17.840799999999902</cx:pt>
          <cx:pt idx="783">6.1616999999999997</cx:pt>
          <cx:pt idx="784">45.678999999999697</cx:pt>
          <cx:pt idx="785">10.139699999999999</cx:pt>
          <cx:pt idx="786">5.7683999999999997</cx:pt>
          <cx:pt idx="787">6.8171999999999997</cx:pt>
          <cx:pt idx="788">17.533199999999997</cx:pt>
          <cx:pt idx="789">10.0008</cx:pt>
          <cx:pt idx="790">5.2561999999999998</cx:pt>
          <cx:pt idx="791">8.5175999999999998</cx:pt>
          <cx:pt idx="792">10.153589999999999</cx:pt>
          <cx:pt idx="793">4.4870000000000001</cx:pt>
          <cx:pt idx="794">4.1023999999999994</cx:pt>
          <cx:pt idx="795">3.9741999999999997</cx:pt>
          <cx:pt idx="796">6.2927999999999997</cx:pt>
          <cx:pt idx="797">10.834199999999999</cx:pt>
          <cx:pt idx="798">10.4175</cx:pt>
          <cx:pt idx="799">19.547980000000003</cx:pt>
          <cx:pt idx="800">8.1120000000000001</cx:pt>
          <cx:pt idx="801">15.491739999999901</cx:pt>
          <cx:pt idx="802">15.786539999999999</cx:pt>
          <cx:pt idx="803">11.4696</cx:pt>
          <cx:pt idx="804">10.973099999999999</cx:pt>
          <cx:pt idx="805">10.278600000000001</cx:pt>
          <cx:pt idx="806">10.5564</cx:pt>
          <cx:pt idx="807">7.8415999999999997</cx:pt>
          <cx:pt idx="808">41.917200000000001</cx:pt>
          <cx:pt idx="809">10.278600000000001</cx:pt>
          <cx:pt idx="810">5.5061999999999998</cx:pt>
          <cx:pt idx="811">13.109999999999999</cx:pt>
          <cx:pt idx="812">9.5840999999999994</cx:pt>
          <cx:pt idx="813">35.1997</cx:pt>
          <cx:pt idx="814">11.752799999999999</cx:pt>
          <cx:pt idx="815">10.5564</cx:pt>
          <cx:pt idx="816">7.9767999999999892</cx:pt>
          <cx:pt idx="817">15.476999999999999</cx:pt>
          <cx:pt idx="818">10.4175</cx:pt>
          <cx:pt idx="819">5.89949999999999</cx:pt>
          <cx:pt idx="820">5.7683999999999997</cx:pt>
          <cx:pt idx="821">15.182200000000002</cx:pt>
          <cx:pt idx="822">17.3794</cx:pt>
          <cx:pt idx="823">11.328000000000001</cx:pt>
          <cx:pt idx="824">10.278600000000001</cx:pt>
          <cx:pt idx="825">36.838769999999997</cx:pt>
          <cx:pt idx="826">7.1655999999999995</cx:pt>
          <cx:pt idx="827">13.881599999999899</cx:pt>
          <cx:pt idx="828">11.4696</cx:pt>
          <cx:pt idx="829">4.3588000000000005</cx:pt>
          <cx:pt idx="830">48.097299999999699</cx:pt>
          <cx:pt idx="831">10.973099999999999</cx:pt>
          <cx:pt idx="832">12.967500000000001</cx:pt>
          <cx:pt idx="833">3.2178199999999997</cx:pt>
          <cx:pt idx="834">7.7199199999999992</cx:pt>
          <cx:pt idx="835">11.328000000000001</cx:pt>
          <cx:pt idx="836">5.2818400000000203</cx:pt>
          <cx:pt idx="837">9.4451999999999998</cx:pt>
          <cx:pt idx="838">15.771799999999999</cx:pt>
          <cx:pt idx="839">5.7683999999999997</cx:pt>
          <cx:pt idx="840">7.5712000000000002</cx:pt>
          <cx:pt idx="841">12.825000000000001</cx:pt>
          <cx:pt idx="842">11.611199999999899</cx:pt>
          <cx:pt idx="843">11.4696</cx:pt>
          <cx:pt idx="844">12.839249999999899</cx:pt>
          <cx:pt idx="845">13.1242499999999</cx:pt>
          <cx:pt idx="846">18.6098</cx:pt>
          <cx:pt idx="847">6.4239000000000006</cx:pt>
          <cx:pt idx="848">10.5564</cx:pt>
          <cx:pt idx="849">5.2561999999999998</cx:pt>
          <cx:pt idx="850">4.3588000000000005</cx:pt>
          <cx:pt idx="851">3.9741999999999997</cx:pt>
          <cx:pt idx="852">6.03059999999999</cx:pt>
          <cx:pt idx="853">9.8619000000000003</cx:pt>
          <cx:pt idx="854">4.6151999999999997</cx:pt>
          <cx:pt idx="855">6.2927999999999997</cx:pt>
          <cx:pt idx="856">8.7880000000000003</cx:pt>
          <cx:pt idx="857">6.1616999999999997</cx:pt>
          <cx:pt idx="858">9.8619000000000003</cx:pt>
          <cx:pt idx="859">10.278600000000001</cx:pt>
          <cx:pt idx="860">10.278600000000001</cx:pt>
          <cx:pt idx="861">12.036</cx:pt>
          <cx:pt idx="862">5.89949999999999</cx:pt>
          <cx:pt idx="863">10.139699999999999</cx:pt>
          <cx:pt idx="864">6.1616999999999997</cx:pt>
          <cx:pt idx="865">13.5924</cx:pt>
          <cx:pt idx="866">10.973099999999999</cx:pt>
          <cx:pt idx="867">8.1120000000000001</cx:pt>
          <cx:pt idx="868">10.6952999999999</cx:pt>
          <cx:pt idx="869">38.424100000000003</cx:pt>
          <cx:pt idx="870">17.3794</cx:pt>
          <cx:pt idx="871">3.7306199999999996</cx:pt>
          <cx:pt idx="872">47.855469999999997</cx:pt>
          <cx:pt idx="873">6.2927999999999997</cx:pt>
          <cx:pt idx="874">5.89949999999999</cx:pt>
          <cx:pt idx="875">17.3794</cx:pt>
          <cx:pt idx="876">13.751459999999899</cx:pt>
          <cx:pt idx="877">15.9192</cx:pt>
          <cx:pt idx="878">10.4175</cx:pt>
          <cx:pt idx="879">9.5979900000000011</cx:pt>
          <cx:pt idx="880">4.8844199999999995</cx:pt>
          <cx:pt idx="881">7.5712000000000002</cx:pt>
          <cx:pt idx="882">9.5840999999999994</cx:pt>
          <cx:pt idx="883">4.2305999999999999</cx:pt>
          <cx:pt idx="884">6.6860999999999908</cx:pt>
          <cx:pt idx="885">15.344340000000001</cx:pt>
          <cx:pt idx="886">8.6527999999999992</cx:pt>
          <cx:pt idx="887">42.992000000000004</cx:pt>
          <cx:pt idx="888">12.839249999999899</cx:pt>
          <cx:pt idx="889">6.03059999999999</cx:pt>
          <cx:pt idx="890">6.2927999999999997</cx:pt>
          <cx:pt idx="891">5.7683999999999997</cx:pt>
          <cx:pt idx="892">4.7433999999999994</cx:pt>
          <cx:pt idx="893">10.5564</cx:pt>
          <cx:pt idx="894">9.5840999999999994</cx:pt>
          <cx:pt idx="895">4.3588000000000005</cx:pt>
          <cx:pt idx="896">11.4696</cx:pt>
          <cx:pt idx="897">5.5061999999999998</cx:pt>
          <cx:pt idx="898">15.034799999999901</cx:pt>
          <cx:pt idx="899">10.4175</cx:pt>
          <cx:pt idx="900">6.2927999999999997</cx:pt>
          <cx:pt idx="901">9.4451999999999998</cx:pt>
          <cx:pt idx="902">4.6151999999999997</cx:pt>
          <cx:pt idx="903">5.7683999999999997</cx:pt>
          <cx:pt idx="904">11.752799999999999</cx:pt>
          <cx:pt idx="905">9.722999999999999</cx:pt>
          <cx:pt idx="906">6.4239000000000006</cx:pt>
          <cx:pt idx="907">8.3823999999999987</cx:pt>
          <cx:pt idx="908">6.1616999999999997</cx:pt>
          <cx:pt idx="909">47.855469999999997</cx:pt>
          <cx:pt idx="910">8.6527999999999992</cx:pt>
          <cx:pt idx="911">12.839249999999899</cx:pt>
          <cx:pt idx="912">4.6151999999999997</cx:pt>
          <cx:pt idx="913">39.230199999999897</cx:pt>
          <cx:pt idx="914">6.03059999999999</cx:pt>
          <cx:pt idx="915">9.0583999999999989</cx:pt>
          <cx:pt idx="916">16.917999999999999</cx:pt>
          <cx:pt idx="917">6.8171999999999997</cx:pt>
          <cx:pt idx="918">13.1242499999999</cx:pt>
          <cx:pt idx="919">4.6151999999999997</cx:pt>
          <cx:pt idx="920">16.764200000000002</cx:pt>
          <cx:pt idx="921">11.328000000000001</cx:pt>
          <cx:pt idx="922">6.1748099999999999</cx:pt>
          <cx:pt idx="923">10.5564</cx:pt>
          <cx:pt idx="924">8.2472000000000012</cx:pt>
          <cx:pt idx="925">44.899769999999997</cx:pt>
          <cx:pt idx="926">11.781120000000001</cx:pt>
          <cx:pt idx="927">4.2305999999999999</cx:pt>
          <cx:pt idx="928">9.3340800000000197</cx:pt>
          <cx:pt idx="929">10.278600000000001</cx:pt>
          <cx:pt idx="930">6.0568200000000196</cx:pt>
          <cx:pt idx="931">12.602399999999999</cx:pt>
          <cx:pt idx="932">12.825000000000001</cx:pt>
          <cx:pt idx="933">4.4870000000000001</cx:pt>
          <cx:pt idx="934">10.5564</cx:pt>
          <cx:pt idx="935">10.973099999999999</cx:pt>
          <cx:pt idx="936">11.752799999999999</cx:pt>
          <cx:pt idx="937">12.036</cx:pt>
          <cx:pt idx="938">10.4175</cx:pt>
          <cx:pt idx="939">13.1242499999999</cx:pt>
          <cx:pt idx="940">2.6922000000000001</cx:pt>
          <cx:pt idx="941">6.2927999999999997</cx:pt>
          <cx:pt idx="942">12.036</cx:pt>
          <cx:pt idx="943">11.4696</cx:pt>
          <cx:pt idx="944">17.687000000000001</cx:pt>
          <cx:pt idx="945">12.9817499999999</cx:pt>
          <cx:pt idx="946">18.3175799999999</cx:pt>
          <cx:pt idx="947">11.752799999999999</cx:pt>
          <cx:pt idx="948">13.447799999999999</cx:pt>
          <cx:pt idx="949">15.9192</cx:pt>
          <cx:pt idx="950">6.5549999999999997</cx:pt>
          <cx:pt idx="951">10.5564</cx:pt>
          <cx:pt idx="952">7.4495199999999997</cx:pt>
          <cx:pt idx="953">8.3823999999999987</cx:pt>
          <cx:pt idx="954">12.036</cx:pt>
          <cx:pt idx="955">4.1152199999999999</cx:pt>
          <cx:pt idx="956">18.3175799999999</cx:pt>
          <cx:pt idx="957">17.702379999999902</cx:pt>
          <cx:pt idx="958">6.5549999999999997</cx:pt>
          <cx:pt idx="959">10.278600000000001</cx:pt>
          <cx:pt idx="960">14.607339999999899</cx:pt>
          <cx:pt idx="961">6.4239000000000006</cx:pt>
          <cx:pt idx="962">17.533199999999997</cx:pt>
          <cx:pt idx="963">17.687000000000001</cx:pt>
          <cx:pt idx="964">10.0008</cx:pt>
          <cx:pt idx="965">10.0008</cx:pt>
          <cx:pt idx="966">16.917999999999999</cx:pt>
          <cx:pt idx="967">4.6151999999999997</cx:pt>
          <cx:pt idx="968">12.177599999999899</cx:pt>
          <cx:pt idx="969">12.19176</cx:pt>
          <cx:pt idx="970">4.4870000000000001</cx:pt>
          <cx:pt idx="971">6.6860999999999908</cx:pt>
          <cx:pt idx="972">8.1120000000000001</cx:pt>
          <cx:pt idx="973">36.811899999999895</cx:pt>
          <cx:pt idx="974">3.8588200000000001</cx:pt>
          <cx:pt idx="975">5.89949999999999</cx:pt>
          <cx:pt idx="976">9.5840999999999994</cx:pt>
          <cx:pt idx="977">14.1708</cx:pt>
          <cx:pt idx="978">5.63729999999999</cx:pt>
          <cx:pt idx="979">12.602399999999999</cx:pt>
          <cx:pt idx="980">40.573700000000002</cx:pt>
          <cx:pt idx="981">13.1242499999999</cx:pt>
          <cx:pt idx="982">35.468400000000003</cx:pt>
          <cx:pt idx="983">13.751459999999998</cx:pt>
          <cx:pt idx="984">7.5712000000000002</cx:pt>
          <cx:pt idx="985">5.5061999999999998</cx:pt>
          <cx:pt idx="986">17.2256</cx:pt>
          <cx:pt idx="987">18.3175799999999</cx:pt>
          <cx:pt idx="988">9.5840999999999994</cx:pt>
          <cx:pt idx="989">8.9232000000000014</cx:pt>
          <cx:pt idx="990">7.1655999999999995</cx:pt>
          <cx:pt idx="991">44.899769999999997</cx:pt>
          <cx:pt idx="992">5.89949999999999</cx:pt>
          <cx:pt idx="993">6.4239000000000006</cx:pt>
          <cx:pt idx="994">5.89949999999999</cx:pt>
          <cx:pt idx="995">10.973099999999999</cx:pt>
          <cx:pt idx="996">11.328000000000001</cx:pt>
          <cx:pt idx="997">8.1120000000000001</cx:pt>
          <cx:pt idx="998">10.7091899999999</cx:pt>
          <cx:pt idx="999">11.4696</cx:pt>
          <cx:pt idx="1000">10.278600000000001</cx:pt>
          <cx:pt idx="1001">19.378799999999998</cx:pt>
          <cx:pt idx="1002">5.7683999999999997</cx:pt>
          <cx:pt idx="1003">17.687000000000001</cx:pt>
          <cx:pt idx="1004">15.786539999999999</cx:pt>
          <cx:pt idx="1005">12.036</cx:pt>
          <cx:pt idx="1006">12.177599999999899</cx:pt>
          <cx:pt idx="1007">9.4451999999999998</cx:pt>
          <cx:pt idx="1008">11.4696</cx:pt>
          <cx:pt idx="1009">7.7063999999999995</cx:pt>
          <cx:pt idx="1010">5.7683999999999997</cx:pt>
          <cx:pt idx="1011">12.967500000000001</cx:pt>
          <cx:pt idx="1012">10.834199999999999</cx:pt>
          <cx:pt idx="1013">14.75474</cx:pt>
          <cx:pt idx="1014">4.3588000000000005</cx:pt>
          <cx:pt idx="1015">8.5175999999999998</cx:pt>
          <cx:pt idx="1016">15.786539999999999</cx:pt>
          <cx:pt idx="1017">40.06317</cx:pt>
          <cx:pt idx="1018">5.5061999999999998</cx:pt>
          <cx:pt idx="1019">5.63729999999999</cx:pt>
          <cx:pt idx="1020">7.4495199999999997</cx:pt>
          <cx:pt idx="1021">7.5712000000000002</cx:pt>
          <cx:pt idx="1022">17.2256</cx:pt>
          <cx:pt idx="1023">5.7683999999999997</cx:pt>
          <cx:pt idx="1024">11.611199999999899</cx:pt>
          <cx:pt idx="1025">19.071199999999997</cx:pt>
          <cx:pt idx="1026">10.5564</cx:pt>
          <cx:pt idx="1027">17.533199999999997</cx:pt>
          <cx:pt idx="1028">19.071199999999997</cx:pt>
          <cx:pt idx="1029">10.834199999999999</cx:pt>
          <cx:pt idx="1030">17.2256</cx:pt>
          <cx:pt idx="1031">17.840799999999902</cx:pt>
          <cx:pt idx="1032">5.5061999999999998</cx:pt>
          <cx:pt idx="1033">6.03059999999999</cx:pt>
          <cx:pt idx="1034">12.319199999999899</cx:pt>
          <cx:pt idx="1035">12.319199999999899</cx:pt>
          <cx:pt idx="1036">10.0008</cx:pt>
          <cx:pt idx="1037">4.1023999999999994</cx:pt>
          <cx:pt idx="1038">6.03059999999999</cx:pt>
          <cx:pt idx="1039">37.107469999999999</cx:pt>
          <cx:pt idx="1040">10.834199999999999</cx:pt>
          <cx:pt idx="1041">59.920099999999699</cx:pt>
          <cx:pt idx="1042">15.491739999999901</cx:pt>
          <cx:pt idx="1043">7.4359999999999999</cx:pt>
          <cx:pt idx="1044">13.5924</cx:pt>
          <cx:pt idx="1045">11.328000000000001</cx:pt>
          <cx:pt idx="1046">9.5840999999999994</cx:pt>
          <cx:pt idx="1047">5.5061999999999998</cx:pt>
          <cx:pt idx="1048">10.139699999999999</cx:pt>
          <cx:pt idx="1049">11.611199999999899</cx:pt>
          <cx:pt idx="1050">13.1242499999999</cx:pt>
          <cx:pt idx="1051">15.9192</cx:pt>
          <cx:pt idx="1052">11.34216</cx:pt>
          <cx:pt idx="1053">10.5564</cx:pt>
          <cx:pt idx="1054">6.4239000000000006</cx:pt>
          <cx:pt idx="1055">5.63729999999999</cx:pt>
          <cx:pt idx="1056">14.916879999999999</cx:pt>
          <cx:pt idx="1057">10.834199999999999</cx:pt>
          <cx:pt idx="1058">11.894399999999999</cx:pt>
          <cx:pt idx="1059">3.7178000000000004</cx:pt>
          <cx:pt idx="1060">4.8715999999999999</cx:pt>
          <cx:pt idx="1061">17.0718</cx:pt>
          <cx:pt idx="1062">15.771799999999999</cx:pt>
          <cx:pt idx="1063">6.5549999999999997</cx:pt>
          <cx:pt idx="1064">7.3008000000000006</cx:pt>
          <cx:pt idx="1065">11.328000000000001</cx:pt>
          <cx:pt idx="1066">8.9232000000000014</cx:pt>
          <cx:pt idx="1067">5.63729999999999</cx:pt>
          <cx:pt idx="1068">3.9741999999999997</cx:pt>
          <cx:pt idx="1069">6.6860999999999908</cx:pt>
          <cx:pt idx="1070">12.036</cx:pt>
          <cx:pt idx="1071">7.3008000000000006</cx:pt>
          <cx:pt idx="1072">10.278600000000001</cx:pt>
          <cx:pt idx="1073">37.886699999999998</cx:pt>
          <cx:pt idx="1074">17.994599999999998</cx:pt>
          <cx:pt idx="1075">5.5061999999999998</cx:pt>
          <cx:pt idx="1076">11.752799999999999</cx:pt>
          <cx:pt idx="1077">18.456</cx:pt>
          <cx:pt idx="1078">10.5564</cx:pt>
          <cx:pt idx="1079">10.973099999999999</cx:pt>
          <cx:pt idx="1080">5.7683999999999997</cx:pt>
          <cx:pt idx="1081">10.5564</cx:pt>
          <cx:pt idx="1082">10.139699999999999</cx:pt>
          <cx:pt idx="1083">10.6952999999999</cx:pt>
          <cx:pt idx="1084">18.302199999999999</cx:pt>
          <cx:pt idx="1085">4.7433999999999994</cx:pt>
          <cx:pt idx="1086">13.1242499999999</cx:pt>
          <cx:pt idx="1087">5.89949999999999</cx:pt>
          <cx:pt idx="1088">10.973099999999999</cx:pt>
          <cx:pt idx="1089">8.1120000000000001</cx:pt>
          <cx:pt idx="1090">8.2472000000000012</cx:pt>
          <cx:pt idx="1091">6.4239000000000006</cx:pt>
          <cx:pt idx="1092">2.3075999999999999</cx:pt>
          <cx:pt idx="1093">13.1242499999999</cx:pt>
          <cx:pt idx="1094">9.0583999999999989</cx:pt>
          <cx:pt idx="1095">12.036</cx:pt>
          <cx:pt idx="1096">11.611199999999899</cx:pt>
          <cx:pt idx="1097">18.917400000000001</cx:pt>
          <cx:pt idx="1098">5.63729999999999</cx:pt>
          <cx:pt idx="1099">12.319199999999899</cx:pt>
          <cx:pt idx="1100">13.592399999999898</cx:pt>
          <cx:pt idx="1101">11.4696</cx:pt>
          <cx:pt idx="1102">5.5061999999999998</cx:pt>
          <cx:pt idx="1103">17.687000000000001</cx:pt>
          <cx:pt idx="1104">6.2927999999999997</cx:pt>
          <cx:pt idx="1105">15.786539999999999</cx:pt>
          <cx:pt idx="1106">16.917999999999999</cx:pt>
          <cx:pt idx="1107">15.786539999999999</cx:pt>
          <cx:pt idx="1108">8.6663199999999989</cx:pt>
          <cx:pt idx="1109">4.4870000000000001</cx:pt>
          <cx:pt idx="1110">17.533199999999997</cx:pt>
          <cx:pt idx="1111">14.3154</cx:pt>
          <cx:pt idx="1112">38.424100000000003</cx:pt>
          <cx:pt idx="1113">7.9767999999999892</cx:pt>
          <cx:pt idx="1114">13.1242499999999</cx:pt>
          <cx:pt idx="1115">6.03059999999999</cx:pt>
          <cx:pt idx="1116">18.778979999999901</cx:pt>
          <cx:pt idx="1117">10.0008</cx:pt>
          <cx:pt idx="1118">10.6952999999999</cx:pt>
          <cx:pt idx="1119">13.109999999999999</cx:pt>
          <cx:pt idx="1120">11.4696</cx:pt>
          <cx:pt idx="1121">10.01469</cx:pt>
          <cx:pt idx="1122">7.5712000000000002</cx:pt>
          <cx:pt idx="1123">5.63729999999999</cx:pt>
          <cx:pt idx="1124">10.139699999999999</cx:pt>
          <cx:pt idx="1125">4.8844199999999995</cx:pt>
          <cx:pt idx="1126">14.74</cx:pt>
          <cx:pt idx="1127">11.752799999999999</cx:pt>
          <cx:pt idx="1128">6.5549999999999997</cx:pt>
          <cx:pt idx="1129">5.89949999999999</cx:pt>
          <cx:pt idx="1130">10.834199999999999</cx:pt>
          <cx:pt idx="1131">50.246899999999904</cx:pt>
          <cx:pt idx="1132">17.24098</cx:pt>
          <cx:pt idx="1133">4.3588000000000005</cx:pt>
          <cx:pt idx="1134">12.825000000000001</cx:pt>
          <cx:pt idx="1135">6.5549999999999997</cx:pt>
          <cx:pt idx="1136">11.4696</cx:pt>
          <cx:pt idx="1137">9.3201899999999895</cx:pt>
          <cx:pt idx="1138">17.840799999999902</cx:pt>
          <cx:pt idx="1139">10.834199999999999</cx:pt>
          <cx:pt idx="1140">11.328000000000001</cx:pt>
          <cx:pt idx="1141">14.74</cx:pt>
          <cx:pt idx="1142">10.973099999999999</cx:pt>
          <cx:pt idx="1143">6.6860999999999908</cx:pt>
          <cx:pt idx="1144">17.0718</cx:pt>
          <cx:pt idx="1145">15.476999999999999</cx:pt>
          <cx:pt idx="1146">10.4175</cx:pt>
          <cx:pt idx="1147">6.1616999999999997</cx:pt>
          <cx:pt idx="1148">4.3588000000000005</cx:pt>
          <cx:pt idx="1149">16.917999999999999</cx:pt>
          <cx:pt idx="1150">7.7063999999999995</cx:pt>
          <cx:pt idx="1151">7.5712000000000002</cx:pt>
          <cx:pt idx="1152">3.7434400000000201</cx:pt>
          <cx:pt idx="1153">6.8171999999999997</cx:pt>
          <cx:pt idx="1154">13.5924</cx:pt>
          <cx:pt idx="1155">9.7368899999999989</cx:pt>
          <cx:pt idx="1156">3.4742199999999896</cx:pt>
          <cx:pt idx="1157">15.6244</cx:pt>
          <cx:pt idx="1158">18.6098</cx:pt>
          <cx:pt idx="1159">6.8171999999999997</cx:pt>
          <cx:pt idx="1160">41.648499999999999</cx:pt>
          <cx:pt idx="1161">10.278600000000001</cx:pt>
          <cx:pt idx="1162">4.6151999999999997</cx:pt>
          <cx:pt idx="1163">4.8715999999999999</cx:pt>
          <cx:pt idx="1164">15.491739999999901</cx:pt>
          <cx:pt idx="1165">11.752799999999999</cx:pt>
          <cx:pt idx="1166">6.5549999999999997</cx:pt>
          <cx:pt idx="1167">7.9767999999999892</cx:pt>
          <cx:pt idx="1168">8.2472000000000012</cx:pt>
          <cx:pt idx="1169">3.7178000000000004</cx:pt>
          <cx:pt idx="1170">10.5564</cx:pt>
          <cx:pt idx="1171">6.1616999999999997</cx:pt>
          <cx:pt idx="1172">10.973099999999999</cx:pt>
          <cx:pt idx="1173">15.771799999999999</cx:pt>
          <cx:pt idx="1174">7.9767999999999892</cx:pt>
          <cx:pt idx="1175">13.896059999999999</cx:pt>
          <cx:pt idx="1176">4.6151999999999997</cx:pt>
          <cx:pt idx="1177">11.894399999999999</cx:pt>
          <cx:pt idx="1178">11.4696</cx:pt>
          <cx:pt idx="1179">48.366</cx:pt>
          <cx:pt idx="1180">8.9232000000000014</cx:pt>
          <cx:pt idx="1181">7.3008000000000006</cx:pt>
          <cx:pt idx="1182">9.0583999999999989</cx:pt>
          <cx:pt idx="1183">16.764200000000002</cx:pt>
          <cx:pt idx="1184">5.63729999999999</cx:pt>
          <cx:pt idx="1185">40.573700000000002</cx:pt>
          <cx:pt idx="1186">5.63729999999999</cx:pt>
          <cx:pt idx="1187">7.1655999999999995</cx:pt>
          <cx:pt idx="1188">11.328000000000001</cx:pt>
          <cx:pt idx="1189">11.611199999999899</cx:pt>
          <cx:pt idx="1190">12.602399999999999</cx:pt>
          <cx:pt idx="1191">5.63729999999999</cx:pt>
          <cx:pt idx="1192">6.8171999999999997</cx:pt>
          <cx:pt idx="1193">46.216399999999901</cx:pt>
          <cx:pt idx="1194">9.8619000000000003</cx:pt>
          <cx:pt idx="1195">5.63729999999999</cx:pt>
          <cx:pt idx="1196">5.63729999999999</cx:pt>
          <cx:pt idx="1197">12.177599999999899</cx:pt>
          <cx:pt idx="1198">15.034799999999901</cx:pt>
          <cx:pt idx="1199">5.5061999999999998</cx:pt>
          <cx:pt idx="1200">15.786539999999999</cx:pt>
          <cx:pt idx="1201">12.825000000000001</cx:pt>
          <cx:pt idx="1202">3.3332000000000002</cx:pt>
          <cx:pt idx="1203">4.8715999999999999</cx:pt>
          <cx:pt idx="1204">12.036</cx:pt>
          <cx:pt idx="1205">10.5564</cx:pt>
          <cx:pt idx="1206">3.0768</cx:pt>
          <cx:pt idx="1207">7.5982400000000201</cx:pt>
          <cx:pt idx="1208">10.5564</cx:pt>
          <cx:pt idx="1209">16.779579999999999</cx:pt>
          <cx:pt idx="1210">6.4239000000000006</cx:pt>
          <cx:pt idx="1211">13.1242499999999</cx:pt>
          <cx:pt idx="1212">14.1708</cx:pt>
          <cx:pt idx="1213">5.63729999999999</cx:pt>
          <cx:pt idx="1214">10.5564</cx:pt>
          <cx:pt idx="1215">11.894399999999999</cx:pt>
          <cx:pt idx="1216">14.3154</cx:pt>
          <cx:pt idx="1217">10.6952999999999</cx:pt>
          <cx:pt idx="1218">13.896059999999899</cx:pt>
          <cx:pt idx="1219">4.3588000000000005</cx:pt>
          <cx:pt idx="1220">10.278600000000001</cx:pt>
          <cx:pt idx="1221">4.7690400000000199</cx:pt>
          <cx:pt idx="1222">12.616559999999899</cx:pt>
          <cx:pt idx="1223">5.89949999999999</cx:pt>
          <cx:pt idx="1224">11.328000000000001</cx:pt>
          <cx:pt idx="1225">8.1120000000000001</cx:pt>
          <cx:pt idx="1226">8.6663199999999989</cx:pt>
          <cx:pt idx="1227">10.01469</cx:pt>
          <cx:pt idx="1228">12.177599999999899</cx:pt>
          <cx:pt idx="1229">10.278600000000001</cx:pt>
          <cx:pt idx="1230">5.7683999999999997</cx:pt>
          <cx:pt idx="1231">4.3588000000000005</cx:pt>
          <cx:pt idx="1232">10.139699999999999</cx:pt>
          <cx:pt idx="1233">17.3794</cx:pt>
          <cx:pt idx="1234">10.5564</cx:pt>
          <cx:pt idx="1235">8.1120000000000001</cx:pt>
          <cx:pt idx="1236">3.5895999999999999</cx:pt>
          <cx:pt idx="1237">10.973099999999999</cx:pt>
          <cx:pt idx="1238">10.973099999999999</cx:pt>
          <cx:pt idx="1239">15.786539999999999</cx:pt>
          <cx:pt idx="1240">12.602399999999999</cx:pt>
          <cx:pt idx="1241">3.4613999999999998</cx:pt>
          <cx:pt idx="1242">10.973099999999999</cx:pt>
          <cx:pt idx="1243">16.625780000000002</cx:pt>
          <cx:pt idx="1244">15.9192</cx:pt>
          <cx:pt idx="1245">6.0437099999999999</cx:pt>
          <cx:pt idx="1246">36.838769999999997</cx:pt>
          <cx:pt idx="1247">13.31766</cx:pt>
          <cx:pt idx="1248">38.1554</cx:pt>
          <cx:pt idx="1249">18.456</cx:pt>
          <cx:pt idx="1250">8.80152</cx:pt>
          <cx:pt idx="1251">5.89949999999999</cx:pt>
          <cx:pt idx="1252">10.4175</cx:pt>
          <cx:pt idx="1253">39.767599999999995</cx:pt>
          <cx:pt idx="1254">36.811899999999895</cx:pt>
          <cx:pt idx="1255">4.4870000000000001</cx:pt>
          <cx:pt idx="1256">3.9870200000000002</cx:pt>
          <cx:pt idx="1257">11.611199999999899</cx:pt>
          <cx:pt idx="1258">6.03059999999999</cx:pt>
          <cx:pt idx="1259">17.0718</cx:pt>
          <cx:pt idx="1260">5.5061999999999998</cx:pt>
          <cx:pt idx="1261">5.63729999999999</cx:pt>
          <cx:pt idx="1262">9.8619000000000003</cx:pt>
          <cx:pt idx="1263">6.2927999999999997</cx:pt>
          <cx:pt idx="1264">5.5061999999999998</cx:pt>
          <cx:pt idx="1265">3.5895999999999999</cx:pt>
          <cx:pt idx="1266">13.1242499999999</cx:pt>
          <cx:pt idx="1267">9.722999999999999</cx:pt>
          <cx:pt idx="1268">36.838769999999997</cx:pt>
          <cx:pt idx="1269">5.7683999999999997</cx:pt>
          <cx:pt idx="1270">18.148399999999899</cx:pt>
          <cx:pt idx="1271">15.786539999999999</cx:pt>
          <cx:pt idx="1272">10.973099999999999</cx:pt>
          <cx:pt idx="1273">15.786539999999999</cx:pt>
          <cx:pt idx="1274">16.764200000000002</cx:pt>
          <cx:pt idx="1275">13.109999999999999</cx:pt>
          <cx:pt idx="1276">13.1242499999999</cx:pt>
          <cx:pt idx="1277">5.5061999999999998</cx:pt>
          <cx:pt idx="1278">11.752799999999999</cx:pt>
          <cx:pt idx="1279">40.573700000000002</cx:pt>
          <cx:pt idx="1280">5.63729999999999</cx:pt>
          <cx:pt idx="1281">15.786539999999999</cx:pt>
          <cx:pt idx="1282">18.7636</cx:pt>
          <cx:pt idx="1283">6.5549999999999997</cx:pt>
          <cx:pt idx="1284">15.9192</cx:pt>
          <cx:pt idx="1285">41.379800000000003</cx:pt>
          <cx:pt idx="1286">10.973099999999999</cx:pt>
          <cx:pt idx="1287">6.2927999999999997</cx:pt>
          <cx:pt idx="1288">8.80152</cx:pt>
          <cx:pt idx="1289">4.3588000000000005</cx:pt>
          <cx:pt idx="1290">10.5564</cx:pt>
          <cx:pt idx="1291">11.4696</cx:pt>
          <cx:pt idx="1292">39.498899999999999</cx:pt>
          <cx:pt idx="1293">17.533199999999997</cx:pt>
          <cx:pt idx="1294">11.328000000000001</cx:pt>
          <cx:pt idx="1295">7.5712000000000002</cx:pt>
          <cx:pt idx="1296">8.6527999999999992</cx:pt>
          <cx:pt idx="1297">10.278600000000001</cx:pt>
          <cx:pt idx="1298">15.771799999999999</cx:pt>
          <cx:pt idx="1299">16.779579999999999</cx:pt>
          <cx:pt idx="1300">5.63729999999999</cx:pt>
          <cx:pt idx="1301">17.994599999999998</cx:pt>
          <cx:pt idx="1302">8.3823999999999987</cx:pt>
          <cx:pt idx="1303">11.625360000000001</cx:pt>
          <cx:pt idx="1304">43.529399999999903</cx:pt>
          <cx:pt idx="1305">11.328000000000001</cx:pt>
          <cx:pt idx="1306">14.8873999999999</cx:pt>
          <cx:pt idx="1307">5.5061999999999998</cx:pt>
          <cx:pt idx="1308">5.63729999999999</cx:pt>
          <cx:pt idx="1309">17.2256</cx:pt>
          <cx:pt idx="1310">6.1748099999999999</cx:pt>
          <cx:pt idx="1311">15.491739999999901</cx:pt>
          <cx:pt idx="1312">5.89949999999999</cx:pt>
          <cx:pt idx="1313">6.5549999999999997</cx:pt>
          <cx:pt idx="1314">9.5840999999999994</cx:pt>
          <cx:pt idx="1315">12.967500000000001</cx:pt>
          <cx:pt idx="1316">15.786539999999999</cx:pt>
          <cx:pt idx="1317">9.8619000000000003</cx:pt>
          <cx:pt idx="1318">4.4870000000000001</cx:pt>
          <cx:pt idx="1319">17.2256</cx:pt>
          <cx:pt idx="1320">6.03059999999999</cx:pt>
          <cx:pt idx="1321">10.5564</cx:pt>
          <cx:pt idx="1322">7.1655999999999995</cx:pt>
          <cx:pt idx="1323">4.2305999999999999</cx:pt>
          <cx:pt idx="1324">4.6151999999999997</cx:pt>
          <cx:pt idx="1325">6.6860999999999908</cx:pt>
          <cx:pt idx="1326">11.611199999999899</cx:pt>
          <cx:pt idx="1327">5.5061999999999998</cx:pt>
          <cx:pt idx="1328">37.886699999999998</cx:pt>
          <cx:pt idx="1329">10.6952999999999</cx:pt>
          <cx:pt idx="1330">2.3075999999999999</cx:pt>
          <cx:pt idx="1331">35.1997</cx:pt>
          <cx:pt idx="1332">34.689170000000004</cx:pt>
          <cx:pt idx="1333">6.8171999999999997</cx:pt>
          <cx:pt idx="1334">12.967500000000001</cx:pt>
          <cx:pt idx="1335">6.5549999999999997</cx:pt>
          <cx:pt idx="1336">18.6098</cx:pt>
          <cx:pt idx="1337">36.301369999999999</cx:pt>
          <cx:pt idx="1338">9.5840999999999994</cx:pt>
          <cx:pt idx="1339">15.786539999999999</cx:pt>
          <cx:pt idx="1340">14.0406599999999</cx:pt>
          <cx:pt idx="1341">10.6952999999999</cx:pt>
          <cx:pt idx="1342">36.838769999999997</cx:pt>
          <cx:pt idx="1343">12.460799999999999</cx:pt>
          <cx:pt idx="1344">35.495269999999898</cx:pt>
          <cx:pt idx="1345">4.9998000000000005</cx:pt>
          <cx:pt idx="1346">7.8415999999999997</cx:pt>
          <cx:pt idx="1347">6.5549999999999997</cx:pt>
          <cx:pt idx="1348">10.5564</cx:pt>
          <cx:pt idx="1349">17.871559999999999</cx:pt>
          <cx:pt idx="1350">11.4696</cx:pt>
          <cx:pt idx="1351">46.216399999999702</cx:pt>
          <cx:pt idx="1352">10.0008</cx:pt>
          <cx:pt idx="1353">15.476999999999999</cx:pt>
          <cx:pt idx="1354">46.243269999999995</cx:pt>
          <cx:pt idx="1355">12.839249999999899</cx:pt>
          <cx:pt idx="1356">13.5924</cx:pt>
          <cx:pt idx="1357">10.834199999999999</cx:pt>
          <cx:pt idx="1358">6.1616999999999997</cx:pt>
          <cx:pt idx="1359">11.611199999999899</cx:pt>
          <cx:pt idx="1360">6.6860999999999908</cx:pt>
          <cx:pt idx="1361">16.917999999999999</cx:pt>
          <cx:pt idx="1362">16.917999999999999</cx:pt>
          <cx:pt idx="1363">17.840799999999902</cx:pt>
          <cx:pt idx="1364">15.6244</cx:pt>
          <cx:pt idx="1365">9.722999999999999</cx:pt>
          <cx:pt idx="1366">18.6098</cx:pt>
          <cx:pt idx="1367">3.0768</cx:pt>
          <cx:pt idx="1368">11.894399999999999</cx:pt>
          <cx:pt idx="1369">17.2256</cx:pt>
          <cx:pt idx="1370">6.4239000000000006</cx:pt>
          <cx:pt idx="1371">10.834199999999999</cx:pt>
          <cx:pt idx="1372">5.5061999999999998</cx:pt>
          <cx:pt idx="1373">12.967500000000001</cx:pt>
          <cx:pt idx="1374">36.543199999999999</cx:pt>
          <cx:pt idx="1375">5.89949999999999</cx:pt>
          <cx:pt idx="1376">11.4696</cx:pt>
          <cx:pt idx="1377">7.8415999999999997</cx:pt>
          <cx:pt idx="1378">7.5712000000000002</cx:pt>
          <cx:pt idx="1379">55.110369999999996</cx:pt>
          <cx:pt idx="1380">7.3008000000000006</cx:pt>
          <cx:pt idx="1381">6.03059999999999</cx:pt>
          <cx:pt idx="1382">19.686400000000003</cx:pt>
          <cx:pt idx="1383">6.1616999999999997</cx:pt>
          <cx:pt idx="1384">5.5061999999999998</cx:pt>
          <cx:pt idx="1385">17.2256</cx:pt>
          <cx:pt idx="1386">7.5712000000000002</cx:pt>
          <cx:pt idx="1387">7.5712000000000002</cx:pt>
          <cx:pt idx="1388">5.89949999999999</cx:pt>
          <cx:pt idx="1389">15.9192</cx:pt>
          <cx:pt idx="1390">6.4239000000000006</cx:pt>
          <cx:pt idx="1391">3.9741999999999997</cx:pt>
          <cx:pt idx="1392">14.315399999999901</cx:pt>
          <cx:pt idx="1393">4.4870000000000001</cx:pt>
          <cx:pt idx="1394">15.182200000000002</cx:pt>
          <cx:pt idx="1395">6.5549999999999997</cx:pt>
          <cx:pt idx="1396">6.5549999999999997</cx:pt>
          <cx:pt idx="1397">7.3008000000000006</cx:pt>
          <cx:pt idx="1398">19.225000000000001</cx:pt>
          <cx:pt idx="1399">5.89949999999999</cx:pt>
          <cx:pt idx="1400">7.5712000000000002</cx:pt>
          <cx:pt idx="1401">9.722999999999999</cx:pt>
          <cx:pt idx="1402">7.9767999999999892</cx:pt>
          <cx:pt idx="1403">8.9232000000000014</cx:pt>
          <cx:pt idx="1404">37.886699999999998</cx:pt>
          <cx:pt idx="1405">8.9232000000000014</cx:pt>
          <cx:pt idx="1406">19.071199999999997</cx:pt>
          <cx:pt idx="1407">17.533199999999997</cx:pt>
          <cx:pt idx="1408">51.644139999999709</cx:pt>
          <cx:pt idx="1409">8.7880000000000003</cx:pt>
          <cx:pt idx="1410">6.2927999999999997</cx:pt>
          <cx:pt idx="1411">10.973099999999999</cx:pt>
          <cx:pt idx="1412">12.967500000000001</cx:pt>
          <cx:pt idx="1413">7.8415999999999997</cx:pt>
          <cx:pt idx="1414">5.63729999999999</cx:pt>
          <cx:pt idx="1415">8.8150400000000193</cx:pt>
          <cx:pt idx="1416">5.1279999999999903</cx:pt>
          <cx:pt idx="1417">3.9870200000000002</cx:pt>
          <cx:pt idx="1418">15.786539999999999</cx:pt>
          <cx:pt idx="1419">12.825000000000001</cx:pt>
          <cx:pt idx="1420">11.752799999999999</cx:pt>
          <cx:pt idx="1421">5.63729999999999</cx:pt>
          <cx:pt idx="1422">9.8619000000000003</cx:pt>
          <cx:pt idx="1423">8.6527999999999992</cx:pt>
          <cx:pt idx="1424">6.03059999999999</cx:pt>
          <cx:pt idx="1425">11.328000000000001</cx:pt>
          <cx:pt idx="1426">7.3008000000000006</cx:pt>
          <cx:pt idx="1427">6.03059999999999</cx:pt>
          <cx:pt idx="1428">5.63729999999999</cx:pt>
          <cx:pt idx="1429">10.139699999999999</cx:pt>
          <cx:pt idx="1430">9.5840999999999994</cx:pt>
          <cx:pt idx="1431">9.8757900000000003</cx:pt>
          <cx:pt idx="1432">15.6244</cx:pt>
          <cx:pt idx="1433">17.687000000000001</cx:pt>
          <cx:pt idx="1434">4.6151999999999997</cx:pt>
          <cx:pt idx="1435">10.278600000000001</cx:pt>
          <cx:pt idx="1436">6.03059999999999</cx:pt>
          <cx:pt idx="1437">5.7683999999999997</cx:pt>
          <cx:pt idx="1438">4.9998000000000005</cx:pt>
          <cx:pt idx="1439">6.03059999999999</cx:pt>
          <cx:pt idx="1440">5.7683999999999997</cx:pt>
          <cx:pt idx="1441">6.2927999999999997</cx:pt>
          <cx:pt idx="1442">12.839249999999899</cx:pt>
          <cx:pt idx="1443">19.086580000000001</cx:pt>
          <cx:pt idx="1444">8.6527999999999992</cx:pt>
          <cx:pt idx="1445">14.739999999999901</cx:pt>
          <cx:pt idx="1446">14.055119999999999</cx:pt>
          <cx:pt idx="1447">6.5549999999999997</cx:pt>
          <cx:pt idx="1448">8.1120000000000001</cx:pt>
          <cx:pt idx="1449">42.185899999999997</cx:pt>
          <cx:pt idx="1450">13.881599999999999</cx:pt>
          <cx:pt idx="1451">6.03059999999999</cx:pt>
          <cx:pt idx="1452">5.7683999999999997</cx:pt>
          <cx:pt idx="1453">12.602399999999999</cx:pt>
          <cx:pt idx="1454">15.491739999999901</cx:pt>
          <cx:pt idx="1455">10.4175</cx:pt>
          <cx:pt idx="1456">10.834199999999999</cx:pt>
          <cx:pt idx="1457">10.0008</cx:pt>
          <cx:pt idx="1458">15.04954</cx:pt>
          <cx:pt idx="1459">12.319199999999899</cx:pt>
          <cx:pt idx="1460">10.139699999999999</cx:pt>
          <cx:pt idx="1461">8.7880000000000003</cx:pt>
          <cx:pt idx="1462">3.5895999999999999</cx:pt>
          <cx:pt idx="1463">11.611199999999899</cx:pt>
          <cx:pt idx="1464">5.1279999999999903</cx:pt>
          <cx:pt idx="1465">17.687000000000001</cx:pt>
          <cx:pt idx="1466">12.205920000000001</cx:pt>
          <cx:pt idx="1467">8.2472000000000012</cx:pt>
          <cx:pt idx="1468">6.4239000000000006</cx:pt>
          <cx:pt idx="1469">68.249799999999709</cx:pt>
          <cx:pt idx="1470">10.6952999999999</cx:pt>
          <cx:pt idx="1471">36.032670000000003</cx:pt>
          <cx:pt idx="1472">8.5175999999999998</cx:pt>
          <cx:pt idx="1473">6.4239000000000006</cx:pt>
          <cx:pt idx="1474">9.722999999999999</cx:pt>
          <cx:pt idx="1475">10.4175</cx:pt>
          <cx:pt idx="1476">19.240380000000002</cx:pt>
          <cx:pt idx="1477">5.1536400000000198</cx:pt>
          <cx:pt idx="1478">11.611199999999899</cx:pt>
          <cx:pt idx="1479">18.009979999999899</cx:pt>
          <cx:pt idx="1480">15.9192</cx:pt>
          <cx:pt idx="1481">4.1023999999999994</cx:pt>
          <cx:pt idx="1482">7.5712000000000002</cx:pt>
          <cx:pt idx="1483">17.687000000000001</cx:pt>
          <cx:pt idx="1484">9.5840999999999994</cx:pt>
          <cx:pt idx="1485">10.973099999999999</cx:pt>
          <cx:pt idx="1486">1.6794199999999999</cx:pt>
          <cx:pt idx="1487">5.5061999999999998</cx:pt>
          <cx:pt idx="1488">10.4175</cx:pt>
          <cx:pt idx="1489">6.5549999999999997</cx:pt>
          <cx:pt idx="1490">13.881599999999899</cx:pt>
          <cx:pt idx="1491">10.973099999999999</cx:pt>
          <cx:pt idx="1492">6.2927999999999997</cx:pt>
          <cx:pt idx="1493">6.03059999999999</cx:pt>
          <cx:pt idx="1494">4.2305999999999999</cx:pt>
          <cx:pt idx="1495">5.2561999999999998</cx:pt>
          <cx:pt idx="1496">9.5979900000000011</cx:pt>
          <cx:pt idx="1497">15.034799999999901</cx:pt>
          <cx:pt idx="1498">15.182200000000002</cx:pt>
          <cx:pt idx="1499">10.6952999999999</cx:pt>
          <cx:pt idx="1500">6.3059099999999892</cx:pt>
          <cx:pt idx="1501">4.9998000000000005</cx:pt>
          <cx:pt idx="1502">7.7063999999999995</cx:pt>
          <cx:pt idx="1503">52.6651999999997</cx:pt>
          <cx:pt idx="1504">15.491739999999901</cx:pt>
          <cx:pt idx="1505">39.230199999999897</cx:pt>
          <cx:pt idx="1506">5.63729999999999</cx:pt>
          <cx:pt idx="1507">4.9998000000000005</cx:pt>
          <cx:pt idx="1508">17.533199999999997</cx:pt>
          <cx:pt idx="1509">7.7063999999999995</cx:pt>
          <cx:pt idx="1510">8.6527999999999992</cx:pt>
          <cx:pt idx="1511">4.2305999999999999</cx:pt>
          <cx:pt idx="1512">12.602399999999999</cx:pt>
          <cx:pt idx="1513">5.63729999999999</cx:pt>
          <cx:pt idx="1514">15.329599999999999</cx:pt>
          <cx:pt idx="1515">5.89949999999999</cx:pt>
          <cx:pt idx="1516">5.63729999999999</cx:pt>
          <cx:pt idx="1517">18.148399999999899</cx:pt>
          <cx:pt idx="1518">5.63729999999999</cx:pt>
          <cx:pt idx="1519">15.771799999999999</cx:pt>
          <cx:pt idx="1520">7.8415999999999997</cx:pt>
          <cx:pt idx="1521">11.328000000000001</cx:pt>
          <cx:pt idx="1522">37.886699999999998</cx:pt>
          <cx:pt idx="1523">5.89949999999999</cx:pt>
          <cx:pt idx="1524">8.2472000000000012</cx:pt>
          <cx:pt idx="1525">35.1997</cx:pt>
          <cx:pt idx="1526">11.4696</cx:pt>
          <cx:pt idx="1527">14.1707999999999</cx:pt>
          <cx:pt idx="1528">9.4590899999999998</cx:pt>
          <cx:pt idx="1529">7.3008000000000006</cx:pt>
          <cx:pt idx="1530">18.456</cx:pt>
          <cx:pt idx="1531">12.319199999999899</cx:pt>
          <cx:pt idx="1532">15.786539999999999</cx:pt>
          <cx:pt idx="1533">13.736999999999899</cx:pt>
          <cx:pt idx="1534">60.7261999999997</cx:pt>
          <cx:pt idx="1535">7.4359999999999999</cx:pt>
          <cx:pt idx="1536">39.498899999999999</cx:pt>
          <cx:pt idx="1537">4.8715999999999999</cx:pt>
          <cx:pt idx="1538">15.04954</cx:pt>
          <cx:pt idx="1539">5.63729999999999</cx:pt>
          <cx:pt idx="1540">10.139699999999999</cx:pt>
          <cx:pt idx="1541">6.2927999999999997</cx:pt>
          <cx:pt idx="1542">12.036</cx:pt>
          <cx:pt idx="1543">13.109999999999999</cx:pt>
          <cx:pt idx="1544">17.3794</cx:pt>
          <cx:pt idx="1545">10.6952999999999</cx:pt>
          <cx:pt idx="1546">10.0008</cx:pt>
          <cx:pt idx="1547">10.153589999999999</cx:pt>
          <cx:pt idx="1548">4.6151999999999997</cx:pt>
          <cx:pt idx="1549">10.5564</cx:pt>
          <cx:pt idx="1550">9.5840999999999994</cx:pt>
          <cx:pt idx="1551">13.109999999999999</cx:pt>
          <cx:pt idx="1552">11.4696</cx:pt>
          <cx:pt idx="1553">11.625359999999899</cx:pt>
          <cx:pt idx="1554">9.8619000000000003</cx:pt>
          <cx:pt idx="1555">5.63729999999999</cx:pt>
          <cx:pt idx="1556">11.328000000000001</cx:pt>
          <cx:pt idx="1557">18.625179999999901</cx:pt>
          <cx:pt idx="1558">9.722999999999999</cx:pt>
          <cx:pt idx="1559">14.75474</cx:pt>
          <cx:pt idx="1560">10.973099999999999</cx:pt>
          <cx:pt idx="1561">13.1242499999999</cx:pt>
          <cx:pt idx="1562">6.4239000000000006</cx:pt>
          <cx:pt idx="1563">6.4239000000000006</cx:pt>
          <cx:pt idx="1564">14.0261999999999</cx:pt>
          <cx:pt idx="1565">15.491739999999901</cx:pt>
          <cx:pt idx="1566">12.19176</cx:pt>
          <cx:pt idx="1567">3.3716600000000199</cx:pt>
          <cx:pt idx="1568">6.5549999999999997</cx:pt>
          <cx:pt idx="1569">9.4590899999999998</cx:pt>
          <cx:pt idx="1570">5.63729999999999</cx:pt>
          <cx:pt idx="1571">6.8171999999999997</cx:pt>
          <cx:pt idx="1572">9.8757900000000003</cx:pt>
          <cx:pt idx="1573">18.302199999999999</cx:pt>
          <cx:pt idx="1574">39.498899999999999</cx:pt>
          <cx:pt idx="1575">6.4239000000000006</cx:pt>
          <cx:pt idx="1576">4.3588000000000005</cx:pt>
          <cx:pt idx="1577">36.005800000000001</cx:pt>
          <cx:pt idx="1578">17.0718</cx:pt>
          <cx:pt idx="1579">37.644870000000004</cx:pt>
          <cx:pt idx="1580">14.040659999999999</cx:pt>
          <cx:pt idx="1581">3.8460000000000001</cx:pt>
          <cx:pt idx="1582">34.95787</cx:pt>
          <cx:pt idx="1583">5.1279999999999903</cx:pt>
          <cx:pt idx="1584">10.834199999999999</cx:pt>
          <cx:pt idx="1585">14.1708</cx:pt>
          <cx:pt idx="1586">6.5549999999999997</cx:pt>
          <cx:pt idx="1587">7.7063999999999995</cx:pt>
          <cx:pt idx="1588">12.460799999999999</cx:pt>
          <cx:pt idx="1589">9.4451999999999998</cx:pt>
          <cx:pt idx="1590">14.0406599999999</cx:pt>
          <cx:pt idx="1591">41.1111</cx:pt>
          <cx:pt idx="1592">5.0254400000000201</cx:pt>
          <cx:pt idx="1593">4.1023999999999994</cx:pt>
          <cx:pt idx="1594">11.611199999999899</cx:pt>
          <cx:pt idx="1595">10.834199999999999</cx:pt>
          <cx:pt idx="1596">5.89949999999999</cx:pt>
          <cx:pt idx="1597">6.8171999999999997</cx:pt>
          <cx:pt idx="1598">8.5175999999999998</cx:pt>
          <cx:pt idx="1599">10.278600000000001</cx:pt>
          <cx:pt idx="1600">12.177599999999899</cx:pt>
          <cx:pt idx="1601">13.447799999999999</cx:pt>
          <cx:pt idx="1602">13.736999999999998</cx:pt>
          <cx:pt idx="1603">11.328000000000001</cx:pt>
          <cx:pt idx="1604">13.1242499999999</cx:pt>
          <cx:pt idx="1605">10.5564</cx:pt>
          <cx:pt idx="1606">3.7178000000000004</cx:pt>
          <cx:pt idx="1607">5.63729999999999</cx:pt>
          <cx:pt idx="1608">15.9192</cx:pt>
          <cx:pt idx="1609">17.0718</cx:pt>
          <cx:pt idx="1610">4.2305999999999999</cx:pt>
          <cx:pt idx="1611">6.5549999999999997</cx:pt>
          <cx:pt idx="1612">2.1922199999999998</cx:pt>
          <cx:pt idx="1613">10.4175</cx:pt>
          <cx:pt idx="1614">5.7683999999999997</cx:pt>
          <cx:pt idx="1615">10.973099999999999</cx:pt>
          <cx:pt idx="1616">10.139699999999999</cx:pt>
          <cx:pt idx="1617">12.177599999999899</cx:pt>
          <cx:pt idx="1618">10.0008</cx:pt>
          <cx:pt idx="1619">10.0008</cx:pt>
          <cx:pt idx="1620">9.8619000000000003</cx:pt>
          <cx:pt idx="1621">39.257069999999899</cx:pt>
          <cx:pt idx="1622">11.85798</cx:pt>
          <cx:pt idx="1623">1.9358199999999999</cx:pt>
          <cx:pt idx="1624">28.240369999999999</cx:pt>
          <cx:pt idx="1625">4.8807199999999895</cx:pt>
          <cx:pt idx="1626">28.777769999999904</cx:pt>
          <cx:pt idx="1627">44.631069999999902</cx:pt>
          <cx:pt idx="1628">31.196069999999899</cx:pt>
          <cx:pt idx="1629">2.1922199999999998</cx:pt>
          <cx:pt idx="1630">5.4309900000000004</cx:pt>
          <cx:pt idx="1631">26.090769999999903</cx:pt>
          <cx:pt idx="1632">30.121269999999999</cx:pt>
          <cx:pt idx="1633">6.14175</cx:pt>
          <cx:pt idx="1634">27.165569999999899</cx:pt>
          <cx:pt idx="1635">5.4309900000000004</cx:pt>
          <cx:pt idx="1636">1.16662</cx:pt>
          <cx:pt idx="1637">2.44862</cx:pt>
          <cx:pt idx="1638">12.62698</cx:pt>
          <cx:pt idx="1639">2.3204199999999999</cx:pt>
          <cx:pt idx="1640">3.08962</cx:pt>
          <cx:pt idx="1641">1.6794199999999999</cx:pt>
          <cx:pt idx="1642">6.6660599999999999</cx:pt>
          <cx:pt idx="1643">3.55281</cx:pt>
          <cx:pt idx="1644">6.8106600000000004</cx:pt>
          <cx:pt idx="1645">5.4309900000000004</cx:pt>
          <cx:pt idx="1646">2.9614199999999999</cx:pt>
          <cx:pt idx="1647">2.1922199999999998</cx:pt>
          <cx:pt idx="1648">27.434269999999998</cx:pt>
          <cx:pt idx="1649">10.48014</cx:pt>
          <cx:pt idx="1650">12.4731799999999</cx:pt>
          <cx:pt idx="1651">12.473180000000001</cx:pt>
          <cx:pt idx="1652">0.91021999999999992</cx:pt>
          <cx:pt idx="1653">28.509069999999998</cx:pt>
          <cx:pt idx="1654">1.6794199999999999</cx:pt>
          <cx:pt idx="1655">3.81501</cx:pt>
          <cx:pt idx="1656">5.1511199999999997</cx:pt>
          <cx:pt idx="1657">5.4309900000000004</cx:pt>
          <cx:pt idx="1658">8.2691400000000002</cx:pt>
          <cx:pt idx="1659">5.99925</cx:pt>
          <cx:pt idx="1660">14.6263799999999</cx:pt>
          <cx:pt idx="1661">10.18534</cx:pt>
          <cx:pt idx="1662">2.5768200000000001</cx:pt>
          <cx:pt idx="1663">1.9358199999999999</cx:pt>
          <cx:pt idx="1664">7.8228599999999995</cx:pt>
        </cx:lvl>
      </cx:numDim>
    </cx:data>
    <cx:data id="10">
      <cx:numDim type="val">
        <cx:f>Sheet2!$K$2:$K$11265</cx:f>
        <cx:lvl ptCount="11264" formatCode="General">
          <cx:pt idx="0">6.1616999999999997</cx:pt>
          <cx:pt idx="1">17.533199999999997</cx:pt>
          <cx:pt idx="2">10.139699999999999</cx:pt>
          <cx:pt idx="3">37.886699999999998</cx:pt>
          <cx:pt idx="4">41.648499999999999</cx:pt>
          <cx:pt idx="5">11.328000000000001</cx:pt>
          <cx:pt idx="6">44.335500000000003</cx:pt>
          <cx:pt idx="7">11.611199999999899</cx:pt>
          <cx:pt idx="8">9.722999999999999</cx:pt>
          <cx:pt idx="9">17.3794</cx:pt>
          <cx:pt idx="10">18.456</cx:pt>
          <cx:pt idx="11">12.191759999999901</cx:pt>
          <cx:pt idx="12">3.5895999999999999</cx:pt>
          <cx:pt idx="13">6.4239000000000006</cx:pt>
          <cx:pt idx="14">38.424100000000003</cx:pt>
          <cx:pt idx="15">13.881599999999999</cx:pt>
          <cx:pt idx="16">10.4175</cx:pt>
          <cx:pt idx="17">18.3175799999999</cx:pt>
          <cx:pt idx="18">8.3823999999999987</cx:pt>
          <cx:pt idx="19">8.9367199999999993</cx:pt>
          <cx:pt idx="20">11.3421599999999</cx:pt>
          <cx:pt idx="21">10.5564</cx:pt>
          <cx:pt idx="22">55.083499999999994</cx:pt>
          <cx:pt idx="23">38.692799999999998</cx:pt>
          <cx:pt idx="24">18.3175799999999</cx:pt>
          <cx:pt idx="25">41.648499999999999</cx:pt>
          <cx:pt idx="26">34.930999999999997</cx:pt>
          <cx:pt idx="27">5.63729999999999</cx:pt>
          <cx:pt idx="28">35.468400000000003</cx:pt>
          <cx:pt idx="29">36.543199999999999</cx:pt>
          <cx:pt idx="30">8.9232000000000014</cx:pt>
          <cx:pt idx="31">12.83925</cx:pt>
          <cx:pt idx="32">9.722999999999999</cx:pt>
          <cx:pt idx="33">15.653880000000001</cx:pt>
          <cx:pt idx="34">4.3588000000000005</cx:pt>
          <cx:pt idx="35">9.8619000000000003</cx:pt>
          <cx:pt idx="36">6.2927999999999997</cx:pt>
          <cx:pt idx="37">39.525770000000001</cx:pt>
          <cx:pt idx="38">8.80152</cx:pt>
          <cx:pt idx="39">9.8619000000000003</cx:pt>
          <cx:pt idx="40">12.825000000000001</cx:pt>
          <cx:pt idx="41">12.4749599999999</cx:pt>
          <cx:pt idx="42">13.1242499999999</cx:pt>
          <cx:pt idx="43">18.6098</cx:pt>
          <cx:pt idx="44">17.08718</cx:pt>
          <cx:pt idx="45">4.9998000000000005</cx:pt>
          <cx:pt idx="46">36.032670000000003</cx:pt>
          <cx:pt idx="47">14.0261999999999</cx:pt>
          <cx:pt idx="48">15.476999999999999</cx:pt>
          <cx:pt idx="49">10.4175</cx:pt>
          <cx:pt idx="50">9.4451999999999998</cx:pt>
          <cx:pt idx="51">37.886699999999998</cx:pt>
          <cx:pt idx="52">5.63729999999999</cx:pt>
          <cx:pt idx="53">17.08718</cx:pt>
          <cx:pt idx="54">17.2256</cx:pt>
          <cx:pt idx="55">43.798099999999998</cx:pt>
          <cx:pt idx="56">17.24098</cx:pt>
          <cx:pt idx="57">15.9192</cx:pt>
          <cx:pt idx="58">12.05016</cx:pt>
          <cx:pt idx="59">36.274499999999996</cx:pt>
          <cx:pt idx="60">17.2256</cx:pt>
          <cx:pt idx="61">18.456</cx:pt>
          <cx:pt idx="62">57.233099999999901</cx:pt>
          <cx:pt idx="63">6.6860999999999908</cx:pt>
          <cx:pt idx="64">8.3823999999999987</cx:pt>
          <cx:pt idx="65">15.786539999999999</cx:pt>
          <cx:pt idx="66">47.559899999999999</cx:pt>
          <cx:pt idx="67">16.764200000000002</cx:pt>
          <cx:pt idx="68">41.379800000000003</cx:pt>
          <cx:pt idx="69">10.6952999999999</cx:pt>
          <cx:pt idx="70">41.648499999999999</cx:pt>
          <cx:pt idx="71">17.840799999999902</cx:pt>
          <cx:pt idx="72">14.0406599999999</cx:pt>
          <cx:pt idx="73">15.182200000000002</cx:pt>
          <cx:pt idx="74">11.766959999999999</cx:pt>
          <cx:pt idx="75">10.973099999999999</cx:pt>
          <cx:pt idx="76">3.4613999999999998</cx:pt>
          <cx:pt idx="77">16.917999999999999</cx:pt>
          <cx:pt idx="78">11.328000000000001</cx:pt>
          <cx:pt idx="79">36.032670000000003</cx:pt>
          <cx:pt idx="80">10.139699999999999</cx:pt>
          <cx:pt idx="81">13.736999999999998</cx:pt>
          <cx:pt idx="82">40.600569999999706</cx:pt>
          <cx:pt idx="83">5.7683999999999997</cx:pt>
          <cx:pt idx="84">14.0261999999999</cx:pt>
          <cx:pt idx="85">10.834199999999999</cx:pt>
          <cx:pt idx="86">36.811899999999895</cx:pt>
          <cx:pt idx="87">10.139699999999999</cx:pt>
          <cx:pt idx="88">51.590400000000002</cx:pt>
          <cx:pt idx="89">17.533199999999997</cx:pt>
          <cx:pt idx="90">17.548580000000001</cx:pt>
          <cx:pt idx="91">40.305</cx:pt>
          <cx:pt idx="92">4.3588000000000005</cx:pt>
          <cx:pt idx="93">35.737099999999998</cx:pt>
          <cx:pt idx="94">10.278600000000001</cx:pt>
          <cx:pt idx="95">55.352199999999996</cx:pt>
          <cx:pt idx="96">37.3492999999999</cx:pt>
          <cx:pt idx="97">43.529399999999903</cx:pt>
          <cx:pt idx="98">37.3492999999999</cx:pt>
          <cx:pt idx="99">18.148399999999899</cx:pt>
          <cx:pt idx="100">13.736999999999899</cx:pt>
          <cx:pt idx="101">36.838769999999997</cx:pt>
          <cx:pt idx="102">15.329599999999999</cx:pt>
          <cx:pt idx="103">10.6952999999999</cx:pt>
          <cx:pt idx="104">18.932779999999998</cx:pt>
          <cx:pt idx="105">18.3175799999999</cx:pt>
          <cx:pt idx="106">16.94876</cx:pt>
          <cx:pt idx="107">8.9232000000000014</cx:pt>
          <cx:pt idx="108">43.529399999999903</cx:pt>
          <cx:pt idx="109">11.4696</cx:pt>
          <cx:pt idx="110">12.839249999999899</cx:pt>
          <cx:pt idx="111">16.764200000000002</cx:pt>
          <cx:pt idx="112">10.7091899999999</cx:pt>
          <cx:pt idx="113">11.611199999999899</cx:pt>
          <cx:pt idx="114">18.456</cx:pt>
          <cx:pt idx="115">10.5564</cx:pt>
          <cx:pt idx="116">19.225000000000001</cx:pt>
          <cx:pt idx="117">39.230199999999897</cx:pt>
          <cx:pt idx="118">10.139699999999999</cx:pt>
          <cx:pt idx="119">10.139699999999999</cx:pt>
          <cx:pt idx="120">11.752799999999999</cx:pt>
          <cx:pt idx="121">14.607339999999899</cx:pt>
          <cx:pt idx="122">19.686400000000003</cx:pt>
          <cx:pt idx="123">9.0583999999999989</cx:pt>
          <cx:pt idx="124">40.573700000000002</cx:pt>
          <cx:pt idx="125">34.662300000000002</cx:pt>
          <cx:pt idx="126">13.751459999999899</cx:pt>
          <cx:pt idx="127">11.328000000000001</cx:pt>
          <cx:pt idx="128">19.086580000000001</cx:pt>
          <cx:pt idx="129">19.071199999999997</cx:pt>
          <cx:pt idx="130">43.798099999999998</cx:pt>
          <cx:pt idx="131">10.7091899999999</cx:pt>
          <cx:pt idx="132">15.034799999999901</cx:pt>
          <cx:pt idx="133">11.328000000000001</cx:pt>
          <cx:pt idx="134">15.034799999999901</cx:pt>
          <cx:pt idx="135">11.894399999999999</cx:pt>
          <cx:pt idx="136">10.973099999999999</cx:pt>
          <cx:pt idx="137">5.89949999999999</cx:pt>
          <cx:pt idx="138">17.856179999999998</cx:pt>
          <cx:pt idx="139">46.216399999999901</cx:pt>
          <cx:pt idx="140">10.139699999999999</cx:pt>
          <cx:pt idx="141">43.798099999999998</cx:pt>
          <cx:pt idx="142">5.63729999999999</cx:pt>
          <cx:pt idx="143">6.4239000000000006</cx:pt>
          <cx:pt idx="144">15.9192</cx:pt>
          <cx:pt idx="145">34.930999999999997</cx:pt>
          <cx:pt idx="146">11.328000000000001</cx:pt>
          <cx:pt idx="147">44.872899999999902</cx:pt>
          <cx:pt idx="148">42.750169999999898</cx:pt>
          <cx:pt idx="149">15.182200000000002</cx:pt>
          <cx:pt idx="150">9.5840999999999994</cx:pt>
          <cx:pt idx="151">36.543199999999999</cx:pt>
          <cx:pt idx="152">11.894399999999999</cx:pt>
          <cx:pt idx="153">18.6098</cx:pt>
          <cx:pt idx="154">6.1616999999999997</cx:pt>
          <cx:pt idx="155">8.9232000000000014</cx:pt>
          <cx:pt idx="156">41.1111</cx:pt>
          <cx:pt idx="157">38.692799999999998</cx:pt>
          <cx:pt idx="158">10.153589999999999</cx:pt>
          <cx:pt idx="159">61.290469999999701</cx:pt>
          <cx:pt idx="160">14.315399999999901</cx:pt>
          <cx:pt idx="161">19.240380000000002</cx:pt>
          <cx:pt idx="162">11.894399999999999</cx:pt>
          <cx:pt idx="163">15.9192</cx:pt>
          <cx:pt idx="164">8.5175999999999998</cx:pt>
          <cx:pt idx="165">13.1242499999999</cx:pt>
          <cx:pt idx="166">14.040659999999999</cx:pt>
          <cx:pt idx="167">9.8619000000000003</cx:pt>
          <cx:pt idx="168">6.03059999999999</cx:pt>
          <cx:pt idx="169">11.894399999999999</cx:pt>
          <cx:pt idx="170">18.917400000000001</cx:pt>
          <cx:pt idx="171">7.3008000000000006</cx:pt>
          <cx:pt idx="172">58.307899999999705</cx:pt>
          <cx:pt idx="173">5.7683999999999997</cx:pt>
          <cx:pt idx="174">8.3823999999999987</cx:pt>
          <cx:pt idx="175">9.722999999999999</cx:pt>
          <cx:pt idx="176">6.6860999999999908</cx:pt>
          <cx:pt idx="177">15.771799999999999</cx:pt>
          <cx:pt idx="178">37.376169999999995</cx:pt>
          <cx:pt idx="179">15.9192</cx:pt>
          <cx:pt idx="180">38.424100000000003</cx:pt>
          <cx:pt idx="181">11.328000000000001</cx:pt>
          <cx:pt idx="182">10.278600000000001</cx:pt>
          <cx:pt idx="183">10.278600000000001</cx:pt>
          <cx:pt idx="184">15.771799999999999</cx:pt>
          <cx:pt idx="185">35.495269999999898</cx:pt>
          <cx:pt idx="186">13.1242499999999</cx:pt>
          <cx:pt idx="187">10.4175</cx:pt>
          <cx:pt idx="188">10.7091899999999</cx:pt>
          <cx:pt idx="189">14.1708</cx:pt>
          <cx:pt idx="190">6.2927999999999997</cx:pt>
          <cx:pt idx="191">10.834199999999999</cx:pt>
          <cx:pt idx="192">10.848089999999901</cx:pt>
          <cx:pt idx="193">39.230199999999897</cx:pt>
          <cx:pt idx="194">10.7091899999999</cx:pt>
          <cx:pt idx="195">10.278600000000001</cx:pt>
          <cx:pt idx="196">10.6952999999999</cx:pt>
          <cx:pt idx="197">38.692799999999998</cx:pt>
          <cx:pt idx="198">3.4742199999999896</cx:pt>
          <cx:pt idx="199">37.886699999999998</cx:pt>
          <cx:pt idx="200">10.973099999999999</cx:pt>
          <cx:pt idx="201">17.3794</cx:pt>
          <cx:pt idx="202">5.89949999999999</cx:pt>
          <cx:pt idx="203">10.139699999999999</cx:pt>
          <cx:pt idx="204">37.618000000000002</cx:pt>
          <cx:pt idx="205">17.994599999999998</cx:pt>
          <cx:pt idx="206">10.973099999999999</cx:pt>
          <cx:pt idx="207">45.705869999999699</cx:pt>
          <cx:pt idx="208">13.1242499999999</cx:pt>
          <cx:pt idx="209">3.8460000000000001</cx:pt>
          <cx:pt idx="210">37.886699999999998</cx:pt>
          <cx:pt idx="211">50.542469999999696</cx:pt>
          <cx:pt idx="212">39.498899999999999</cx:pt>
          <cx:pt idx="213">13.447799999999999</cx:pt>
          <cx:pt idx="214">14.902139999999999</cx:pt>
          <cx:pt idx="215">12.839249999999899</cx:pt>
          <cx:pt idx="216">12.602399999999999</cx:pt>
          <cx:pt idx="217">10.986989999999899</cx:pt>
          <cx:pt idx="218">40.573700000000002</cx:pt>
          <cx:pt idx="219">19.686400000000003</cx:pt>
          <cx:pt idx="220">5.5193099999999999</cx:pt>
          <cx:pt idx="221">4.6151999999999997</cx:pt>
          <cx:pt idx="222">40.331869999999995</cx:pt>
          <cx:pt idx="223">10.973099999999999</cx:pt>
          <cx:pt idx="224">40.036300000000004</cx:pt>
          <cx:pt idx="225">11.48376</cx:pt>
          <cx:pt idx="226">11.625359999999899</cx:pt>
          <cx:pt idx="227">12.602399999999999</cx:pt>
          <cx:pt idx="228">16.93338</cx:pt>
          <cx:pt idx="229">51.052999999999905</cx:pt>
          <cx:pt idx="230">6.5549999999999997</cx:pt>
          <cx:pt idx="231">15.9192</cx:pt>
          <cx:pt idx="232">18.009979999999899</cx:pt>
          <cx:pt idx="233">9.8619000000000003</cx:pt>
          <cx:pt idx="234">12.319199999999899</cx:pt>
          <cx:pt idx="235">10.848089999999901</cx:pt>
          <cx:pt idx="236">13.447799999999999</cx:pt>
          <cx:pt idx="237">8.9232000000000014</cx:pt>
          <cx:pt idx="238">17.840799999999902</cx:pt>
          <cx:pt idx="239">39.767599999999995</cx:pt>
          <cx:pt idx="240">10.973099999999999</cx:pt>
          <cx:pt idx="241">11.328000000000001</cx:pt>
          <cx:pt idx="242">37.376169999999995</cx:pt>
          <cx:pt idx="243">14.0406599999999</cx:pt>
          <cx:pt idx="244">5.63729999999999</cx:pt>
          <cx:pt idx="245">15.19694</cx:pt>
          <cx:pt idx="246">12.839249999999899</cx:pt>
          <cx:pt idx="247">16.917999999999999</cx:pt>
          <cx:pt idx="248">14.0406599999999</cx:pt>
          <cx:pt idx="249">12.319199999999899</cx:pt>
          <cx:pt idx="250">13.881599999999899</cx:pt>
          <cx:pt idx="251">9.5840999999999994</cx:pt>
          <cx:pt idx="252">10.431389999999901</cx:pt>
          <cx:pt idx="253">54.277399999999702</cx:pt>
          <cx:pt idx="254">17.687000000000001</cx:pt>
          <cx:pt idx="255">38.424100000000003</cx:pt>
          <cx:pt idx="256">12.6023999999999</cx:pt>
          <cx:pt idx="257">38.424100000000003</cx:pt>
          <cx:pt idx="258">47.049369999999705</cx:pt>
          <cx:pt idx="259">15.9192</cx:pt>
          <cx:pt idx="260">16.779579999999999</cx:pt>
          <cx:pt idx="261">9.722999999999999</cx:pt>
          <cx:pt idx="262">4.6151999999999997</cx:pt>
          <cx:pt idx="263">15.639140000000001</cx:pt>
          <cx:pt idx="264">10.4175</cx:pt>
          <cx:pt idx="265">18.302199999999999</cx:pt>
          <cx:pt idx="266">10.5564</cx:pt>
          <cx:pt idx="267">11.4696</cx:pt>
          <cx:pt idx="268">6.5549999999999997</cx:pt>
          <cx:pt idx="269">4.4870000000000001</cx:pt>
          <cx:pt idx="270">8.3823999999999987</cx:pt>
          <cx:pt idx="271">15.344340000000001</cx:pt>
          <cx:pt idx="272">43.2607</cx:pt>
          <cx:pt idx="273">9.5840999999999994</cx:pt>
          <cx:pt idx="274">4.8715999999999999</cx:pt>
          <cx:pt idx="275">47.559899999999999</cx:pt>
          <cx:pt idx="276">10.0008</cx:pt>
          <cx:pt idx="277">6.2927999999999997</cx:pt>
          <cx:pt idx="278">38.424100000000003</cx:pt>
          <cx:pt idx="279">17.687000000000001</cx:pt>
          <cx:pt idx="280">40.305</cx:pt>
          <cx:pt idx="281">49.709499999999998</cx:pt>
          <cx:pt idx="282">6.5549999999999997</cx:pt>
          <cx:pt idx="283">37.376169999999995</cx:pt>
          <cx:pt idx="284">47.291200000000003</cx:pt>
          <cx:pt idx="285">14.1708</cx:pt>
          <cx:pt idx="286">17.702379999999902</cx:pt>
          <cx:pt idx="287">41.648499999999999</cx:pt>
          <cx:pt idx="288">18.625179999999901</cx:pt>
          <cx:pt idx="289">15.771799999999999</cx:pt>
          <cx:pt idx="290">16.625780000000002</cx:pt>
          <cx:pt idx="291">7.3008000000000006</cx:pt>
          <cx:pt idx="292">50.784299999999902</cx:pt>
          <cx:pt idx="293">42.992000000000004</cx:pt>
          <cx:pt idx="294">36.838769999999997</cx:pt>
          <cx:pt idx="295">46.753799999999998</cx:pt>
          <cx:pt idx="296">18.148399999999899</cx:pt>
          <cx:pt idx="297">56.185169999999694</cx:pt>
          <cx:pt idx="298">44.335500000000003</cx:pt>
          <cx:pt idx="299">7.5712000000000002</cx:pt>
          <cx:pt idx="300">11.328000000000001</cx:pt>
          <cx:pt idx="301">9.722999999999999</cx:pt>
          <cx:pt idx="302">7.3008000000000006</cx:pt>
          <cx:pt idx="303">37.618000000000002</cx:pt>
          <cx:pt idx="304">35.495269999999898</cx:pt>
          <cx:pt idx="305">17.533199999999997</cx:pt>
          <cx:pt idx="306">15.034799999999901</cx:pt>
          <cx:pt idx="307">15.034799999999901</cx:pt>
          <cx:pt idx="308">17.994599999999998</cx:pt>
          <cx:pt idx="309">14.0261999999999</cx:pt>
          <cx:pt idx="310">18.302199999999999</cx:pt>
          <cx:pt idx="311">35.468400000000003</cx:pt>
          <cx:pt idx="312">10.973099999999999</cx:pt>
          <cx:pt idx="313">6.1616999999999997</cx:pt>
          <cx:pt idx="314">13.736999999999899</cx:pt>
          <cx:pt idx="315">16.917999999999999</cx:pt>
          <cx:pt idx="316">9.0583999999999989</cx:pt>
          <cx:pt idx="317">35.495269999999898</cx:pt>
          <cx:pt idx="318">17.3794</cx:pt>
          <cx:pt idx="319">10.0008</cx:pt>
          <cx:pt idx="320">15.6244</cx:pt>
          <cx:pt idx="321">35.737099999999998</cx:pt>
          <cx:pt idx="322">18.163779999999999</cx:pt>
          <cx:pt idx="323">10.834199999999999</cx:pt>
          <cx:pt idx="324">4.2305999999999999</cx:pt>
          <cx:pt idx="325">9.0583999999999989</cx:pt>
          <cx:pt idx="326">37.886699999999998</cx:pt>
          <cx:pt idx="327">10.6952999999999</cx:pt>
          <cx:pt idx="328">2.9614199999999999</cx:pt>
          <cx:pt idx="329">8.3959200000000003</cx:pt>
          <cx:pt idx="330">16.625780000000002</cx:pt>
          <cx:pt idx="331">12.967500000000001</cx:pt>
          <cx:pt idx="332">11.328000000000001</cx:pt>
          <cx:pt idx="333">15.491739999999901</cx:pt>
          <cx:pt idx="334">16.764200000000002</cx:pt>
          <cx:pt idx="335">15.06428</cx:pt>
          <cx:pt idx="336">6.2927999999999997</cx:pt>
          <cx:pt idx="337">12.460799999999999</cx:pt>
          <cx:pt idx="338">10.431389999999901</cx:pt>
          <cx:pt idx="339">56.964399999999706</cx:pt>
          <cx:pt idx="340">17.548580000000001</cx:pt>
          <cx:pt idx="341">9.5840999999999994</cx:pt>
          <cx:pt idx="342">15.04954</cx:pt>
          <cx:pt idx="343">65.562799999999697</cx:pt>
          <cx:pt idx="344">10.278600000000001</cx:pt>
          <cx:pt idx="345">43.798099999999998</cx:pt>
          <cx:pt idx="346">35.1997</cx:pt>
          <cx:pt idx="347">11.752799999999999</cx:pt>
          <cx:pt idx="348">10.0008</cx:pt>
          <cx:pt idx="349">17.2256</cx:pt>
          <cx:pt idx="350">19.071199999999997</cx:pt>
          <cx:pt idx="351">16.625780000000002</cx:pt>
          <cx:pt idx="352">9.4590899999999998</cx:pt>
          <cx:pt idx="353">15.9192</cx:pt>
          <cx:pt idx="354">18.456</cx:pt>
          <cx:pt idx="355">17.994599999999998</cx:pt>
          <cx:pt idx="356">16.625780000000002</cx:pt>
          <cx:pt idx="357">36.301369999999999</cx:pt>
          <cx:pt idx="358">38.1554</cx:pt>
          <cx:pt idx="359">16.764200000000002</cx:pt>
          <cx:pt idx="360">9.5840999999999994</cx:pt>
          <cx:pt idx="361">12.825000000000001</cx:pt>
          <cx:pt idx="362">4.4870000000000001</cx:pt>
          <cx:pt idx="363">7.8415999999999997</cx:pt>
          <cx:pt idx="364">9.5840999999999994</cx:pt>
          <cx:pt idx="365">5.89949999999999</cx:pt>
          <cx:pt idx="366">38.424100000000003</cx:pt>
          <cx:pt idx="367">12.036</cx:pt>
          <cx:pt idx="368">12.460799999999999</cx:pt>
          <cx:pt idx="369">12.319199999999899</cx:pt>
          <cx:pt idx="370">15.476999999999999</cx:pt>
          <cx:pt idx="371">37.3492999999999</cx:pt>
          <cx:pt idx="372">8.6527999999999992</cx:pt>
          <cx:pt idx="373">16.764200000000002</cx:pt>
          <cx:pt idx="374">11.894399999999999</cx:pt>
          <cx:pt idx="375">10.834199999999999</cx:pt>
          <cx:pt idx="376">10.0008</cx:pt>
          <cx:pt idx="377">38.1554</cx:pt>
          <cx:pt idx="378">36.543199999999999</cx:pt>
          <cx:pt idx="379">15.771799999999999</cx:pt>
          <cx:pt idx="380">9.0583999999999989</cx:pt>
          <cx:pt idx="381">38.692799999999998</cx:pt>
          <cx:pt idx="382">17.0718</cx:pt>
          <cx:pt idx="383">61.263599999999698</cx:pt>
          <cx:pt idx="384">41.917200000000001</cx:pt>
          <cx:pt idx="385">18.778979999999901</cx:pt>
          <cx:pt idx="386">9.722999999999999</cx:pt>
          <cx:pt idx="387">38.424100000000003</cx:pt>
          <cx:pt idx="388">15.491739999999901</cx:pt>
          <cx:pt idx="389">10.139699999999999</cx:pt>
          <cx:pt idx="390">51.052999999999905</cx:pt>
          <cx:pt idx="391">18.302199999999999</cx:pt>
          <cx:pt idx="392">56.158299999999905</cx:pt>
          <cx:pt idx="393">11.894399999999999</cx:pt>
          <cx:pt idx="394">37.080599999999905</cx:pt>
          <cx:pt idx="395">14.0406599999999</cx:pt>
          <cx:pt idx="396">52.127799999999901</cx:pt>
          <cx:pt idx="397">12.050159999999901</cx:pt>
          <cx:pt idx="398">19.378799999999998</cx:pt>
          <cx:pt idx="399">10.6952999999999</cx:pt>
          <cx:pt idx="400">17.702379999999902</cx:pt>
          <cx:pt idx="401">10.57029</cx:pt>
          <cx:pt idx="402">8.7880000000000003</cx:pt>
          <cx:pt idx="403">10.5564</cx:pt>
          <cx:pt idx="404">13.1242499999999</cx:pt>
          <cx:pt idx="405">10.6952999999999</cx:pt>
          <cx:pt idx="406">49.198969999999996</cx:pt>
          <cx:pt idx="407">9.8757900000000003</cx:pt>
          <cx:pt idx="408">12.177599999999899</cx:pt>
          <cx:pt idx="409">12.177599999999899</cx:pt>
          <cx:pt idx="410">52.154669999999903</cx:pt>
          <cx:pt idx="411">6.5549999999999997</cx:pt>
          <cx:pt idx="412">34.662300000000002</cx:pt>
          <cx:pt idx="413">17.3794</cx:pt>
          <cx:pt idx="414">11.4696</cx:pt>
          <cx:pt idx="415">10.431389999999901</cx:pt>
          <cx:pt idx="416">14.0406599999999</cx:pt>
          <cx:pt idx="417">38.961499999999901</cx:pt>
          <cx:pt idx="418">5.89949999999999</cx:pt>
          <cx:pt idx="419">15.786539999999999</cx:pt>
          <cx:pt idx="420">37.886699999999998</cx:pt>
          <cx:pt idx="421">18.3175799999999</cx:pt>
          <cx:pt idx="422">9.4451999999999998</cx:pt>
          <cx:pt idx="423">16.917999999999999</cx:pt>
          <cx:pt idx="424">17.533199999999997</cx:pt>
          <cx:pt idx="425">18.009979999999899</cx:pt>
          <cx:pt idx="426">48.634699999999995</cx:pt>
          <cx:pt idx="427">11.894399999999999</cx:pt>
          <cx:pt idx="428">48.634699999999995</cx:pt>
          <cx:pt idx="429">12.460799999999999</cx:pt>
          <cx:pt idx="430">13.736999999999998</cx:pt>
          <cx:pt idx="431">9.0583999999999989</cx:pt>
          <cx:pt idx="432">19.225000000000001</cx:pt>
          <cx:pt idx="433">36.543199999999999</cx:pt>
          <cx:pt idx="434">46.243269999999995</cx:pt>
          <cx:pt idx="435">16.764200000000002</cx:pt>
          <cx:pt idx="436">35.495269999999898</cx:pt>
          <cx:pt idx="437">15.476999999999999</cx:pt>
          <cx:pt idx="438">15.771799999999999</cx:pt>
          <cx:pt idx="439">42.992000000000004</cx:pt>
          <cx:pt idx="440">16.93338</cx:pt>
          <cx:pt idx="441">7.8415999999999997</cx:pt>
          <cx:pt idx="442">15.491739999999901</cx:pt>
          <cx:pt idx="443">18.009979999999899</cx:pt>
          <cx:pt idx="444">14.74</cx:pt>
          <cx:pt idx="445">17.533199999999997</cx:pt>
          <cx:pt idx="446">8.7880000000000003</cx:pt>
          <cx:pt idx="447">40.86927</cx:pt>
          <cx:pt idx="448">18.3175799999999</cx:pt>
          <cx:pt idx="449">8.6663199999999989</cx:pt>
          <cx:pt idx="450">6.5549999999999997</cx:pt>
          <cx:pt idx="451">46.216399999999901</cx:pt>
          <cx:pt idx="452">13.606859999999902</cx:pt>
          <cx:pt idx="453">11.611199999999899</cx:pt>
          <cx:pt idx="454">14.315399999999901</cx:pt>
          <cx:pt idx="455">8.6527999999999992</cx:pt>
          <cx:pt idx="456">18.6098</cx:pt>
          <cx:pt idx="457">10.986989999999899</cx:pt>
          <cx:pt idx="458">10.6952999999999</cx:pt>
          <cx:pt idx="459">12.319199999999899</cx:pt>
          <cx:pt idx="460">10.7091899999999</cx:pt>
          <cx:pt idx="461">16.94876</cx:pt>
          <cx:pt idx="462">6.4239000000000006</cx:pt>
          <cx:pt idx="463">15.786539999999999</cx:pt>
          <cx:pt idx="464">15.786539999999999</cx:pt>
          <cx:pt idx="465">9.722999999999999</cx:pt>
          <cx:pt idx="466">19.086580000000001</cx:pt>
          <cx:pt idx="467">12.995999999999999</cx:pt>
          <cx:pt idx="468">6.2927999999999997</cx:pt>
          <cx:pt idx="469">15.771799999999999</cx:pt>
          <cx:pt idx="470">19.547980000000003</cx:pt>
          <cx:pt idx="471">8.9232000000000014</cx:pt>
          <cx:pt idx="472">16.917999999999999</cx:pt>
          <cx:pt idx="473">15.19694</cx:pt>
          <cx:pt idx="474">8.2472000000000012</cx:pt>
          <cx:pt idx="475">18.4713799999999</cx:pt>
          <cx:pt idx="476">12.839249999999899</cx:pt>
          <cx:pt idx="477">15.639140000000001</cx:pt>
          <cx:pt idx="478">8.9232000000000014</cx:pt>
          <cx:pt idx="479">42.185899999999997</cx:pt>
          <cx:pt idx="480">17.2256</cx:pt>
          <cx:pt idx="481">10.4175</cx:pt>
          <cx:pt idx="482">12.83925</cx:pt>
          <cx:pt idx="483">42.185899999999997</cx:pt>
          <cx:pt idx="484">6.4370099999999999</cx:pt>
          <cx:pt idx="485">10.834199999999999</cx:pt>
          <cx:pt idx="486">14.1852599999999</cx:pt>
          <cx:pt idx="487">13.1242499999999</cx:pt>
          <cx:pt idx="488">35.737099999999998</cx:pt>
          <cx:pt idx="489">12.319199999999899</cx:pt>
          <cx:pt idx="490">10.834199999999999</cx:pt>
          <cx:pt idx="491">13.1242499999999</cx:pt>
          <cx:pt idx="492">38.692799999999998</cx:pt>
          <cx:pt idx="493">6.8171999999999997</cx:pt>
          <cx:pt idx="494">11.328000000000001</cx:pt>
          <cx:pt idx="495">14.18526</cx:pt>
          <cx:pt idx="496">17.3794</cx:pt>
          <cx:pt idx="497">8.9232000000000014</cx:pt>
          <cx:pt idx="498">12.036</cx:pt>
          <cx:pt idx="499">10.973099999999999</cx:pt>
          <cx:pt idx="500">44.872899999999902</cx:pt>
          <cx:pt idx="501">12.602399999999999</cx:pt>
          <cx:pt idx="502">8.3823999999999987</cx:pt>
          <cx:pt idx="503">48.392869999999697</cx:pt>
          <cx:pt idx="504">13.109999999999999</cx:pt>
          <cx:pt idx="505">12.839249999999899</cx:pt>
          <cx:pt idx="506">17.533199999999997</cx:pt>
          <cx:pt idx="507">17.394779999999898</cx:pt>
          <cx:pt idx="508">42.185899999999997</cx:pt>
          <cx:pt idx="509">12.177599999999899</cx:pt>
          <cx:pt idx="510">35.495269999999898</cx:pt>
          <cx:pt idx="511">12.839249999999899</cx:pt>
          <cx:pt idx="512">10.57029</cx:pt>
          <cx:pt idx="513">15.786539999999999</cx:pt>
          <cx:pt idx="514">5.5061999999999998</cx:pt>
          <cx:pt idx="515">16.625780000000002</cx:pt>
          <cx:pt idx="516">47.022500000000001</cx:pt>
          <cx:pt idx="517">14.74</cx:pt>
          <cx:pt idx="518">10.6952999999999</cx:pt>
          <cx:pt idx="519">15.786539999999999</cx:pt>
          <cx:pt idx="520">17.687000000000001</cx:pt>
          <cx:pt idx="521">17.0718</cx:pt>
          <cx:pt idx="522">13.1242499999999</cx:pt>
          <cx:pt idx="523">10.7091899999999</cx:pt>
          <cx:pt idx="524">9.722999999999999</cx:pt>
          <cx:pt idx="525">18.4713799999999</cx:pt>
          <cx:pt idx="526">9.8619000000000003</cx:pt>
          <cx:pt idx="527">36.032670000000003</cx:pt>
          <cx:pt idx="528">51.590399999999704</cx:pt>
          <cx:pt idx="529">15.771799999999999</cx:pt>
          <cx:pt idx="530">10.139699999999999</cx:pt>
          <cx:pt idx="531">11.4696</cx:pt>
          <cx:pt idx="532">8.3823999999999987</cx:pt>
          <cx:pt idx="533">7.3008000000000006</cx:pt>
          <cx:pt idx="534">11.752799999999999</cx:pt>
          <cx:pt idx="535">12.839249999999899</cx:pt>
          <cx:pt idx="536">40.305</cx:pt>
          <cx:pt idx="537">18.009979999999899</cx:pt>
          <cx:pt idx="538">10.834199999999999</cx:pt>
          <cx:pt idx="539">8.3823999999999987</cx:pt>
          <cx:pt idx="540">10.278600000000001</cx:pt>
          <cx:pt idx="541">12.333360000000001</cx:pt>
          <cx:pt idx="542">19.240380000000002</cx:pt>
          <cx:pt idx="543">47.291200000000003</cx:pt>
          <cx:pt idx="544">18.302199999999999</cx:pt>
          <cx:pt idx="545">4.2305999999999999</cx:pt>
          <cx:pt idx="546">10.834199999999999</cx:pt>
          <cx:pt idx="547">13.751459999999899</cx:pt>
          <cx:pt idx="548">17.2256</cx:pt>
          <cx:pt idx="549">12.825000000000001</cx:pt>
          <cx:pt idx="550">15.786539999999999</cx:pt>
          <cx:pt idx="551">13.881599999999999</cx:pt>
          <cx:pt idx="552">10.834199999999999</cx:pt>
          <cx:pt idx="553">14.75474</cx:pt>
          <cx:pt idx="554">15.476999999999999</cx:pt>
          <cx:pt idx="555">44.335500000000003</cx:pt>
          <cx:pt idx="556">17.702379999999902</cx:pt>
          <cx:pt idx="557">11.625359999999899</cx:pt>
          <cx:pt idx="558">10.834199999999999</cx:pt>
          <cx:pt idx="559">19.071199999999997</cx:pt>
          <cx:pt idx="560">39.498899999999999</cx:pt>
          <cx:pt idx="561">18.009979999999899</cx:pt>
          <cx:pt idx="562">11.328000000000001</cx:pt>
          <cx:pt idx="563">35.1997</cx:pt>
          <cx:pt idx="564">8.9232000000000014</cx:pt>
          <cx:pt idx="565">10.6952999999999</cx:pt>
          <cx:pt idx="566">9.8619000000000003</cx:pt>
          <cx:pt idx="567">10.292490000000001</cx:pt>
          <cx:pt idx="568">15.786539999999999</cx:pt>
          <cx:pt idx="569">17.687000000000001</cx:pt>
          <cx:pt idx="570">58.845299999999902</cx:pt>
          <cx:pt idx="571">14.0406599999999</cx:pt>
          <cx:pt idx="572">5.89949999999999</cx:pt>
          <cx:pt idx="573">39.230199999999897</cx:pt>
          <cx:pt idx="574">8.1120000000000001</cx:pt>
          <cx:pt idx="575">14.0261999999999</cx:pt>
          <cx:pt idx="576">13.881599999999999</cx:pt>
          <cx:pt idx="577">17.2256</cx:pt>
          <cx:pt idx="578">17.3794</cx:pt>
          <cx:pt idx="579">17.24098</cx:pt>
          <cx:pt idx="580">9.8619000000000003</cx:pt>
          <cx:pt idx="581">13.462259999999901</cx:pt>
          <cx:pt idx="582">5.7683999999999997</cx:pt>
          <cx:pt idx="583">10.834199999999999</cx:pt>
          <cx:pt idx="584">14.0406599999999</cx:pt>
          <cx:pt idx="585">19.547980000000003</cx:pt>
          <cx:pt idx="586">8.1120000000000001</cx:pt>
          <cx:pt idx="587">65.294099999999702</cx:pt>
          <cx:pt idx="588">4.2305999999999999</cx:pt>
          <cx:pt idx="589">35.495269999999898</cx:pt>
          <cx:pt idx="590">15.344340000000001</cx:pt>
          <cx:pt idx="591">9.722999999999999</cx:pt>
          <cx:pt idx="592">51.859100000000005</cx:pt>
          <cx:pt idx="593">16.93338</cx:pt>
          <cx:pt idx="594">18.456</cx:pt>
          <cx:pt idx="595">10.834199999999999</cx:pt>
          <cx:pt idx="596">15.786539999999999</cx:pt>
          <cx:pt idx="597">7.3008000000000006</cx:pt>
          <cx:pt idx="598">37.886699999999998</cx:pt>
          <cx:pt idx="599">12.036</cx:pt>
          <cx:pt idx="600">5.89949999999999</cx:pt>
          <cx:pt idx="601">6.2927999999999997</cx:pt>
          <cx:pt idx="602">13.592399999999898</cx:pt>
          <cx:pt idx="603">11.894399999999999</cx:pt>
          <cx:pt idx="604">40.600570000000005</cx:pt>
          <cx:pt idx="605">7.3008000000000006</cx:pt>
          <cx:pt idx="606">56.426999999999708</cx:pt>
          <cx:pt idx="607">36.274499999999996</cx:pt>
          <cx:pt idx="608">9.5840999999999994</cx:pt>
          <cx:pt idx="609">7.1655999999999995</cx:pt>
          <cx:pt idx="610">13.447799999999999</cx:pt>
          <cx:pt idx="611">11.611199999999899</cx:pt>
          <cx:pt idx="612">46.753799999999998</cx:pt>
          <cx:pt idx="613">15.771799999999999</cx:pt>
          <cx:pt idx="614">46.216399999999901</cx:pt>
          <cx:pt idx="615">15.668620000000001</cx:pt>
          <cx:pt idx="616">15.9192</cx:pt>
          <cx:pt idx="617">40.573700000000002</cx:pt>
          <cx:pt idx="618">10.278600000000001</cx:pt>
          <cx:pt idx="619">18.456</cx:pt>
          <cx:pt idx="620">6.2927999999999997</cx:pt>
          <cx:pt idx="621">6.6860999999999908</cx:pt>
          <cx:pt idx="622">13.881599999999999</cx:pt>
          <cx:pt idx="623">10.5564</cx:pt>
          <cx:pt idx="624">18.456</cx:pt>
          <cx:pt idx="625">46.780670000000001</cx:pt>
          <cx:pt idx="626">47.291200000000003</cx:pt>
          <cx:pt idx="627">5.63729999999999</cx:pt>
          <cx:pt idx="628">4.6151999999999997</cx:pt>
          <cx:pt idx="629">58.039200000000001</cx:pt>
          <cx:pt idx="630">8.1120000000000001</cx:pt>
          <cx:pt idx="631">10.6952999999999</cx:pt>
          <cx:pt idx="632">11.894399999999999</cx:pt>
          <cx:pt idx="633">10.306379999999999</cx:pt>
          <cx:pt idx="634">36.543199999999999</cx:pt>
          <cx:pt idx="635">10.973099999999999</cx:pt>
          <cx:pt idx="636">8.9232000000000014</cx:pt>
          <cx:pt idx="637">14.74</cx:pt>
          <cx:pt idx="638">18.7636</cx:pt>
          <cx:pt idx="639">9.5840999999999994</cx:pt>
          <cx:pt idx="640">11.4696</cx:pt>
          <cx:pt idx="641">52.933899999999902</cx:pt>
          <cx:pt idx="642">35.1997</cx:pt>
          <cx:pt idx="643">46.216399999999901</cx:pt>
          <cx:pt idx="644">18.6098</cx:pt>
          <cx:pt idx="645">37.91357</cx:pt>
          <cx:pt idx="646">9.5840999999999994</cx:pt>
          <cx:pt idx="647">47.291200000000003</cx:pt>
          <cx:pt idx="648">35.468400000000003</cx:pt>
          <cx:pt idx="649">45.4102999999999</cx:pt>
          <cx:pt idx="650">10.0008</cx:pt>
          <cx:pt idx="651">11.766959999999999</cx:pt>
          <cx:pt idx="652">42.454599999999999</cx:pt>
          <cx:pt idx="653">4.4870000000000001</cx:pt>
          <cx:pt idx="654">9.0583999999999989</cx:pt>
          <cx:pt idx="655">17.687000000000001</cx:pt>
          <cx:pt idx="656">15.04954</cx:pt>
          <cx:pt idx="657">11.752799999999999</cx:pt>
          <cx:pt idx="658">9.8619000000000003</cx:pt>
          <cx:pt idx="659">38.692799999999998</cx:pt>
          <cx:pt idx="660">52.127799999999901</cx:pt>
          <cx:pt idx="661">56.964399999999905</cx:pt>
          <cx:pt idx="662">10.4175</cx:pt>
          <cx:pt idx="663">36.274499999999996</cx:pt>
          <cx:pt idx="664">14.3154</cx:pt>
          <cx:pt idx="665">17.994599999999998</cx:pt>
          <cx:pt idx="666">8.9232000000000014</cx:pt>
          <cx:pt idx="667">8.3823999999999987</cx:pt>
          <cx:pt idx="668">10.973099999999999</cx:pt>
          <cx:pt idx="669">6.03059999999999</cx:pt>
          <cx:pt idx="670">9.4590899999999998</cx:pt>
          <cx:pt idx="671">6.03059999999999</cx:pt>
          <cx:pt idx="672">17.0718</cx:pt>
          <cx:pt idx="673">6.03059999999999</cx:pt>
          <cx:pt idx="674">16.764200000000002</cx:pt>
          <cx:pt idx="675">13.896059999999899</cx:pt>
          <cx:pt idx="676">9.722999999999999</cx:pt>
          <cx:pt idx="677">39.230199999999897</cx:pt>
          <cx:pt idx="678">4.1023999999999994</cx:pt>
          <cx:pt idx="679">10.6952999999999</cx:pt>
          <cx:pt idx="680">17.0718</cx:pt>
          <cx:pt idx="681">42.185899999999997</cx:pt>
          <cx:pt idx="682">13.736999999999998</cx:pt>
          <cx:pt idx="683">19.378799999999998</cx:pt>
          <cx:pt idx="684">11.4696</cx:pt>
          <cx:pt idx="685">34.930999999999997</cx:pt>
          <cx:pt idx="686">12.191759999999901</cx:pt>
          <cx:pt idx="687">10.6952999999999</cx:pt>
          <cx:pt idx="688">13.896059999999999</cx:pt>
          <cx:pt idx="689">11.328000000000001</cx:pt>
          <cx:pt idx="690">37.886699999999998</cx:pt>
          <cx:pt idx="691">11.611199999999899</cx:pt>
          <cx:pt idx="692">7.8415999999999997</cx:pt>
          <cx:pt idx="693">47.318069999999899</cx:pt>
          <cx:pt idx="694">58.307899999999705</cx:pt>
          <cx:pt idx="695">39.525770000000001</cx:pt>
          <cx:pt idx="696">10.6952999999999</cx:pt>
          <cx:pt idx="697">47.291200000000003</cx:pt>
          <cx:pt idx="698">5.63729999999999</cx:pt>
          <cx:pt idx="699">34.930999999999997</cx:pt>
          <cx:pt idx="700">19.378799999999998</cx:pt>
          <cx:pt idx="701">38.988370000000003</cx:pt>
          <cx:pt idx="702">17.702379999999902</cx:pt>
          <cx:pt idx="703">3.2178199999999997</cx:pt>
          <cx:pt idx="704">6.03059999999999</cx:pt>
          <cx:pt idx="705">9.3201899999999789</cx:pt>
          <cx:pt idx="706">17.687000000000001</cx:pt>
          <cx:pt idx="707">38.424100000000003</cx:pt>
          <cx:pt idx="708">17.2256</cx:pt>
          <cx:pt idx="709">14.1852599999999</cx:pt>
          <cx:pt idx="710">11.894399999999999</cx:pt>
          <cx:pt idx="711">42.992000000000004</cx:pt>
          <cx:pt idx="712">9.8619000000000003</cx:pt>
          <cx:pt idx="713">14.0261999999999</cx:pt>
          <cx:pt idx="714">17.840799999999902</cx:pt>
          <cx:pt idx="715">40.331869999999995</cx:pt>
          <cx:pt idx="716">34.689170000000004</cx:pt>
          <cx:pt idx="717">18.917400000000001</cx:pt>
          <cx:pt idx="718">3.4742199999999896</cx:pt>
          <cx:pt idx="719">15.771799999999999</cx:pt>
          <cx:pt idx="720">46.485100000000003</cx:pt>
          <cx:pt idx="721">7.5712000000000002</cx:pt>
          <cx:pt idx="722">19.547980000000003</cx:pt>
          <cx:pt idx="723">9.5979900000000011</cx:pt>
          <cx:pt idx="724">51.052999999999905</cx:pt>
          <cx:pt idx="725">5.89949999999999</cx:pt>
          <cx:pt idx="726">7.1655999999999995</cx:pt>
          <cx:pt idx="727">44.066799999999901</cx:pt>
          <cx:pt idx="728">16.764200000000002</cx:pt>
          <cx:pt idx="729">17.3794</cx:pt>
          <cx:pt idx="730">34.662300000000002</cx:pt>
          <cx:pt idx="731">10.6952999999999</cx:pt>
          <cx:pt idx="732">9.7368899999999794</cx:pt>
          <cx:pt idx="733">39.525770000000001</cx:pt>
          <cx:pt idx="734">13.1242499999999</cx:pt>
          <cx:pt idx="735">35.1997</cx:pt>
          <cx:pt idx="736">35.737099999999998</cx:pt>
          <cx:pt idx="737">10.834199999999999</cx:pt>
          <cx:pt idx="738">18.148399999999899</cx:pt>
          <cx:pt idx="739">19.701779999999999</cx:pt>
          <cx:pt idx="740">42.992000000000004</cx:pt>
          <cx:pt idx="741">39.498899999999999</cx:pt>
          <cx:pt idx="742">10.973099999999999</cx:pt>
          <cx:pt idx="743">14.1708</cx:pt>
          <cx:pt idx="744">15.9192</cx:pt>
          <cx:pt idx="745">9.722999999999999</cx:pt>
          <cx:pt idx="746">37.618000000000002</cx:pt>
          <cx:pt idx="747">15.491739999999901</cx:pt>
          <cx:pt idx="748">8.9232000000000014</cx:pt>
          <cx:pt idx="749">10.6952999999999</cx:pt>
          <cx:pt idx="750">12.967500000000001</cx:pt>
          <cx:pt idx="751">5.89949999999999</cx:pt>
          <cx:pt idx="752">17.3794</cx:pt>
          <cx:pt idx="753">10.6952999999999</cx:pt>
          <cx:pt idx="754">18.917400000000001</cx:pt>
          <cx:pt idx="755">10.5564</cx:pt>
          <cx:pt idx="756">12.319199999999899</cx:pt>
          <cx:pt idx="757">46.243269999999995</cx:pt>
          <cx:pt idx="758">34.930999999999997</cx:pt>
          <cx:pt idx="759">15.771799999999999</cx:pt>
          <cx:pt idx="760">38.1554</cx:pt>
          <cx:pt idx="761">13.881599999999999</cx:pt>
          <cx:pt idx="762">44.362369999999999</cx:pt>
          <cx:pt idx="763">8.1120000000000001</cx:pt>
          <cx:pt idx="764">10.973099999999999</cx:pt>
          <cx:pt idx="765">4.9998000000000005</cx:pt>
          <cx:pt idx="766">17.533199999999997</cx:pt>
          <cx:pt idx="767">6.03059999999999</cx:pt>
          <cx:pt idx="768">1.6794199999999999</cx:pt>
          <cx:pt idx="769">36.274499999999996</cx:pt>
          <cx:pt idx="770">17.687000000000001</cx:pt>
          <cx:pt idx="771">9.722999999999999</cx:pt>
          <cx:pt idx="772">36.301369999999999</cx:pt>
          <cx:pt idx="773">15.491739999999901</cx:pt>
          <cx:pt idx="774">10.139699999999999</cx:pt>
          <cx:pt idx="775">11.4696</cx:pt>
          <cx:pt idx="776">12.98175</cx:pt>
          <cx:pt idx="777">41.379800000000003</cx:pt>
          <cx:pt idx="778">37.080599999999905</cx:pt>
          <cx:pt idx="779">14.0261999999999</cx:pt>
          <cx:pt idx="780">48.93027</cx:pt>
          <cx:pt idx="781">5.89949999999999</cx:pt>
          <cx:pt idx="782">14.8873999999999</cx:pt>
          <cx:pt idx="783">14.75474</cx:pt>
          <cx:pt idx="784">10.278600000000001</cx:pt>
          <cx:pt idx="785">17.3794</cx:pt>
          <cx:pt idx="786">7.8415999999999997</cx:pt>
          <cx:pt idx="787">11.894399999999999</cx:pt>
          <cx:pt idx="788">13.1242499999999</cx:pt>
          <cx:pt idx="789">10.278600000000001</cx:pt>
          <cx:pt idx="790">38.961499999999901</cx:pt>
          <cx:pt idx="791">13.109999999999999</cx:pt>
          <cx:pt idx="792">47.291200000000003</cx:pt>
          <cx:pt idx="793">10.57029</cx:pt>
          <cx:pt idx="794">18.148399999999899</cx:pt>
          <cx:pt idx="795">13.447799999999999</cx:pt>
          <cx:pt idx="796">10.834199999999999</cx:pt>
          <cx:pt idx="797">13.5924</cx:pt>
          <cx:pt idx="798">5.5193099999999999</cx:pt>
          <cx:pt idx="799">9.4451999999999998</cx:pt>
          <cx:pt idx="800">8.9232000000000014</cx:pt>
          <cx:pt idx="801">9.0583999999999989</cx:pt>
          <cx:pt idx="802">2.8332199999999998</cx:pt>
          <cx:pt idx="803">35.737099999999998</cx:pt>
          <cx:pt idx="804">12.177599999999899</cx:pt>
          <cx:pt idx="805">42.454599999999999</cx:pt>
          <cx:pt idx="806">8.5175999999999998</cx:pt>
          <cx:pt idx="807">17.533199999999997</cx:pt>
          <cx:pt idx="808">6.03059999999999</cx:pt>
          <cx:pt idx="809">19.240380000000002</cx:pt>
          <cx:pt idx="810">41.917200000000001</cx:pt>
          <cx:pt idx="811">11.92272</cx:pt>
          <cx:pt idx="812">17.533199999999997</cx:pt>
          <cx:pt idx="813">14.0406599999999</cx:pt>
          <cx:pt idx="814">11.328000000000001</cx:pt>
          <cx:pt idx="815">13.896059999999999</cx:pt>
          <cx:pt idx="816">4.8715999999999999</cx:pt>
          <cx:pt idx="817">17.533199999999997</cx:pt>
          <cx:pt idx="818">8.6663199999999989</cx:pt>
          <cx:pt idx="819">11.625359999999899</cx:pt>
          <cx:pt idx="820">9.7368899999999989</cx:pt>
          <cx:pt idx="821">5.89949999999999</cx:pt>
          <cx:pt idx="822">40.573700000000002</cx:pt>
          <cx:pt idx="823">2.1794000000000002</cx:pt>
          <cx:pt idx="824">16.917999999999999</cx:pt>
          <cx:pt idx="825">10.4175</cx:pt>
          <cx:pt idx="826">7.3143200000000004</cx:pt>
          <cx:pt idx="827">19.225000000000001</cx:pt>
          <cx:pt idx="828">13.881599999999899</cx:pt>
          <cx:pt idx="829">15.04954</cx:pt>
          <cx:pt idx="830">36.005800000000001</cx:pt>
          <cx:pt idx="831">15.786539999999999</cx:pt>
          <cx:pt idx="832">19.532599999999999</cx:pt>
          <cx:pt idx="833">12.177599999999899</cx:pt>
          <cx:pt idx="834">10.834199999999999</cx:pt>
          <cx:pt idx="835">7.5712000000000002</cx:pt>
          <cx:pt idx="836">10.6952999999999</cx:pt>
          <cx:pt idx="837">15.9192</cx:pt>
          <cx:pt idx="838">13.896059999999999</cx:pt>
          <cx:pt idx="839">38.424100000000003</cx:pt>
          <cx:pt idx="840">11.4696</cx:pt>
          <cx:pt idx="841">11.4696</cx:pt>
          <cx:pt idx="842">15.771799999999999</cx:pt>
          <cx:pt idx="843">19.686400000000003</cx:pt>
          <cx:pt idx="844">9.5840999999999994</cx:pt>
          <cx:pt idx="845">10.834199999999999</cx:pt>
          <cx:pt idx="846">17.24098</cx:pt>
          <cx:pt idx="847">38.961499999999901</cx:pt>
          <cx:pt idx="848">14.1852599999999</cx:pt>
          <cx:pt idx="849">8.6527999999999992</cx:pt>
          <cx:pt idx="850">13.881599999999899</cx:pt>
          <cx:pt idx="851">5.89949999999999</cx:pt>
          <cx:pt idx="852">11.328000000000001</cx:pt>
          <cx:pt idx="853">3.34601999999999</cx:pt>
          <cx:pt idx="854">38.182270000000003</cx:pt>
          <cx:pt idx="855">11.4696</cx:pt>
          <cx:pt idx="856">6.2927999999999997</cx:pt>
          <cx:pt idx="857">41.917200000000001</cx:pt>
          <cx:pt idx="858">7.4359999999999999</cx:pt>
          <cx:pt idx="859">40.305</cx:pt>
          <cx:pt idx="860">9.722999999999999</cx:pt>
          <cx:pt idx="861">38.692799999999998</cx:pt>
          <cx:pt idx="862">10.0008</cx:pt>
          <cx:pt idx="863">15.182200000000002</cx:pt>
          <cx:pt idx="864">13.447799999999999</cx:pt>
          <cx:pt idx="865">17.0718</cx:pt>
          <cx:pt idx="866">4.6280199999999905</cx:pt>
          <cx:pt idx="867">9.4590899999999998</cx:pt>
          <cx:pt idx="868">39.767599999999995</cx:pt>
          <cx:pt idx="869">48.93027</cx:pt>
          <cx:pt idx="870">4.8715999999999999</cx:pt>
          <cx:pt idx="871">17.994599999999998</cx:pt>
          <cx:pt idx="872">38.1554</cx:pt>
          <cx:pt idx="873">38.692799999999998</cx:pt>
          <cx:pt idx="874">14.607339999999899</cx:pt>
          <cx:pt idx="875">17.687000000000001</cx:pt>
          <cx:pt idx="876">8.80152</cx:pt>
          <cx:pt idx="877">9.0583999999999989</cx:pt>
          <cx:pt idx="878">10.6952999999999</cx:pt>
          <cx:pt idx="879">40.06317</cx:pt>
          <cx:pt idx="880">15.9192</cx:pt>
          <cx:pt idx="881">5.2561999999999998</cx:pt>
          <cx:pt idx="882">8.2472000000000012</cx:pt>
          <cx:pt idx="883">42.185899999999997</cx:pt>
          <cx:pt idx="884">9.4451999999999998</cx:pt>
          <cx:pt idx="885">14.0261999999999</cx:pt>
          <cx:pt idx="886">6.5549999999999997</cx:pt>
          <cx:pt idx="887">19.378799999999998</cx:pt>
          <cx:pt idx="888">11.894399999999999</cx:pt>
          <cx:pt idx="889">8.7880000000000003</cx:pt>
          <cx:pt idx="890">16.779579999999999</cx:pt>
          <cx:pt idx="891">12.967500000000001</cx:pt>
          <cx:pt idx="892">13.462259999999901</cx:pt>
          <cx:pt idx="893">49.198969999999996</cx:pt>
          <cx:pt idx="894">10.139699999999999</cx:pt>
          <cx:pt idx="895">14.0406599999999</cx:pt>
          <cx:pt idx="896">12.602399999999999</cx:pt>
          <cx:pt idx="897">16.917999999999999</cx:pt>
          <cx:pt idx="898">15.786539999999999</cx:pt>
          <cx:pt idx="899">13.751459999999899</cx:pt>
          <cx:pt idx="900">6.03059999999999</cx:pt>
          <cx:pt idx="901">6.4239000000000006</cx:pt>
          <cx:pt idx="902">7.7199199999999992</cx:pt>
          <cx:pt idx="903">11.611199999999899</cx:pt>
          <cx:pt idx="904">42.723299999999995</cx:pt>
          <cx:pt idx="905">8.9232000000000014</cx:pt>
          <cx:pt idx="906">3.60242</cx:pt>
          <cx:pt idx="907">38.988370000000003</cx:pt>
          <cx:pt idx="908">10.431389999999901</cx:pt>
          <cx:pt idx="909">9.722999999999999</cx:pt>
          <cx:pt idx="910">4.6151999999999997</cx:pt>
          <cx:pt idx="911">12.967500000000001</cx:pt>
          <cx:pt idx="912">14.0406599999999</cx:pt>
          <cx:pt idx="913">15.771799999999999</cx:pt>
          <cx:pt idx="914">7.3008000000000006</cx:pt>
          <cx:pt idx="915">11.8943999999999</cx:pt>
          <cx:pt idx="916">10.7091899999999</cx:pt>
          <cx:pt idx="917">19.225000000000001</cx:pt>
          <cx:pt idx="918">42.508339999999698</cx:pt>
          <cx:pt idx="919">17.3794</cx:pt>
          <cx:pt idx="920">14.8873999999999</cx:pt>
          <cx:pt idx="921">40.842399999999998</cx:pt>
          <cx:pt idx="922">19.378799999999998</cx:pt>
          <cx:pt idx="923">18.3175799999999</cx:pt>
          <cx:pt idx="924">18.4713799999999</cx:pt>
          <cx:pt idx="925">9.5840999999999994</cx:pt>
          <cx:pt idx="926">43.529399999999903</cx:pt>
          <cx:pt idx="927">13.447799999999999</cx:pt>
          <cx:pt idx="928">18.4713799999999</cx:pt>
          <cx:pt idx="929">13.736999999999998</cx:pt>
          <cx:pt idx="930">10.139699999999999</cx:pt>
          <cx:pt idx="931">9.8619000000000003</cx:pt>
          <cx:pt idx="932">18.7636</cx:pt>
          <cx:pt idx="933">38.961499999999901</cx:pt>
          <cx:pt idx="934">18.4713799999999</cx:pt>
          <cx:pt idx="935">10.278600000000001</cx:pt>
          <cx:pt idx="936">10.834199999999999</cx:pt>
          <cx:pt idx="937">7.1655999999999995</cx:pt>
          <cx:pt idx="938">10.7091899999999</cx:pt>
          <cx:pt idx="939">19.532599999999999</cx:pt>
          <cx:pt idx="940">7.7063999999999995</cx:pt>
          <cx:pt idx="941">15.491739999999901</cx:pt>
          <cx:pt idx="942">11.328000000000001</cx:pt>
          <cx:pt idx="943">12.967500000000001</cx:pt>
          <cx:pt idx="944">18.917400000000001</cx:pt>
          <cx:pt idx="945">12.967500000000001</cx:pt>
          <cx:pt idx="946">42.212769999999999</cx:pt>
          <cx:pt idx="947">13.5924</cx:pt>
          <cx:pt idx="948">15.786539999999999</cx:pt>
          <cx:pt idx="949">12.839249999999899</cx:pt>
          <cx:pt idx="950">11.328000000000001</cx:pt>
          <cx:pt idx="951">9.5840999999999994</cx:pt>
          <cx:pt idx="952">10.0008</cx:pt>
          <cx:pt idx="953">38.424100000000003</cx:pt>
          <cx:pt idx="954">18.6098</cx:pt>
          <cx:pt idx="955">16.625780000000002</cx:pt>
          <cx:pt idx="956">8.9232000000000014</cx:pt>
          <cx:pt idx="957">18.302199999999999</cx:pt>
          <cx:pt idx="958">11.4696</cx:pt>
          <cx:pt idx="959">4.4870000000000001</cx:pt>
          <cx:pt idx="960">45.141599999999997</cx:pt>
          <cx:pt idx="961">39.794469999999997</cx:pt>
          <cx:pt idx="962">48.634699999999995</cx:pt>
          <cx:pt idx="963">11.894399999999999</cx:pt>
          <cx:pt idx="964">10.0008</cx:pt>
          <cx:pt idx="965">13.736999999999899</cx:pt>
          <cx:pt idx="966">37.644870000000004</cx:pt>
          <cx:pt idx="967">40.842399999999998</cx:pt>
          <cx:pt idx="968">9.8619000000000003</cx:pt>
          <cx:pt idx="969">6.03059999999999</cx:pt>
          <cx:pt idx="970">3.4742199999999896</cx:pt>
          <cx:pt idx="971">11.752799999999999</cx:pt>
          <cx:pt idx="972">43.82497</cx:pt>
          <cx:pt idx="973">9.8619000000000003</cx:pt>
          <cx:pt idx="974">17.533199999999997</cx:pt>
          <cx:pt idx="975">44.066799999999901</cx:pt>
          <cx:pt idx="976">37.644870000000004</cx:pt>
          <cx:pt idx="977">18.3175799999999</cx:pt>
          <cx:pt idx="978">7.7063999999999995</cx:pt>
          <cx:pt idx="979">5.89949999999999</cx:pt>
          <cx:pt idx="980">17.533199999999997</cx:pt>
          <cx:pt idx="981">5.7683999999999997</cx:pt>
          <cx:pt idx="982">17.533199999999997</cx:pt>
          <cx:pt idx="983">7.8415999999999997</cx:pt>
          <cx:pt idx="984">10.973099999999999</cx:pt>
          <cx:pt idx="985">10.431389999999901</cx:pt>
          <cx:pt idx="986">48.097299999999898</cx:pt>
          <cx:pt idx="987">19.071199999999997</cx:pt>
          <cx:pt idx="988">11.4696</cx:pt>
          <cx:pt idx="989">49.440800000000003</cx:pt>
          <cx:pt idx="990">12.177599999999899</cx:pt>
          <cx:pt idx="991">45.141599999999997</cx:pt>
          <cx:pt idx="992">11.4696</cx:pt>
          <cx:pt idx="993">8.5175999999999998</cx:pt>
          <cx:pt idx="994">13.1242499999999</cx:pt>
          <cx:pt idx="995">17.0718</cx:pt>
          <cx:pt idx="996">18.6098</cx:pt>
          <cx:pt idx="997">13.109999999999999</cx:pt>
          <cx:pt idx="998">10.431389999999901</cx:pt>
          <cx:pt idx="999">9.0583999999999989</cx:pt>
          <cx:pt idx="1000">18.6098</cx:pt>
          <cx:pt idx="1001">11.625360000000001</cx:pt>
          <cx:pt idx="1002">19.532599999999999</cx:pt>
          <cx:pt idx="1003">14.0406599999999</cx:pt>
          <cx:pt idx="1004">8.2472000000000012</cx:pt>
          <cx:pt idx="1005">14.1708</cx:pt>
          <cx:pt idx="1006">10.834199999999999</cx:pt>
          <cx:pt idx="1007">8.6527999999999992</cx:pt>
          <cx:pt idx="1008">54.8147999999997</cx:pt>
          <cx:pt idx="1009">14.0406599999999</cx:pt>
          <cx:pt idx="1010">7.7199199999999992</cx:pt>
          <cx:pt idx="1011">12.177599999999899</cx:pt>
          <cx:pt idx="1012">5.7683999999999997</cx:pt>
          <cx:pt idx="1013">39.498899999999999</cx:pt>
          <cx:pt idx="1014">6.03059999999999</cx:pt>
          <cx:pt idx="1015">9.4451999999999998</cx:pt>
          <cx:pt idx="1016">37.080599999999905</cx:pt>
          <cx:pt idx="1017">6.4239000000000006</cx:pt>
          <cx:pt idx="1018">18.456</cx:pt>
          <cx:pt idx="1019">60.994899999999696</cx:pt>
          <cx:pt idx="1020">11.4696</cx:pt>
          <cx:pt idx="1021">8.9367199999999993</cx:pt>
          <cx:pt idx="1022">36.838769999999997</cx:pt>
          <cx:pt idx="1023">4.6151999999999997</cx:pt>
          <cx:pt idx="1024">15.9192</cx:pt>
          <cx:pt idx="1025">3.7178000000000004</cx:pt>
          <cx:pt idx="1026">10.973099999999999</cx:pt>
          <cx:pt idx="1027">40.86927</cx:pt>
          <cx:pt idx="1028">45.141599999999997</cx:pt>
          <cx:pt idx="1029">6.03059999999999</cx:pt>
          <cx:pt idx="1030">4.9998000000000005</cx:pt>
          <cx:pt idx="1031">17.08718</cx:pt>
          <cx:pt idx="1032">52.127799999999901</cx:pt>
          <cx:pt idx="1033">37.080599999999905</cx:pt>
          <cx:pt idx="1034">18.009979999999899</cx:pt>
          <cx:pt idx="1035">14.8873999999999</cx:pt>
          <cx:pt idx="1036">14.1707999999999</cx:pt>
          <cx:pt idx="1037">10.4175</cx:pt>
          <cx:pt idx="1038">13.1242499999999</cx:pt>
          <cx:pt idx="1039">8.9232000000000014</cx:pt>
          <cx:pt idx="1040">11.4696</cx:pt>
          <cx:pt idx="1041">17.0718</cx:pt>
          <cx:pt idx="1042">13.1242499999999</cx:pt>
          <cx:pt idx="1043">15.786539999999999</cx:pt>
          <cx:pt idx="1044">15.639140000000001</cx:pt>
          <cx:pt idx="1045">16.917999999999999</cx:pt>
          <cx:pt idx="1046">13.751459999999899</cx:pt>
          <cx:pt idx="1047">10.4175</cx:pt>
          <cx:pt idx="1048">44.066799999999901</cx:pt>
          <cx:pt idx="1049">12.036</cx:pt>
          <cx:pt idx="1050">10.0008</cx:pt>
          <cx:pt idx="1051">8.9232000000000014</cx:pt>
          <cx:pt idx="1052">39.498899999999999</cx:pt>
          <cx:pt idx="1053">40.305</cx:pt>
          <cx:pt idx="1054">9.0583999999999989</cx:pt>
          <cx:pt idx="1055">8.2472000000000012</cx:pt>
          <cx:pt idx="1056">9.5840999999999994</cx:pt>
          <cx:pt idx="1057">17.994599999999998</cx:pt>
          <cx:pt idx="1058">6.5549999999999997</cx:pt>
          <cx:pt idx="1059">19.532599999999999</cx:pt>
          <cx:pt idx="1060">52.127799999999901</cx:pt>
          <cx:pt idx="1061">14.315399999999901</cx:pt>
          <cx:pt idx="1062">9.5840999999999994</cx:pt>
          <cx:pt idx="1063">19.071199999999997</cx:pt>
          <cx:pt idx="1064">19.532599999999999</cx:pt>
          <cx:pt idx="1065">17.3794</cx:pt>
          <cx:pt idx="1066">35.468400000000003</cx:pt>
          <cx:pt idx="1067">8.6527999999999992</cx:pt>
          <cx:pt idx="1068">7.9903199999999996</cx:pt>
          <cx:pt idx="1069">10.278600000000001</cx:pt>
          <cx:pt idx="1070">47.559899999999999</cx:pt>
          <cx:pt idx="1071">15.034799999999901</cx:pt>
          <cx:pt idx="1072">11.752799999999999</cx:pt>
          <cx:pt idx="1073">17.3794</cx:pt>
          <cx:pt idx="1074">5.5061999999999998</cx:pt>
          <cx:pt idx="1075">18.009979999999899</cx:pt>
          <cx:pt idx="1076">17.24098</cx:pt>
          <cx:pt idx="1077">37.080599999999905</cx:pt>
          <cx:pt idx="1078">11.4696</cx:pt>
          <cx:pt idx="1079">5.2690199999999905</cx:pt>
          <cx:pt idx="1080">18.04074</cx:pt>
          <cx:pt idx="1081">11.752799999999999</cx:pt>
          <cx:pt idx="1082">10.4175</cx:pt>
          <cx:pt idx="1083">12.333360000000001</cx:pt>
          <cx:pt idx="1084">11.611199999999899</cx:pt>
          <cx:pt idx="1085">19.086580000000001</cx:pt>
          <cx:pt idx="1086">7.3008000000000006</cx:pt>
          <cx:pt idx="1087">15.491739999999901</cx:pt>
          <cx:pt idx="1088">12.602399999999999</cx:pt>
          <cx:pt idx="1089">41.648499999999999</cx:pt>
          <cx:pt idx="1090">19.532599999999999</cx:pt>
          <cx:pt idx="1091">17.702379999999902</cx:pt>
          <cx:pt idx="1092">8.7880000000000003</cx:pt>
          <cx:pt idx="1093">9.5840999999999994</cx:pt>
          <cx:pt idx="1094">6.4239000000000006</cx:pt>
          <cx:pt idx="1095">10.7091899999999</cx:pt>
          <cx:pt idx="1096">52.127799999999901</cx:pt>
          <cx:pt idx="1097">48.366</cx:pt>
          <cx:pt idx="1098">9.8619000000000003</cx:pt>
          <cx:pt idx="1099">5.5061999999999998</cx:pt>
          <cx:pt idx="1100">40.573700000000002</cx:pt>
          <cx:pt idx="1101">3.9741999999999997</cx:pt>
          <cx:pt idx="1102">17.0718</cx:pt>
          <cx:pt idx="1103">10.01469</cx:pt>
          <cx:pt idx="1104">10.973099999999999</cx:pt>
          <cx:pt idx="1105">42.992000000000004</cx:pt>
          <cx:pt idx="1106">17.994599999999998</cx:pt>
          <cx:pt idx="1107">5.89949999999999</cx:pt>
          <cx:pt idx="1108">11.328000000000001</cx:pt>
          <cx:pt idx="1109">15.034799999999901</cx:pt>
          <cx:pt idx="1110">17.3794</cx:pt>
          <cx:pt idx="1111">8.6663199999999989</cx:pt>
          <cx:pt idx="1112">8.80152</cx:pt>
          <cx:pt idx="1113">10.6952999999999</cx:pt>
          <cx:pt idx="1114">37.3492999999999</cx:pt>
          <cx:pt idx="1115">14.315399999999901</cx:pt>
          <cx:pt idx="1116">18.009979999999899</cx:pt>
          <cx:pt idx="1117">14.0261999999999</cx:pt>
          <cx:pt idx="1118">17.687000000000001</cx:pt>
          <cx:pt idx="1119">8.3823999999999987</cx:pt>
          <cx:pt idx="1120">38.1554</cx:pt>
          <cx:pt idx="1121">56.722569999999692</cx:pt>
          <cx:pt idx="1122">9.5840999999999994</cx:pt>
          <cx:pt idx="1123">8.1255199999999999</cx:pt>
          <cx:pt idx="1124">17.840799999999902</cx:pt>
          <cx:pt idx="1125">15.476999999999999</cx:pt>
          <cx:pt idx="1126">40.573700000000002</cx:pt>
          <cx:pt idx="1127">11.328000000000001</cx:pt>
          <cx:pt idx="1128">10.4175</cx:pt>
          <cx:pt idx="1129">16.917999999999999</cx:pt>
          <cx:pt idx="1130">10.986989999999899</cx:pt>
          <cx:pt idx="1131">9.5840999999999994</cx:pt>
          <cx:pt idx="1132">17.687000000000001</cx:pt>
          <cx:pt idx="1133">16.764200000000002</cx:pt>
          <cx:pt idx="1134">38.182270000000003</cx:pt>
          <cx:pt idx="1135">38.961499999999901</cx:pt>
          <cx:pt idx="1136">40.06317</cx:pt>
          <cx:pt idx="1137">9.8619000000000003</cx:pt>
          <cx:pt idx="1138">9.5840999999999994</cx:pt>
          <cx:pt idx="1139">17.856179999999998</cx:pt>
          <cx:pt idx="1140">17.0718</cx:pt>
          <cx:pt idx="1141">11.611199999999899</cx:pt>
          <cx:pt idx="1142">15.6244</cx:pt>
          <cx:pt idx="1143">15.034799999999901</cx:pt>
          <cx:pt idx="1144">17.994599999999998</cx:pt>
          <cx:pt idx="1145">9.7368899999999794</cx:pt>
          <cx:pt idx="1146">38.719670000000001</cx:pt>
          <cx:pt idx="1147">6.4239000000000006</cx:pt>
          <cx:pt idx="1148">12.036</cx:pt>
          <cx:pt idx="1149">10.7091899999999</cx:pt>
          <cx:pt idx="1150">3.9741999999999997</cx:pt>
          <cx:pt idx="1151">4.1023999999999994</cx:pt>
          <cx:pt idx="1152">7.5712000000000002</cx:pt>
          <cx:pt idx="1153">37.886699999999998</cx:pt>
          <cx:pt idx="1154">8.7880000000000003</cx:pt>
          <cx:pt idx="1155">18.148399999999899</cx:pt>
          <cx:pt idx="1156">5.63729999999999</cx:pt>
          <cx:pt idx="1157">10.973099999999999</cx:pt>
          <cx:pt idx="1158">35.737099999999998</cx:pt>
          <cx:pt idx="1159">35.737099999999998</cx:pt>
          <cx:pt idx="1160">12.9817499999999</cx:pt>
          <cx:pt idx="1161">8.2472000000000012</cx:pt>
          <cx:pt idx="1162">13.1242499999999</cx:pt>
          <cx:pt idx="1163">13.109999999999999</cx:pt>
          <cx:pt idx="1164">17.117939999999901</cx:pt>
          <cx:pt idx="1165">17.994599999999998</cx:pt>
          <cx:pt idx="1166">10.6952999999999</cx:pt>
          <cx:pt idx="1167">15.786539999999999</cx:pt>
          <cx:pt idx="1168">34.95787</cx:pt>
          <cx:pt idx="1169">6.3059099999999892</cx:pt>
          <cx:pt idx="1170">15.6244</cx:pt>
          <cx:pt idx="1171">40.06317</cx:pt>
          <cx:pt idx="1172">15.9192</cx:pt>
          <cx:pt idx="1173">14.0406599999999</cx:pt>
          <cx:pt idx="1174">18.7636</cx:pt>
          <cx:pt idx="1175">13.1242499999999</cx:pt>
          <cx:pt idx="1176">39.230199999999897</cx:pt>
          <cx:pt idx="1177">18.148399999999899</cx:pt>
          <cx:pt idx="1178">37.080599999999905</cx:pt>
          <cx:pt idx="1179">11.328000000000001</cx:pt>
          <cx:pt idx="1180">36.543199999999999</cx:pt>
          <cx:pt idx="1181">44.362369999999999</cx:pt>
          <cx:pt idx="1182">47.049370000000003</cx:pt>
          <cx:pt idx="1183">8.5175999999999998</cx:pt>
          <cx:pt idx="1184">54.841670000000001</cx:pt>
          <cx:pt idx="1185">10.278600000000001</cx:pt>
          <cx:pt idx="1186">11.4696</cx:pt>
          <cx:pt idx="1187">6.8171999999999997</cx:pt>
          <cx:pt idx="1188">17.994599999999998</cx:pt>
          <cx:pt idx="1189">19.547980000000003</cx:pt>
          <cx:pt idx="1190">10.973099999999999</cx:pt>
          <cx:pt idx="1191">54.814799999999998</cx:pt>
          <cx:pt idx="1192">17.994599999999998</cx:pt>
          <cx:pt idx="1193">11.4696</cx:pt>
          <cx:pt idx="1194">35.468400000000003</cx:pt>
          <cx:pt idx="1195">9.8619000000000003</cx:pt>
          <cx:pt idx="1196">16.625780000000002</cx:pt>
          <cx:pt idx="1197">9.4451999999999998</cx:pt>
          <cx:pt idx="1198">19.532599999999999</cx:pt>
          <cx:pt idx="1199">5.5061999999999998</cx:pt>
          <cx:pt idx="1200">15.329599999999999</cx:pt>
          <cx:pt idx="1201">10.973099999999999</cx:pt>
          <cx:pt idx="1202">10.5564</cx:pt>
          <cx:pt idx="1203">9.4451999999999998</cx:pt>
          <cx:pt idx="1204">16.625780000000002</cx:pt>
          <cx:pt idx="1205">16.625780000000002</cx:pt>
          <cx:pt idx="1206">9.0583999999999989</cx:pt>
          <cx:pt idx="1207">47.559899999999999</cx:pt>
          <cx:pt idx="1208">17.687000000000001</cx:pt>
          <cx:pt idx="1209">18.456</cx:pt>
          <cx:pt idx="1210">16.93338</cx:pt>
          <cx:pt idx="1211">14.739999999999901</cx:pt>
          <cx:pt idx="1212">41.917200000000001</cx:pt>
          <cx:pt idx="1213">7.0439199999999991</cx:pt>
          <cx:pt idx="1214">14.1708</cx:pt>
          <cx:pt idx="1215">41.648499999999999</cx:pt>
          <cx:pt idx="1216">18.456</cx:pt>
          <cx:pt idx="1217">14.1708</cx:pt>
          <cx:pt idx="1218">37.3492999999999</cx:pt>
          <cx:pt idx="1219">10.4175</cx:pt>
          <cx:pt idx="1220">12.460799999999999</cx:pt>
          <cx:pt idx="1221">14.0261999999999</cx:pt>
          <cx:pt idx="1222">8.6527999999999992</cx:pt>
          <cx:pt idx="1223">4.4998199999999899</cx:pt>
          <cx:pt idx="1224">36.838769999999997</cx:pt>
          <cx:pt idx="1225">41.379800000000003</cx:pt>
          <cx:pt idx="1226">17.2256</cx:pt>
          <cx:pt idx="1227">34.95787</cx:pt>
          <cx:pt idx="1228">10.4175</cx:pt>
          <cx:pt idx="1229">9.5840999999999994</cx:pt>
          <cx:pt idx="1230">17.533199999999997</cx:pt>
          <cx:pt idx="1231">40.305</cx:pt>
          <cx:pt idx="1232">11.894399999999999</cx:pt>
          <cx:pt idx="1233">13.109999999999999</cx:pt>
          <cx:pt idx="1234">14.0261999999999</cx:pt>
          <cx:pt idx="1235">10.4175</cx:pt>
          <cx:pt idx="1236">5.7683999999999997</cx:pt>
          <cx:pt idx="1237">18.778979999999901</cx:pt>
          <cx:pt idx="1238">40.036300000000004</cx:pt>
          <cx:pt idx="1239">14.1852599999999</cx:pt>
          <cx:pt idx="1240">10.0008</cx:pt>
          <cx:pt idx="1241">16.917999999999999</cx:pt>
          <cx:pt idx="1242">38.692799999999998</cx:pt>
          <cx:pt idx="1243">15.344340000000001</cx:pt>
          <cx:pt idx="1244">54.008699999999997</cx:pt>
          <cx:pt idx="1245">18.009979999999899</cx:pt>
          <cx:pt idx="1246">59.920099999999699</cx:pt>
          <cx:pt idx="1247">39.498899999999999</cx:pt>
          <cx:pt idx="1248">6.4239000000000006</cx:pt>
          <cx:pt idx="1249">9.4590899999999998</cx:pt>
          <cx:pt idx="1250">18.7636</cx:pt>
          <cx:pt idx="1251">8.6527999999999992</cx:pt>
          <cx:pt idx="1252">11.4696</cx:pt>
          <cx:pt idx="1253">6.6860999999999908</cx:pt>
          <cx:pt idx="1254">8.6527999999999992</cx:pt>
          <cx:pt idx="1255">15.491739999999901</cx:pt>
          <cx:pt idx="1256">17.994599999999998</cx:pt>
          <cx:pt idx="1257">18.778979999999901</cx:pt>
          <cx:pt idx="1258">13.31766</cx:pt>
          <cx:pt idx="1259">15.329599999999999</cx:pt>
          <cx:pt idx="1260">41.917200000000001</cx:pt>
          <cx:pt idx="1261">5.63729999999999</cx:pt>
          <cx:pt idx="1262">40.573700000000002</cx:pt>
          <cx:pt idx="1263">60.7261999999997</cx:pt>
          <cx:pt idx="1264">44.899769999999997</cx:pt>
          <cx:pt idx="1265">9.4590899999999998</cx:pt>
          <cx:pt idx="1266">18.163779999999999</cx:pt>
          <cx:pt idx="1267">60.188799999999901</cx:pt>
          <cx:pt idx="1268">9.722999999999999</cx:pt>
          <cx:pt idx="1269">6.6860999999999908</cx:pt>
          <cx:pt idx="1270">16.764200000000002</cx:pt>
          <cx:pt idx="1271">44.066799999999901</cx:pt>
          <cx:pt idx="1272">17.687000000000001</cx:pt>
          <cx:pt idx="1273">7.5712000000000002</cx:pt>
          <cx:pt idx="1274">46.216399999999901</cx:pt>
          <cx:pt idx="1275">17.3794</cx:pt>
          <cx:pt idx="1276">15.6244</cx:pt>
          <cx:pt idx="1277">10.0008</cx:pt>
          <cx:pt idx="1278">53.498169999999902</cx:pt>
          <cx:pt idx="1279">17.533199999999997</cx:pt>
          <cx:pt idx="1280">11.752799999999999</cx:pt>
          <cx:pt idx="1281">5.5193099999999999</cx:pt>
          <cx:pt idx="1282">5.89949999999999</cx:pt>
          <cx:pt idx="1283">11.34216</cx:pt>
          <cx:pt idx="1284">6.03059999999999</cx:pt>
          <cx:pt idx="1285">14.74</cx:pt>
          <cx:pt idx="1286">5.89949999999999</cx:pt>
          <cx:pt idx="1287">9.4451999999999998</cx:pt>
          <cx:pt idx="1288">12.0359999999999</cx:pt>
          <cx:pt idx="1289">14.0261999999999</cx:pt>
          <cx:pt idx="1290">9.0583999999999989</cx:pt>
          <cx:pt idx="1291">43.798099999999998</cx:pt>
          <cx:pt idx="1292">15.491739999999901</cx:pt>
          <cx:pt idx="1293">13.736999999999899</cx:pt>
          <cx:pt idx="1294">38.1554</cx:pt>
          <cx:pt idx="1295">15.491739999999901</cx:pt>
          <cx:pt idx="1296">10.0008</cx:pt>
          <cx:pt idx="1297">36.543199999999999</cx:pt>
          <cx:pt idx="1298">4.6151999999999997</cx:pt>
          <cx:pt idx="1299">10.278600000000001</cx:pt>
          <cx:pt idx="1300">13.751459999999899</cx:pt>
          <cx:pt idx="1301">15.786539999999999</cx:pt>
          <cx:pt idx="1302">17.08718</cx:pt>
          <cx:pt idx="1303">43.2607</cx:pt>
          <cx:pt idx="1304">35.763969999999901</cx:pt>
          <cx:pt idx="1305">17.3794</cx:pt>
          <cx:pt idx="1306">6.03059999999999</cx:pt>
          <cx:pt idx="1307">53.471299999999701</cx:pt>
          <cx:pt idx="1308">43.2607</cx:pt>
          <cx:pt idx="1309">11.611199999999899</cx:pt>
          <cx:pt idx="1310">10.5564</cx:pt>
          <cx:pt idx="1311">10.834199999999999</cx:pt>
          <cx:pt idx="1312">17.687000000000001</cx:pt>
          <cx:pt idx="1313">52.127799999999901</cx:pt>
          <cx:pt idx="1314">5.7683999999999997</cx:pt>
          <cx:pt idx="1315">9.8619000000000003</cx:pt>
          <cx:pt idx="1316">14.607339999999899</cx:pt>
          <cx:pt idx="1317">49.978200000000001</cx:pt>
          <cx:pt idx="1318">7.7063999999999995</cx:pt>
          <cx:pt idx="1319">8.3959200000000003</cx:pt>
          <cx:pt idx="1320">6.2927999999999997</cx:pt>
          <cx:pt idx="1321">45.705869999999699</cx:pt>
          <cx:pt idx="1322">13.1242499999999</cx:pt>
          <cx:pt idx="1323">5.63729999999999</cx:pt>
          <cx:pt idx="1324">11.611199999999899</cx:pt>
          <cx:pt idx="1325">17.871559999999999</cx:pt>
          <cx:pt idx="1326">36.274499999999996</cx:pt>
          <cx:pt idx="1327">10.431389999999901</cx:pt>
          <cx:pt idx="1328">4.3588000000000005</cx:pt>
          <cx:pt idx="1329">15.639140000000001</cx:pt>
          <cx:pt idx="1330">41.4066699999997</cx:pt>
          <cx:pt idx="1331">18.6098</cx:pt>
          <cx:pt idx="1332">15.786539999999999</cx:pt>
          <cx:pt idx="1333">15.786539999999999</cx:pt>
          <cx:pt idx="1334">5.7683999999999997</cx:pt>
          <cx:pt idx="1335">43.2607</cx:pt>
          <cx:pt idx="1336">38.1554</cx:pt>
          <cx:pt idx="1337">15.034799999999901</cx:pt>
          <cx:pt idx="1338">10.834199999999999</cx:pt>
          <cx:pt idx="1339">63.413199999999705</cx:pt>
          <cx:pt idx="1340">45.678999999999995</cx:pt>
          <cx:pt idx="1341">18.3175799999999</cx:pt>
          <cx:pt idx="1342">39.767599999999995</cx:pt>
          <cx:pt idx="1343">10.4175</cx:pt>
          <cx:pt idx="1344">36.892509999999902</cx:pt>
          <cx:pt idx="1345">11.894399999999999</cx:pt>
          <cx:pt idx="1346">10.973099999999999</cx:pt>
          <cx:pt idx="1347">12.036</cx:pt>
          <cx:pt idx="1348">11.894399999999999</cx:pt>
          <cx:pt idx="1349">41.675370000000001</cx:pt>
          <cx:pt idx="1350">12.319199999999899</cx:pt>
          <cx:pt idx="1351">15.476999999999999</cx:pt>
          <cx:pt idx="1352">35.737099999999998</cx:pt>
          <cx:pt idx="1353">62.875799999999906</cx:pt>
          <cx:pt idx="1354">17.3794</cx:pt>
          <cx:pt idx="1355">8.1120000000000001</cx:pt>
          <cx:pt idx="1356">15.786539999999999</cx:pt>
          <cx:pt idx="1357">11.752799999999999</cx:pt>
          <cx:pt idx="1358">5.89949999999999</cx:pt>
          <cx:pt idx="1359">19.378799999999998</cx:pt>
          <cx:pt idx="1360">10.292490000000001</cx:pt>
          <cx:pt idx="1361">16.764200000000002</cx:pt>
          <cx:pt idx="1362">15.786539999999999</cx:pt>
          <cx:pt idx="1363">40.06317</cx:pt>
          <cx:pt idx="1364">9.722999999999999</cx:pt>
          <cx:pt idx="1365">15.786539999999999</cx:pt>
          <cx:pt idx="1366">9.4451999999999998</cx:pt>
          <cx:pt idx="1367">18.7636</cx:pt>
          <cx:pt idx="1368">11.3421599999999</cx:pt>
          <cx:pt idx="1369">12.825000000000001</cx:pt>
          <cx:pt idx="1370">12.61656</cx:pt>
          <cx:pt idx="1371">17.2256</cx:pt>
          <cx:pt idx="1372">18.148399999999899</cx:pt>
          <cx:pt idx="1373">6.8171999999999997</cx:pt>
          <cx:pt idx="1374">43.556270000000005</cx:pt>
          <cx:pt idx="1375">15.639140000000001</cx:pt>
          <cx:pt idx="1376">37.886699999999998</cx:pt>
          <cx:pt idx="1377">18.3175799999999</cx:pt>
          <cx:pt idx="1378">9.8619000000000003</cx:pt>
          <cx:pt idx="1379">9.5840999999999994</cx:pt>
          <cx:pt idx="1380">18.932779999999998</cx:pt>
          <cx:pt idx="1381">10.4175</cx:pt>
          <cx:pt idx="1382">48.903400000000005</cx:pt>
          <cx:pt idx="1383">13.606859999999902</cx:pt>
          <cx:pt idx="1384">18.009979999999899</cx:pt>
          <cx:pt idx="1385">12.602399999999999</cx:pt>
          <cx:pt idx="1386">11.752799999999999</cx:pt>
          <cx:pt idx="1387">16.764200000000002</cx:pt>
          <cx:pt idx="1388">17.687000000000001</cx:pt>
          <cx:pt idx="1389">14.0406599999999</cx:pt>
          <cx:pt idx="1390">13.447799999999999</cx:pt>
          <cx:pt idx="1391">8.1255199999999999</cx:pt>
          <cx:pt idx="1392">37.886699999999998</cx:pt>
          <cx:pt idx="1393">13.31766</cx:pt>
          <cx:pt idx="1394">17.2256</cx:pt>
          <cx:pt idx="1395">13.1242499999999</cx:pt>
          <cx:pt idx="1396">11.328000000000001</cx:pt>
          <cx:pt idx="1397">14.75474</cx:pt>
          <cx:pt idx="1398">17.0718</cx:pt>
          <cx:pt idx="1399">8.9232000000000014</cx:pt>
          <cx:pt idx="1400">16.764200000000002</cx:pt>
          <cx:pt idx="1401">12.8535</cx:pt>
          <cx:pt idx="1402">37.3492999999999</cx:pt>
          <cx:pt idx="1403">10.6952999999999</cx:pt>
          <cx:pt idx="1404">11.611199999999899</cx:pt>
          <cx:pt idx="1405">10.431389999999901</cx:pt>
          <cx:pt idx="1406">40.305</cx:pt>
          <cx:pt idx="1407">44.631069999999703</cx:pt>
          <cx:pt idx="1408">18.302199999999999</cx:pt>
          <cx:pt idx="1409">18.917400000000001</cx:pt>
          <cx:pt idx="1410">13.751459999999899</cx:pt>
          <cx:pt idx="1411">11.4696</cx:pt>
          <cx:pt idx="1412">11.611199999999899</cx:pt>
          <cx:pt idx="1413">10.6952999999999</cx:pt>
          <cx:pt idx="1414">15.639140000000001</cx:pt>
          <cx:pt idx="1415">59.113999999999997</cx:pt>
          <cx:pt idx="1416">18.778979999999901</cx:pt>
          <cx:pt idx="1417">3.8460000000000001</cx:pt>
          <cx:pt idx="1418">15.491739999999901</cx:pt>
          <cx:pt idx="1419">39.525770000000001</cx:pt>
          <cx:pt idx="1420">12.825000000000001</cx:pt>
          <cx:pt idx="1421">8.5175999999999998</cx:pt>
          <cx:pt idx="1422">40.86927</cx:pt>
          <cx:pt idx="1423">6.5549999999999997</cx:pt>
          <cx:pt idx="1424">13.736999999999899</cx:pt>
          <cx:pt idx="1425">9.722999999999999</cx:pt>
          <cx:pt idx="1426">12.825000000000001</cx:pt>
          <cx:pt idx="1427">11.625359999999899</cx:pt>
          <cx:pt idx="1428">5.89949999999999</cx:pt>
          <cx:pt idx="1429">13.881599999999999</cx:pt>
          <cx:pt idx="1430">12.319199999999899</cx:pt>
          <cx:pt idx="1431">13.1242499999999</cx:pt>
          <cx:pt idx="1432">16.917999999999999</cx:pt>
          <cx:pt idx="1433">11.611199999999899</cx:pt>
          <cx:pt idx="1434">15.6244</cx:pt>
          <cx:pt idx="1435">6.5549999999999997</cx:pt>
          <cx:pt idx="1436">4.2305999999999999</cx:pt>
          <cx:pt idx="1437">43.529399999999903</cx:pt>
          <cx:pt idx="1438">15.9192</cx:pt>
          <cx:pt idx="1439">7.5712000000000002</cx:pt>
          <cx:pt idx="1440">37.886699999999998</cx:pt>
          <cx:pt idx="1441">13.447799999999999</cx:pt>
          <cx:pt idx="1442">5.63729999999999</cx:pt>
          <cx:pt idx="1443">12.8249999999999</cx:pt>
          <cx:pt idx="1444">47.828600000000002</cx:pt>
          <cx:pt idx="1445">18.456</cx:pt>
          <cx:pt idx="1446">40.573700000000002</cx:pt>
          <cx:pt idx="1447">18.4713799999999</cx:pt>
          <cx:pt idx="1448">17.3794</cx:pt>
          <cx:pt idx="1449">8.7880000000000003</cx:pt>
          <cx:pt idx="1450">37.644870000000004</cx:pt>
          <cx:pt idx="1451">9.8619000000000003</cx:pt>
          <cx:pt idx="1452">18.148399999999899</cx:pt>
          <cx:pt idx="1453">6.2927999999999997</cx:pt>
          <cx:pt idx="1454">10.0008</cx:pt>
          <cx:pt idx="1455">19.532599999999999</cx:pt>
          <cx:pt idx="1456">16.625780000000002</cx:pt>
          <cx:pt idx="1457">17.840799999999902</cx:pt>
          <cx:pt idx="1458">11.4696</cx:pt>
          <cx:pt idx="1459">17.994599999999998</cx:pt>
          <cx:pt idx="1460">11.328000000000001</cx:pt>
          <cx:pt idx="1461">41.648499999999999</cx:pt>
          <cx:pt idx="1462">40.842399999999998</cx:pt>
          <cx:pt idx="1463">18.456</cx:pt>
          <cx:pt idx="1464">5.89949999999999</cx:pt>
          <cx:pt idx="1465">6.2927999999999997</cx:pt>
          <cx:pt idx="1466">15.491739999999901</cx:pt>
          <cx:pt idx="1467">5.89949999999999</cx:pt>
          <cx:pt idx="1468">19.686400000000003</cx:pt>
          <cx:pt idx="1469">14.3154</cx:pt>
          <cx:pt idx="1470">17.0718</cx:pt>
          <cx:pt idx="1471">11.752799999999999</cx:pt>
          <cx:pt idx="1472">18.009979999999899</cx:pt>
          <cx:pt idx="1473">6.03059999999999</cx:pt>
          <cx:pt idx="1474">55.083499999999695</cx:pt>
          <cx:pt idx="1475">11.625359999999899</cx:pt>
          <cx:pt idx="1476">19.532599999999999</cx:pt>
          <cx:pt idx="1477">40.573700000000002</cx:pt>
          <cx:pt idx="1478">19.532599999999999</cx:pt>
          <cx:pt idx="1479">8.6527999999999992</cx:pt>
          <cx:pt idx="1480">15.034799999999901</cx:pt>
          <cx:pt idx="1481">42.454599999999999</cx:pt>
          <cx:pt idx="1482">17.548580000000001</cx:pt>
          <cx:pt idx="1483">35.1997</cx:pt>
          <cx:pt idx="1484">13.881599999999999</cx:pt>
          <cx:pt idx="1485">11.894399999999999</cx:pt>
          <cx:pt idx="1486">10.834199999999999</cx:pt>
          <cx:pt idx="1487">47.828600000000002</cx:pt>
          <cx:pt idx="1488">15.476999999999999</cx:pt>
          <cx:pt idx="1489">12.319199999999899</cx:pt>
          <cx:pt idx="1490">57.501799999999704</cx:pt>
          <cx:pt idx="1491">17.0718</cx:pt>
          <cx:pt idx="1492">14.8873999999999</cx:pt>
          <cx:pt idx="1493">7.8551199999999906</cx:pt>
          <cx:pt idx="1494">38.692799999999998</cx:pt>
          <cx:pt idx="1495">12.177599999999899</cx:pt>
          <cx:pt idx="1496">38.961499999999901</cx:pt>
          <cx:pt idx="1497">11.4696</cx:pt>
          <cx:pt idx="1498">15.786539999999999</cx:pt>
          <cx:pt idx="1499">35.1997</cx:pt>
          <cx:pt idx="1500">5.63729999999999</cx:pt>
          <cx:pt idx="1501">40.842399999999998</cx:pt>
          <cx:pt idx="1502">12.4749599999999</cx:pt>
          <cx:pt idx="1503">3.7306199999999996</cx:pt>
          <cx:pt idx="1504">37.886699999999998</cx:pt>
          <cx:pt idx="1505">16.917999999999999</cx:pt>
          <cx:pt idx="1506">12.602399999999999</cx:pt>
          <cx:pt idx="1507">10.139699999999999</cx:pt>
          <cx:pt idx="1508">37.376169999999995</cx:pt>
          <cx:pt idx="1509">10.292490000000001</cx:pt>
          <cx:pt idx="1510">9.5840999999999994</cx:pt>
          <cx:pt idx="1511">51.052999999999905</cx:pt>
          <cx:pt idx="1512">56.453869999999995</cx:pt>
          <cx:pt idx="1513">12.967499999999902</cx:pt>
          <cx:pt idx="1514">17.0718</cx:pt>
          <cx:pt idx="1515">44.872899999999902</cx:pt>
          <cx:pt idx="1516">15.034799999999901</cx:pt>
          <cx:pt idx="1517">9.0583999999999989</cx:pt>
          <cx:pt idx="1518">37.403039999999898</cx:pt>
          <cx:pt idx="1519">19.225000000000001</cx:pt>
          <cx:pt idx="1520">11.483759999999901</cx:pt>
          <cx:pt idx="1521">15.329599999999999</cx:pt>
          <cx:pt idx="1522">18.6098</cx:pt>
          <cx:pt idx="1523">70.130699999999706</cx:pt>
          <cx:pt idx="1524">10.292490000000001</cx:pt>
          <cx:pt idx="1525">11.894399999999999</cx:pt>
          <cx:pt idx="1526">6.2927999999999997</cx:pt>
          <cx:pt idx="1527">15.786539999999999</cx:pt>
          <cx:pt idx="1528">10.4175</cx:pt>
          <cx:pt idx="1529">50.273769999999999</cx:pt>
          <cx:pt idx="1530">9.4451999999999998</cx:pt>
          <cx:pt idx="1531">49.440800000000003</cx:pt>
          <cx:pt idx="1532">16.625780000000002</cx:pt>
          <cx:pt idx="1533">15.476999999999999</cx:pt>
          <cx:pt idx="1534">48.634699999999995</cx:pt>
          <cx:pt idx="1535">40.86927</cx:pt>
          <cx:pt idx="1536">15.034799999999901</cx:pt>
          <cx:pt idx="1537">11.48376</cx:pt>
          <cx:pt idx="1538">9.5840999999999994</cx:pt>
          <cx:pt idx="1539">8.9232000000000014</cx:pt>
          <cx:pt idx="1540">15.771799999999999</cx:pt>
          <cx:pt idx="1541">19.547980000000003</cx:pt>
          <cx:pt idx="1542">18.917400000000001</cx:pt>
          <cx:pt idx="1543">12.319199999999899</cx:pt>
          <cx:pt idx="1544">15.182200000000002</cx:pt>
          <cx:pt idx="1545">17.533199999999997</cx:pt>
          <cx:pt idx="1546">11.328000000000001</cx:pt>
          <cx:pt idx="1547">55.620899999999992</cx:pt>
          <cx:pt idx="1548">14.8873999999999</cx:pt>
          <cx:pt idx="1549">11.752799999999999</cx:pt>
          <cx:pt idx="1550">16.764200000000002</cx:pt>
          <cx:pt idx="1551">18.148399999999899</cx:pt>
          <cx:pt idx="1552">37.618000000000002</cx:pt>
          <cx:pt idx="1553">17.2256</cx:pt>
          <cx:pt idx="1554">15.476999999999999</cx:pt>
          <cx:pt idx="1555">15.034799999999901</cx:pt>
          <cx:pt idx="1556">18.302199999999999</cx:pt>
          <cx:pt idx="1557">17.533199999999997</cx:pt>
          <cx:pt idx="1558">5.63729999999999</cx:pt>
          <cx:pt idx="1559">17.24098</cx:pt>
          <cx:pt idx="1560">9.5840999999999994</cx:pt>
          <cx:pt idx="1561">70.668099999999697</cx:pt>
          <cx:pt idx="1562">11.894399999999999</cx:pt>
          <cx:pt idx="1563">17.840799999999902</cx:pt>
          <cx:pt idx="1564">10.973099999999999</cx:pt>
          <cx:pt idx="1565">10.973099999999999</cx:pt>
          <cx:pt idx="1566">9.8619000000000003</cx:pt>
          <cx:pt idx="1567">18.917400000000001</cx:pt>
          <cx:pt idx="1568">10.139699999999999</cx:pt>
          <cx:pt idx="1569">17.533199999999997</cx:pt>
          <cx:pt idx="1570">17.3794</cx:pt>
          <cx:pt idx="1571">16.93338</cx:pt>
          <cx:pt idx="1572">10.5564</cx:pt>
          <cx:pt idx="1573">19.547980000000003</cx:pt>
          <cx:pt idx="1574">10.7091899999999</cx:pt>
          <cx:pt idx="1575">15.9192</cx:pt>
          <cx:pt idx="1576">43.798099999999998</cx:pt>
          <cx:pt idx="1577">15.6244</cx:pt>
          <cx:pt idx="1578">18.7636</cx:pt>
          <cx:pt idx="1579">18.148399999999899</cx:pt>
          <cx:pt idx="1580">8.7880000000000003</cx:pt>
          <cx:pt idx="1581">13.1242499999999</cx:pt>
          <cx:pt idx="1582">17.0718</cx:pt>
          <cx:pt idx="1583">36.005800000000001</cx:pt>
          <cx:pt idx="1584">17.3794</cx:pt>
          <cx:pt idx="1585">17.994599999999998</cx:pt>
          <cx:pt idx="1586">15.786539999999999</cx:pt>
          <cx:pt idx="1587">13.736999999999998</cx:pt>
          <cx:pt idx="1588">6.03059999999999</cx:pt>
          <cx:pt idx="1589">16.764200000000002</cx:pt>
          <cx:pt idx="1590">14.0261999999999</cx:pt>
          <cx:pt idx="1591">3.5895999999999999</cx:pt>
          <cx:pt idx="1592">16.93338</cx:pt>
          <cx:pt idx="1593">2.9614199999999999</cx:pt>
          <cx:pt idx="1594">17.24098</cx:pt>
          <cx:pt idx="1595">12.319199999999899</cx:pt>
          <cx:pt idx="1596">18.6098</cx:pt>
          <cx:pt idx="1597">40.842399999999998</cx:pt>
          <cx:pt idx="1598">15.329599999999999</cx:pt>
          <cx:pt idx="1599">17.394779999999898</cx:pt>
          <cx:pt idx="1600">42.992000000000004</cx:pt>
          <cx:pt idx="1601">35.468400000000003</cx:pt>
          <cx:pt idx="1602">8.9232000000000014</cx:pt>
          <cx:pt idx="1603">8.6527999999999992</cx:pt>
          <cx:pt idx="1604">11.328000000000001</cx:pt>
          <cx:pt idx="1605">17.3794</cx:pt>
          <cx:pt idx="1606">9.8619000000000003</cx:pt>
          <cx:pt idx="1607">8.3823999999999987</cx:pt>
          <cx:pt idx="1608">17.533199999999997</cx:pt>
          <cx:pt idx="1609">10.6952999999999</cx:pt>
          <cx:pt idx="1610">8.6527999999999992</cx:pt>
          <cx:pt idx="1611">37.107469999999999</cx:pt>
          <cx:pt idx="1612">11.4696</cx:pt>
          <cx:pt idx="1613">18.302199999999999</cx:pt>
          <cx:pt idx="1614">38.182270000000003</cx:pt>
          <cx:pt idx="1615">13.736999999999998</cx:pt>
          <cx:pt idx="1616">17.840799999999902</cx:pt>
          <cx:pt idx="1617">14.3154</cx:pt>
          <cx:pt idx="1618">52.665199999999999</cx:pt>
          <cx:pt idx="1619">6.5549999999999997</cx:pt>
          <cx:pt idx="1620">13.881599999999899</cx:pt>
          <cx:pt idx="1621">10.431389999999901</cx:pt>
          <cx:pt idx="1622">40.600569999999706</cx:pt>
          <cx:pt idx="1623">11.611199999999899</cx:pt>
          <cx:pt idx="1624">41.944069999999996</cx:pt>
          <cx:pt idx="1625">16.779579999999999</cx:pt>
          <cx:pt idx="1626">11.328000000000001</cx:pt>
          <cx:pt idx="1627">18.917400000000001</cx:pt>
          <cx:pt idx="1628">12.036</cx:pt>
          <cx:pt idx="1629">10.4175</cx:pt>
          <cx:pt idx="1630">41.433540000000001</cx:pt>
          <cx:pt idx="1631">36.838769999999997</cx:pt>
          <cx:pt idx="1632">15.04954</cx:pt>
          <cx:pt idx="1633">17.3794</cx:pt>
          <cx:pt idx="1634">18.4713799999999</cx:pt>
          <cx:pt idx="1635">12.333360000000001</cx:pt>
          <cx:pt idx="1636">8.6663199999999989</cx:pt>
          <cx:pt idx="1637">10.973099999999999</cx:pt>
          <cx:pt idx="1638">9.8619000000000003</cx:pt>
          <cx:pt idx="1639">17.702379999999902</cx:pt>
          <cx:pt idx="1640">15.034799999999901</cx:pt>
          <cx:pt idx="1641">16.764200000000002</cx:pt>
          <cx:pt idx="1642">15.771799999999999</cx:pt>
          <cx:pt idx="1643">14.902139999999999</cx:pt>
          <cx:pt idx="1644">9.7368899999999989</cx:pt>
          <cx:pt idx="1645">9.8619000000000003</cx:pt>
          <cx:pt idx="1646">15.329599999999999</cx:pt>
          <cx:pt idx="1647">15.771799999999999</cx:pt>
          <cx:pt idx="1648">15.786539999999999</cx:pt>
          <cx:pt idx="1649">15.786539999999999</cx:pt>
          <cx:pt idx="1650">14.3154</cx:pt>
          <cx:pt idx="1651">11.3421599999999</cx:pt>
          <cx:pt idx="1652">10.7091899999999</cx:pt>
          <cx:pt idx="1653">5.89949999999999</cx:pt>
          <cx:pt idx="1654">15.034799999999901</cx:pt>
          <cx:pt idx="1655">11.752799999999999</cx:pt>
          <cx:pt idx="1656">13.736999999999899</cx:pt>
          <cx:pt idx="1657">48.392870000000002</cx:pt>
          <cx:pt idx="1658">40.331869999999995</cx:pt>
          <cx:pt idx="1659">18.148399999999899</cx:pt>
          <cx:pt idx="1660">10.0008</cx:pt>
          <cx:pt idx="1661">19.240380000000002</cx:pt>
          <cx:pt idx="1662">11.625360000000001</cx:pt>
          <cx:pt idx="1663">10.5564</cx:pt>
          <cx:pt idx="1664">12.319199999999899</cx:pt>
          <cx:pt idx="1665">17.3794</cx:pt>
          <cx:pt idx="1666">15.786539999999999</cx:pt>
          <cx:pt idx="1667">7.4495199999999997</cx:pt>
          <cx:pt idx="1668">14.75474</cx:pt>
          <cx:pt idx="1669">5.89949999999999</cx:pt>
          <cx:pt idx="1670">14.902139999999999</cx:pt>
          <cx:pt idx="1671">6.8171999999999997</cx:pt>
          <cx:pt idx="1672">14.0261999999999</cx:pt>
          <cx:pt idx="1673">16.764200000000002</cx:pt>
          <cx:pt idx="1674">13.606859999999902</cx:pt>
          <cx:pt idx="1675">18.917400000000001</cx:pt>
          <cx:pt idx="1676">17.840799999999902</cx:pt>
          <cx:pt idx="1677">18.917400000000001</cx:pt>
          <cx:pt idx="1678">40.305</cx:pt>
          <cx:pt idx="1679">6.8171999999999997</cx:pt>
          <cx:pt idx="1680">8.1120000000000001</cx:pt>
          <cx:pt idx="1681">19.532599999999999</cx:pt>
          <cx:pt idx="1682">15.329599999999999</cx:pt>
          <cx:pt idx="1683">16.764200000000002</cx:pt>
          <cx:pt idx="1684">4.2305999999999999</cx:pt>
          <cx:pt idx="1685">38.692799999999998</cx:pt>
          <cx:pt idx="1686">12.319199999999899</cx:pt>
          <cx:pt idx="1687">10.6952999999999</cx:pt>
          <cx:pt idx="1688">19.547980000000003</cx:pt>
          <cx:pt idx="1689">7.1655999999999995</cx:pt>
          <cx:pt idx="1690">5.89949999999999</cx:pt>
          <cx:pt idx="1691">36.005800000000001</cx:pt>
          <cx:pt idx="1692">6.8171999999999997</cx:pt>
          <cx:pt idx="1693">4.1023999999999994</cx:pt>
          <cx:pt idx="1694">37.644870000000004</cx:pt>
          <cx:pt idx="1695">38.1554</cx:pt>
          <cx:pt idx="1696">11.625359999999899</cx:pt>
          <cx:pt idx="1697">44.066799999999901</cx:pt>
          <cx:pt idx="1698">62.338399999999709</cx:pt>
          <cx:pt idx="1699">13.751459999999899</cx:pt>
          <cx:pt idx="1700">10.973099999999999</cx:pt>
          <cx:pt idx="1701">12.177599999999899</cx:pt>
          <cx:pt idx="1702">12.825000000000001</cx:pt>
          <cx:pt idx="1703">10.6952999999999</cx:pt>
          <cx:pt idx="1704">11.752799999999999</cx:pt>
          <cx:pt idx="1705">40.86927</cx:pt>
          <cx:pt idx="1706">15.786539999999999</cx:pt>
          <cx:pt idx="1707">50.515599999999907</cx:pt>
          <cx:pt idx="1708">53.740000000000002</cx:pt>
          <cx:pt idx="1709">12.050159999999901</cx:pt>
          <cx:pt idx="1710">35.737099999999998</cx:pt>
          <cx:pt idx="1711">15.476999999999999</cx:pt>
          <cx:pt idx="1712">16.93338</cx:pt>
          <cx:pt idx="1713">39.498899999999999</cx:pt>
          <cx:pt idx="1714">10.0008</cx:pt>
          <cx:pt idx="1715">10.278600000000001</cx:pt>
          <cx:pt idx="1716">19.547980000000003</cx:pt>
          <cx:pt idx="1717">47.291200000000003</cx:pt>
          <cx:pt idx="1718">10.6952999999999</cx:pt>
          <cx:pt idx="1719">6.03059999999999</cx:pt>
          <cx:pt idx="1720">38.1554</cx:pt>
          <cx:pt idx="1721">8.9232000000000014</cx:pt>
          <cx:pt idx="1722">8.6527999999999992</cx:pt>
          <cx:pt idx="1723">10.4175</cx:pt>
          <cx:pt idx="1724">11.752799999999999</cx:pt>
          <cx:pt idx="1725">9.8619000000000003</cx:pt>
          <cx:pt idx="1726">13.592399999999898</cx:pt>
          <cx:pt idx="1727">12.460799999999999</cx:pt>
          <cx:pt idx="1728">10.6952999999999</cx:pt>
          <cx:pt idx="1729">19.686400000000003</cx:pt>
          <cx:pt idx="1730">8.5175999999999998</cx:pt>
          <cx:pt idx="1731">9.0583999999999989</cx:pt>
          <cx:pt idx="1732">37.644870000000004</cx:pt>
          <cx:pt idx="1733">39.230199999999897</cx:pt>
          <cx:pt idx="1734">15.786539999999999</cx:pt>
          <cx:pt idx="1735">7.5847200000000008</cx:pt>
          <cx:pt idx="1736">8.3823999999999987</cx:pt>
          <cx:pt idx="1737">7.3008000000000006</cx:pt>
          <cx:pt idx="1738">12.602399999999999</cx:pt>
          <cx:pt idx="1739">18.625179999999901</cx:pt>
          <cx:pt idx="1740">9.5840999999999994</cx:pt>
          <cx:pt idx="1741">16.917999999999999</cx:pt>
          <cx:pt idx="1742">11.48376</cx:pt>
          <cx:pt idx="1743">11.894399999999999</cx:pt>
          <cx:pt idx="1744">12.177599999999899</cx:pt>
          <cx:pt idx="1745">38.692799999999998</cx:pt>
          <cx:pt idx="1746">9.722999999999999</cx:pt>
          <cx:pt idx="1747">39.498899999999999</cx:pt>
          <cx:pt idx="1748">11.611199999999899</cx:pt>
          <cx:pt idx="1749">6.03059999999999</cx:pt>
          <cx:pt idx="1750">17.0718</cx:pt>
          <cx:pt idx="1751">10.7091899999999</cx:pt>
          <cx:pt idx="1752">13.5924</cx:pt>
          <cx:pt idx="1753">15.182200000000002</cx:pt>
          <cx:pt idx="1754">17.3794</cx:pt>
          <cx:pt idx="1755">12.839249999999899</cx:pt>
          <cx:pt idx="1756">47.022500000000001</cx:pt>
          <cx:pt idx="1757">37.886699999999998</cx:pt>
          <cx:pt idx="1758">38.424100000000003</cx:pt>
          <cx:pt idx="1759">14.739999999999901</cx:pt>
          <cx:pt idx="1760">38.961499999999901</cx:pt>
          <cx:pt idx="1761">46.753799999999998</cx:pt>
          <cx:pt idx="1762">1.6794199999999999</cx:pt>
          <cx:pt idx="1763">10.5564</cx:pt>
          <cx:pt idx="1764">12.036</cx:pt>
          <cx:pt idx="1765">15.786539999999999</cx:pt>
          <cx:pt idx="1766">1.9358199999999999</cx:pt>
          <cx:pt idx="1767">3.2178199999999997</cx:pt>
          <cx:pt idx="1768">11.894399999999999</cx:pt>
          <cx:pt idx="1769">45.678999999999995</cx:pt>
          <cx:pt idx="1770">16.779579999999999</cx:pt>
          <cx:pt idx="1771">7.3008000000000006</cx:pt>
          <cx:pt idx="1772">39.230199999999897</cx:pt>
          <cx:pt idx="1773">44.872899999999902</cx:pt>
          <cx:pt idx="1774">18.778979999999901</cx:pt>
          <cx:pt idx="1775">14.8873999999999</cx:pt>
          <cx:pt idx="1776">10.6952999999999</cx:pt>
          <cx:pt idx="1777">12.177599999999899</cx:pt>
          <cx:pt idx="1778">16.625780000000002</cx:pt>
          <cx:pt idx="1779">18.778979999999901</cx:pt>
          <cx:pt idx="1780">8.9367199999999993</cx:pt>
          <cx:pt idx="1781">17.840799999999902</cx:pt>
          <cx:pt idx="1782">19.071199999999997</cx:pt>
          <cx:pt idx="1783">17.533199999999997</cx:pt>
          <cx:pt idx="1784">10.834199999999999</cx:pt>
          <cx:pt idx="1785">18.7636</cx:pt>
          <cx:pt idx="1786">44.604199999999999</cx:pt>
          <cx:pt idx="1787">10.5564</cx:pt>
          <cx:pt idx="1788">17.24098</cx:pt>
          <cx:pt idx="1789">9.5840999999999994</cx:pt>
          <cx:pt idx="1790">37.886699999999998</cx:pt>
          <cx:pt idx="1791">19.071199999999997</cx:pt>
          <cx:pt idx="1792">14.74</cx:pt>
          <cx:pt idx="1793">9.0583999999999989</cx:pt>
          <cx:pt idx="1794">6.8171999999999997</cx:pt>
          <cx:pt idx="1795">15.344340000000001</cx:pt>
          <cx:pt idx="1796">58.307899999999705</cx:pt>
          <cx:pt idx="1797">11.328000000000001</cx:pt>
          <cx:pt idx="1798">16.779579999999999</cx:pt>
          <cx:pt idx="1799">18.3175799999999</cx:pt>
          <cx:pt idx="1800">10.139699999999999</cx:pt>
          <cx:pt idx="1801">14.0261999999999</cx:pt>
          <cx:pt idx="1802">4.3588000000000005</cx:pt>
          <cx:pt idx="1803">34.662300000000002</cx:pt>
          <cx:pt idx="1804">13.881599999999999</cx:pt>
          <cx:pt idx="1805">10.834199999999999</cx:pt>
          <cx:pt idx="1806">10.57029</cx:pt>
          <cx:pt idx="1807">14.0261999999999</cx:pt>
          <cx:pt idx="1808">17.3794</cx:pt>
          <cx:pt idx="1809">7.1655999999999995</cx:pt>
          <cx:pt idx="1810">8.3959200000000003</cx:pt>
          <cx:pt idx="1811">9.5840999999999994</cx:pt>
          <cx:pt idx="1812">11.625359999999899</cx:pt>
          <cx:pt idx="1813">15.9192</cx:pt>
          <cx:pt idx="1814">10.0008</cx:pt>
          <cx:pt idx="1815">11.328000000000001</cx:pt>
          <cx:pt idx="1816">10.4175</cx:pt>
          <cx:pt idx="1817">8.6527999999999992</cx:pt>
          <cx:pt idx="1818">48.366</cx:pt>
          <cx:pt idx="1819">11.611199999999899</cx:pt>
          <cx:pt idx="1820">15.786539999999999</cx:pt>
          <cx:pt idx="1821">8.3823999999999987</cx:pt>
          <cx:pt idx="1822">12.825000000000001</cx:pt>
          <cx:pt idx="1823">7.5847200000000008</cx:pt>
          <cx:pt idx="1824">5.7683999999999997</cx:pt>
          <cx:pt idx="1825">8.1120000000000001</cx:pt>
          <cx:pt idx="1826">38.182270000000003</cx:pt>
          <cx:pt idx="1827">15.182200000000002</cx:pt>
          <cx:pt idx="1828">5.89949999999999</cx:pt>
          <cx:pt idx="1829">15.329599999999999</cx:pt>
          <cx:pt idx="1830">15.6244</cx:pt>
          <cx:pt idx="1831">13.881599999999899</cx:pt>
          <cx:pt idx="1832">10.6952999999999</cx:pt>
          <cx:pt idx="1833">13.31766</cx:pt>
          <cx:pt idx="1834">13.462260000000001</cx:pt>
          <cx:pt idx="1835">12.319199999999899</cx:pt>
          <cx:pt idx="1836">42.992000000000004</cx:pt>
          <cx:pt idx="1837">8.5175999999999998</cx:pt>
          <cx:pt idx="1838">11.90856</cx:pt>
          <cx:pt idx="1839">44.872899999999902</cx:pt>
          <cx:pt idx="1840">39.525770000000001</cx:pt>
          <cx:pt idx="1841">5.5061999999999998</cx:pt>
          <cx:pt idx="1842">6.1616999999999997</cx:pt>
          <cx:pt idx="1843">17.08718</cx:pt>
          <cx:pt idx="1844">14.3154</cx:pt>
          <cx:pt idx="1845">13.736999999999899</cx:pt>
          <cx:pt idx="1846">40.573700000000002</cx:pt>
          <cx:pt idx="1847">40.06317</cx:pt>
          <cx:pt idx="1848">18.456</cx:pt>
          <cx:pt idx="1849">12.8535</cx:pt>
          <cx:pt idx="1850">11.483759999999901</cx:pt>
          <cx:pt idx="1851">4.8715999999999999</cx:pt>
          <cx:pt idx="1852">9.5840999999999994</cx:pt>
          <cx:pt idx="1853">43.798099999999998</cx:pt>
          <cx:pt idx="1854">17.0718</cx:pt>
          <cx:pt idx="1855">12.05016</cx:pt>
          <cx:pt idx="1856">18.625179999999901</cx:pt>
          <cx:pt idx="1857">37.107469999999999</cx:pt>
          <cx:pt idx="1858">7.8415999999999997</cx:pt>
          <cx:pt idx="1859">9.4590899999999998</cx:pt>
          <cx:pt idx="1860">38.1554</cx:pt>
          <cx:pt idx="1861">5.7683999999999997</cx:pt>
          <cx:pt idx="1862">17.0718</cx:pt>
          <cx:pt idx="1863">18.6098</cx:pt>
          <cx:pt idx="1864">14.3154</cx:pt>
          <cx:pt idx="1865">11.483759999999901</cx:pt>
          <cx:pt idx="1866">13.109999999999999</cx:pt>
          <cx:pt idx="1867">6.1879200000000196</cx:pt>
          <cx:pt idx="1868">13.881599999999999</cx:pt>
          <cx:pt idx="1869">4.2305999999999999</cx:pt>
          <cx:pt idx="1870">10.5564</cx:pt>
          <cx:pt idx="1871">8.7880000000000003</cx:pt>
          <cx:pt idx="1872">4.4870000000000001</cx:pt>
          <cx:pt idx="1873">43.529399999999903</cx:pt>
          <cx:pt idx="1874">16.764200000000002</cx:pt>
          <cx:pt idx="1875">11.894399999999999</cx:pt>
          <cx:pt idx="1876">18.7636</cx:pt>
          <cx:pt idx="1877">16.779579999999999</cx:pt>
          <cx:pt idx="1878">17.994599999999998</cx:pt>
          <cx:pt idx="1879">13.1242499999999</cx:pt>
          <cx:pt idx="1880">15.329599999999999</cx:pt>
          <cx:pt idx="1881">12.8535</cx:pt>
          <cx:pt idx="1882">54.814799999999998</cx:pt>
          <cx:pt idx="1883">6.1616999999999997</cx:pt>
          <cx:pt idx="1884">17.2256</cx:pt>
          <cx:pt idx="1885">10.278600000000001</cx:pt>
          <cx:pt idx="1886">47.828600000000002</cx:pt>
          <cx:pt idx="1887">36.301369999999999</cx:pt>
          <cx:pt idx="1888">6.1616999999999997</cx:pt>
          <cx:pt idx="1889">45.141599999999997</cx:pt>
          <cx:pt idx="1890">15.329599999999999</cx:pt>
          <cx:pt idx="1891">10.278600000000001</cx:pt>
          <cx:pt idx="1892">41.379800000000003</cx:pt>
          <cx:pt idx="1893">12.839249999999899</cx:pt>
          <cx:pt idx="1894">11.328000000000001</cx:pt>
          <cx:pt idx="1895">15.786539999999999</cx:pt>
          <cx:pt idx="1896">15.491739999999901</cx:pt>
          <cx:pt idx="1897">15.329599999999999</cx:pt>
          <cx:pt idx="1898">16.779579999999999</cx:pt>
          <cx:pt idx="1899">13.606860000000001</cx:pt>
          <cx:pt idx="1900">13.109999999999999</cx:pt>
          <cx:pt idx="1901">16.779579999999999</cx:pt>
          <cx:pt idx="1902">17.3794</cx:pt>
          <cx:pt idx="1903">16.917999999999999</cx:pt>
          <cx:pt idx="1904">15.6244</cx:pt>
          <cx:pt idx="1905">13.751459999999899</cx:pt>
          <cx:pt idx="1906">13.1242499999999</cx:pt>
          <cx:pt idx="1907">6.03059999999999</cx:pt>
          <cx:pt idx="1908">10.834199999999999</cx:pt>
          <cx:pt idx="1909">10.0008</cx:pt>
          <cx:pt idx="1910">34.930999999999997</cx:pt>
          <cx:pt idx="1911">17.2256</cx:pt>
          <cx:pt idx="1912">10.278600000000001</cx:pt>
          <cx:pt idx="1913">18.7636</cx:pt>
          <cx:pt idx="1914">10.0008</cx:pt>
          <cx:pt idx="1915">9.0583999999999989</cx:pt>
          <cx:pt idx="1916">18.148399999999899</cx:pt>
          <cx:pt idx="1917">15.04954</cx:pt>
          <cx:pt idx="1918">13.447799999999999</cx:pt>
          <cx:pt idx="1919">17.24098</cx:pt>
          <cx:pt idx="1920">10.278600000000001</cx:pt>
          <cx:pt idx="1921">41.379800000000003</cx:pt>
          <cx:pt idx="1922">10.4175</cx:pt>
          <cx:pt idx="1923">9.8619000000000003</cx:pt>
          <cx:pt idx="1924">11.625359999999899</cx:pt>
          <cx:pt idx="1925">14.1707999999999</cx:pt>
          <cx:pt idx="1926">16.917999999999999</cx:pt>
          <cx:pt idx="1927">10.0008</cx:pt>
          <cx:pt idx="1928">16.625780000000002</cx:pt>
          <cx:pt idx="1929">36.274499999999996</cx:pt>
          <cx:pt idx="1930">14.1707999999999</cx:pt>
          <cx:pt idx="1931">4.3588000000000005</cx:pt>
          <cx:pt idx="1932">36.838769999999997</cx:pt>
          <cx:pt idx="1933">36.838769999999997</cx:pt>
          <cx:pt idx="1934">11.611199999999899</cx:pt>
          <cx:pt idx="1935">10.986989999999899</cx:pt>
          <cx:pt idx="1936">17.0718</cx:pt>
          <cx:pt idx="1937">8.6527999999999992</cx:pt>
          <cx:pt idx="1938">55.083499999999994</cx:pt>
          <cx:pt idx="1939">12.3333599999999</cx:pt>
          <cx:pt idx="1940">16.917999999999999</cx:pt>
          <cx:pt idx="1941">9.5840999999999994</cx:pt>
          <cx:pt idx="1942">1.9358199999999999</cx:pt>
          <cx:pt idx="1943">44.899769999999997</cx:pt>
          <cx:pt idx="1944">9.4868700000000192</cx:pt>
          <cx:pt idx="1945">3.8460000000000001</cx:pt>
          <cx:pt idx="1946">10.834199999999999</cx:pt>
          <cx:pt idx="1947">10.5564</cx:pt>
          <cx:pt idx="1948">10.834199999999999</cx:pt>
          <cx:pt idx="1949">36.811899999999895</cx:pt>
          <cx:pt idx="1950">16.917999999999999</cx:pt>
          <cx:pt idx="1951">37.618000000000002</cx:pt>
          <cx:pt idx="1952">17.994599999999998</cx:pt>
          <cx:pt idx="1953">11.752799999999999</cx:pt>
          <cx:pt idx="1954">54.814799999999998</cx:pt>
          <cx:pt idx="1955">44.872899999999902</cx:pt>
          <cx:pt idx="1956">15.6244</cx:pt>
          <cx:pt idx="1957">19.378799999999998</cx:pt>
          <cx:pt idx="1958">18.778979999999901</cx:pt>
          <cx:pt idx="1959">35.1997</cx:pt>
          <cx:pt idx="1960">15.182200000000002</cx:pt>
          <cx:pt idx="1961">34.662300000000002</cx:pt>
          <cx:pt idx="1962">37.376169999999995</cx:pt>
          <cx:pt idx="1963">17.3794</cx:pt>
          <cx:pt idx="1964">13.881599999999899</cx:pt>
          <cx:pt idx="1965">9.8619000000000003</cx:pt>
          <cx:pt idx="1966">12.825000000000001</cx:pt>
          <cx:pt idx="1967">11.752799999999999</cx:pt>
          <cx:pt idx="1968">56.158299999999905</cx:pt>
          <cx:pt idx="1969">6.1748099999999999</cx:pt>
          <cx:pt idx="1970">13.881599999999899</cx:pt>
          <cx:pt idx="1971">19.378799999999998</cx:pt>
          <cx:pt idx="1972">6.1616999999999997</cx:pt>
          <cx:pt idx="1973">13.1242499999999</cx:pt>
          <cx:pt idx="1974">16.764200000000002</cx:pt>
          <cx:pt idx="1975">47.022500000000001</cx:pt>
          <cx:pt idx="1976">34.662300000000002</cx:pt>
          <cx:pt idx="1977">10.5564</cx:pt>
          <cx:pt idx="1978">16.764200000000002</cx:pt>
          <cx:pt idx="1979">10.834199999999999</cx:pt>
          <cx:pt idx="1980">17.2256</cx:pt>
          <cx:pt idx="1981">44.872899999999902</cx:pt>
          <cx:pt idx="1982">15.491739999999901</cx:pt>
          <cx:pt idx="1983">5.89949999999999</cx:pt>
          <cx:pt idx="1984">38.961499999999901</cx:pt>
          <cx:pt idx="1985">8.6527999999999992</cx:pt>
          <cx:pt idx="1986">41.917200000000001</cx:pt>
          <cx:pt idx="1987">12.036</cx:pt>
          <cx:pt idx="1988">15.6244</cx:pt>
          <cx:pt idx="1989">38.692799999999998</cx:pt>
          <cx:pt idx="1990">3.60242</cx:pt>
          <cx:pt idx="1991">4.6280199999999905</cx:pt>
          <cx:pt idx="1992">48.903400000000005</cx:pt>
          <cx:pt idx="1993">10.848089999999901</cx:pt>
          <cx:pt idx="1994">6.1616999999999997</cx:pt>
          <cx:pt idx="1995">15.329599999999999</cx:pt>
          <cx:pt idx="1996">19.071199999999997</cx:pt>
          <cx:pt idx="1997">4.4870000000000001</cx:pt>
          <cx:pt idx="1998">49.709499999999998</cx:pt>
          <cx:pt idx="1999">13.5924</cx:pt>
          <cx:pt idx="2000">18.948160000000001</cx:pt>
          <cx:pt idx="2001">48.097299999999699</cx:pt>
          <cx:pt idx="2002">34.662300000000002</cx:pt>
          <cx:pt idx="2003">13.736999999999899</cx:pt>
          <cx:pt idx="2004">4.4870000000000001</cx:pt>
          <cx:pt idx="2005">13.881599999999899</cx:pt>
          <cx:pt idx="2006">13.1242499999999</cx:pt>
          <cx:pt idx="2007">8.7880000000000003</cx:pt>
          <cx:pt idx="2008">10.7091899999999</cx:pt>
          <cx:pt idx="2009">14.0261999999999</cx:pt>
          <cx:pt idx="2010">15.771799999999999</cx:pt>
          <cx:pt idx="2011">12.05016</cx:pt>
          <cx:pt idx="2012">10.0008</cx:pt>
          <cx:pt idx="2013">9.4451999999999998</cx:pt>
          <cx:pt idx="2014">17.394779999999898</cx:pt>
          <cx:pt idx="2015">13.736999999999998</cx:pt>
          <cx:pt idx="2016">5.89949999999999</cx:pt>
          <cx:pt idx="2017">36.838769999999997</cx:pt>
          <cx:pt idx="2018">15.329599999999999</cx:pt>
          <cx:pt idx="2019">9.8619000000000003</cx:pt>
          <cx:pt idx="2020">40.842399999999998</cx:pt>
          <cx:pt idx="2021">38.961499999999901</cx:pt>
          <cx:pt idx="2022">12.967500000000001</cx:pt>
          <cx:pt idx="2023">36.811899999999895</cx:pt>
          <cx:pt idx="2024">7.5712000000000002</cx:pt>
          <cx:pt idx="2025">49.709499999999998</cx:pt>
          <cx:pt idx="2026">11.611199999999899</cx:pt>
          <cx:pt idx="2027">14.0261999999999</cx:pt>
          <cx:pt idx="2028">36.838769999999997</cx:pt>
          <cx:pt idx="2029">13.447799999999999</cx:pt>
          <cx:pt idx="2030">14.1708</cx:pt>
          <cx:pt idx="2031">9.0583999999999989</cx:pt>
          <cx:pt idx="2032">7.5712000000000002</cx:pt>
          <cx:pt idx="2033">9.722999999999999</cx:pt>
          <cx:pt idx="2034">10.278600000000001</cx:pt>
          <cx:pt idx="2035">14.0406599999999</cx:pt>
          <cx:pt idx="2036">14.75474</cx:pt>
          <cx:pt idx="2037">35.737099999999998</cx:pt>
          <cx:pt idx="2038">11.752799999999999</cx:pt>
          <cx:pt idx="2039">12.967500000000001</cx:pt>
          <cx:pt idx="2040">15.786539999999999</cx:pt>
          <cx:pt idx="2041">15.034799999999901</cx:pt>
          <cx:pt idx="2042">8.80152</cx:pt>
          <cx:pt idx="2043">10.6952999999999</cx:pt>
          <cx:pt idx="2044">18.7636</cx:pt>
          <cx:pt idx="2045">15.786539999999999</cx:pt>
          <cx:pt idx="2046">4.7690400000000199</cx:pt>
          <cx:pt idx="2047">42.723299999999995</cx:pt>
          <cx:pt idx="2048">6.5549999999999997</cx:pt>
          <cx:pt idx="2049">37.618000000000002</cx:pt>
          <cx:pt idx="2050">19.240380000000002</cx:pt>
          <cx:pt idx="2051">17.994599999999998</cx:pt>
          <cx:pt idx="2052">8.3823999999999987</cx:pt>
          <cx:pt idx="2053">37.886699999999998</cx:pt>
          <cx:pt idx="2054">10.0008</cx:pt>
          <cx:pt idx="2055">11.111999999999899</cx:pt>
          <cx:pt idx="2056">11.4696</cx:pt>
          <cx:pt idx="2057">36.811899999999895</cx:pt>
          <cx:pt idx="2058">13.1242499999999</cx:pt>
          <cx:pt idx="2059">12.967500000000001</cx:pt>
          <cx:pt idx="2060">40.573700000000002</cx:pt>
          <cx:pt idx="2061">8.6527999999999992</cx:pt>
          <cx:pt idx="2062">44.362369999999999</cx:pt>
          <cx:pt idx="2063">14.1707999999999</cx:pt>
          <cx:pt idx="2064">1.55122</cx:pt>
          <cx:pt idx="2065">13.549779999999901</cx:pt>
          <cx:pt idx="2066">27.702969999999898</cx:pt>
          <cx:pt idx="2067">12.0117799999999</cx:pt>
          <cx:pt idx="2068">14.318779999999901</cx:pt>
          <cx:pt idx="2069">28.509069999999998</cx:pt>
          <cx:pt idx="2070">0.91021999999999992</cx:pt>
          <cx:pt idx="2071">2.1922199999999998</cx:pt>
          <cx:pt idx="2072">12.319379999999901</cx:pt>
          <cx:pt idx="2073">35.763969999999901</cx:pt>
          <cx:pt idx="2074">3.08962</cx:pt>
          <cx:pt idx="2075">29.852569999999901</cx:pt>
          <cx:pt idx="2076">12.0117799999999</cx:pt>
          <cx:pt idx="2077">28.777770000000004</cx:pt>
          <cx:pt idx="2078">30.389969999999899</cx:pt>
          <cx:pt idx="2079">12.0117799999999</cx:pt>
          <cx:pt idx="2080">27.702969999999898</cx:pt>
          <cx:pt idx="2081">11.550379999999901</cx:pt>
        </cx:lvl>
      </cx:numDim>
    </cx:data>
    <cx:data id="11">
      <cx:numDim type="val">
        <cx:f>Sheet2!$L$2:$L$11265</cx:f>
        <cx:lvl ptCount="11264" formatCode="General">
          <cx:pt idx="0">6.0437099999999999</cx:pt>
          <cx:pt idx="1">35.495269999999898</cx:pt>
          <cx:pt idx="2">15.344340000000001</cx:pt>
          <cx:pt idx="3">15.04954</cx:pt>
          <cx:pt idx="4">8.3823999999999987</cx:pt>
          <cx:pt idx="5">10.6952999999999</cx:pt>
          <cx:pt idx="6">15.04954</cx:pt>
          <cx:pt idx="7">6.8171999999999997</cx:pt>
          <cx:pt idx="8">5.1279999999999903</cx:pt>
          <cx:pt idx="9">4.1023999999999994</cx:pt>
          <cx:pt idx="10">15.344340000000001</cx:pt>
          <cx:pt idx="11">11.625359999999899</cx:pt>
          <cx:pt idx="12">6.03059999999999</cx:pt>
          <cx:pt idx="13">5.5193099999999999</cx:pt>
          <cx:pt idx="14">12.3333599999999</cx:pt>
          <cx:pt idx="15">15.04954</cx:pt>
          <cx:pt idx="16">8.7880000000000003</cx:pt>
          <cx:pt idx="17">12.319199999999899</cx:pt>
          <cx:pt idx="18">10.0146899999999</cx:pt>
          <cx:pt idx="19">18.778979999999901</cx:pt>
          <cx:pt idx="20">15.786539999999999</cx:pt>
          <cx:pt idx="21">2.7050200000000002</cx:pt>
          <cx:pt idx="22">18.009979999999899</cx:pt>
          <cx:pt idx="23">10.973099999999999</cx:pt>
          <cx:pt idx="24">5.63729999999999</cx:pt>
          <cx:pt idx="25">2.1922199999999998</cx:pt>
          <cx:pt idx="26">18.778979999999901</cx:pt>
          <cx:pt idx="27">3.4742199999999896</cx:pt>
          <cx:pt idx="28">12.474959999999999</cx:pt>
          <cx:pt idx="29">5.7815099999999902</cx:pt>
          <cx:pt idx="30">12.191759999999901</cx:pt>
          <cx:pt idx="31">5.63729999999999</cx:pt>
          <cx:pt idx="32">15.04954</cx:pt>
          <cx:pt idx="33">14.0261999999999</cx:pt>
          <cx:pt idx="34">12.602399999999999</cx:pt>
          <cx:pt idx="35">4.8715999999999999</cx:pt>
          <cx:pt idx="36">3.8460000000000001</cx:pt>
          <cx:pt idx="37">18.932779999999998</cx:pt>
          <cx:pt idx="38">15.491739999999901</cx:pt>
          <cx:pt idx="39">16.93338</cx:pt>
          <cx:pt idx="40">1.42302</cx:pt>
          <cx:pt idx="41">5.6504099999999999</cx:pt>
          <cx:pt idx="42">13.751459999999899</cx:pt>
          <cx:pt idx="43">8.7880000000000003</cx:pt>
          <cx:pt idx="44">5.7683999999999997</cx:pt>
          <cx:pt idx="45">15.04954</cx:pt>
          <cx:pt idx="46">13.31766</cx:pt>
          <cx:pt idx="47">12.3333599999999</cx:pt>
          <cx:pt idx="48">15.04954</cx:pt>
          <cx:pt idx="49">15.04954</cx:pt>
          <cx:pt idx="50">18.009979999999899</cx:pt>
          <cx:pt idx="51">11.4696</cx:pt>
          <cx:pt idx="52">15.04954</cx:pt>
          <cx:pt idx="53">5.7683999999999997</cx:pt>
          <cx:pt idx="54">4.8844199999999995</cx:pt>
          <cx:pt idx="55">6.4239000000000006</cx:pt>
          <cx:pt idx="56">13.1242499999999</cx:pt>
          <cx:pt idx="57">3.4742199999999896</cx:pt>
          <cx:pt idx="58">39.230199999999897</cx:pt>
          <cx:pt idx="59">6.1616999999999997</cx:pt>
          <cx:pt idx="60">18.009979999999899</cx:pt>
          <cx:pt idx="61">11.625359999999899</cx:pt>
          <cx:pt idx="62">16.764200000000002</cx:pt>
          <cx:pt idx="63">12.3333599999999</cx:pt>
          <cx:pt idx="64">12.050159999999901</cx:pt>
          <cx:pt idx="65">13.1242499999999</cx:pt>
          <cx:pt idx="66">14.607339999999899</cx:pt>
          <cx:pt idx="67">12.177599999999899</cx:pt>
          <cx:pt idx="68">4.4998199999999899</cx:pt>
          <cx:pt idx="69">13.1242499999999</cx:pt>
          <cx:pt idx="70">13.751459999999899</cx:pt>
          <cx:pt idx="71">6.5549999999999997</cx:pt>
          <cx:pt idx="72">15.9192</cx:pt>
          <cx:pt idx="73">5.1279999999999903</cx:pt>
          <cx:pt idx="74">41.675369999999702</cx:pt>
          <cx:pt idx="75">15.04954</cx:pt>
          <cx:pt idx="76">7.8415999999999997</cx:pt>
          <cx:pt idx="77">14.902139999999999</cx:pt>
          <cx:pt idx="78">7.5712000000000002</cx:pt>
          <cx:pt idx="79">10.139699999999999</cx:pt>
          <cx:pt idx="80">15.344340000000001</cx:pt>
          <cx:pt idx="81">7.5712000000000002</cx:pt>
          <cx:pt idx="82">10.292490000000001</cx:pt>
          <cx:pt idx="83">43.556270000000005</cx:pt>
          <cx:pt idx="84">18.778979999999901</cx:pt>
          <cx:pt idx="85">17.08718</cx:pt>
          <cx:pt idx="86">19.240380000000002</cx:pt>
          <cx:pt idx="87">11.4696</cx:pt>
          <cx:pt idx="88">17.394779999999898</cx:pt>
          <cx:pt idx="89">6.8171999999999997</cx:pt>
          <cx:pt idx="90">7.1655999999999995</cx:pt>
          <cx:pt idx="91">15.04954</cx:pt>
          <cx:pt idx="92">13.1242499999999</cx:pt>
          <cx:pt idx="93">8.5446400000000207</cx:pt>
          <cx:pt idx="94">7.5847200000000008</cx:pt>
          <cx:pt idx="95">13.1242499999999</cx:pt>
          <cx:pt idx="96">14.75474</cx:pt>
          <cx:pt idx="97">17.24098</cx:pt>
          <cx:pt idx="98">5.7683999999999997</cx:pt>
          <cx:pt idx="99">11.90856</cx:pt>
          <cx:pt idx="100">13.447799999999999</cx:pt>
          <cx:pt idx="101">7.5712000000000002</cx:pt>
          <cx:pt idx="102">15.04954</cx:pt>
          <cx:pt idx="103">4.3588000000000005</cx:pt>
          <cx:pt idx="104">12.825000000000001</cx:pt>
          <cx:pt idx="105">8.1120000000000001</cx:pt>
          <cx:pt idx="106">4.6151999999999997</cx:pt>
          <cx:pt idx="107">17.24098</cx:pt>
          <cx:pt idx="108">6.4239000000000006</cx:pt>
          <cx:pt idx="109">6.03059999999999</cx:pt>
          <cx:pt idx="110">15.639140000000001</cx:pt>
          <cx:pt idx="111">11.4696</cx:pt>
          <cx:pt idx="112">35.763969999999901</cx:pt>
          <cx:pt idx="113">18.302199999999999</cx:pt>
          <cx:pt idx="114">13.751459999999998</cx:pt>
          <cx:pt idx="115">15.344340000000001</cx:pt>
          <cx:pt idx="116">4.1023999999999994</cx:pt>
          <cx:pt idx="117">17.24098</cx:pt>
          <cx:pt idx="118">11.752799999999999</cx:pt>
          <cx:pt idx="119">35.226570000000002</cx:pt>
          <cx:pt idx="120">12.825000000000001</cx:pt>
          <cx:pt idx="121">13.751459999999899</cx:pt>
          <cx:pt idx="122">15.786539999999999</cx:pt>
          <cx:pt idx="123">4.6151999999999997</cx:pt>
          <cx:pt idx="124">15.04954</cx:pt>
          <cx:pt idx="125">4.3588000000000005</cx:pt>
          <cx:pt idx="126">10.292490000000001</cx:pt>
          <cx:pt idx="127">15.344340000000001</cx:pt>
          <cx:pt idx="128">7.9767999999999892</cx:pt>
          <cx:pt idx="129">10.292490000000001</cx:pt>
          <cx:pt idx="130">3.8460000000000001</cx:pt>
          <cx:pt idx="131">8.5175999999999998</cx:pt>
          <cx:pt idx="132">10.6952999999999</cx:pt>
          <cx:pt idx="133">11.625359999999899</cx:pt>
          <cx:pt idx="134">6.5549999999999997</cx:pt>
          <cx:pt idx="135">3.08962</cx:pt>
          <cx:pt idx="136">14.0406599999999</cx:pt>
          <cx:pt idx="137">51.617269999999905</cx:pt>
          <cx:pt idx="138">5.2561999999999998</cx:pt>
          <cx:pt idx="139">10.4175</cx:pt>
          <cx:pt idx="140">15.639140000000001</cx:pt>
          <cx:pt idx="141">6.5681099999999892</cx:pt>
          <cx:pt idx="142">6.03059999999999</cx:pt>
          <cx:pt idx="143">15.04954</cx:pt>
          <cx:pt idx="144">6.03059999999999</cx:pt>
          <cx:pt idx="145">5.0126199999999894</cx:pt>
          <cx:pt idx="146">6.2927999999999997</cx:pt>
          <cx:pt idx="147">17.702379999999902</cx:pt>
          <cx:pt idx="148">14.040659999999999</cx:pt>
          <cx:pt idx="149">15.786539999999999</cx:pt>
          <cx:pt idx="150">6.8171999999999997</cx:pt>
          <cx:pt idx="151">6.5549999999999997</cx:pt>
          <cx:pt idx="152">5.5061999999999998</cx:pt>
          <cx:pt idx="153">18.163779999999999</cx:pt>
          <cx:pt idx="154">4.8715999999999999</cx:pt>
          <cx:pt idx="155">17.702379999999902</cx:pt>
          <cx:pt idx="156">10.6952999999999</cx:pt>
          <cx:pt idx="157">13.462259999999901</cx:pt>
          <cx:pt idx="158">7.8415999999999997</cx:pt>
          <cx:pt idx="159">10.834199999999999</cx:pt>
          <cx:pt idx="160">4.2305999999999999</cx:pt>
          <cx:pt idx="161">12.050159999999901</cx:pt>
          <cx:pt idx="162">48.097299999999699</cx:pt>
          <cx:pt idx="163">4.6151999999999997</cx:pt>
          <cx:pt idx="164">12.177599999999899</cx:pt>
          <cx:pt idx="165">7.9767999999999892</cx:pt>
          <cx:pt idx="166">7.4359999999999999</cx:pt>
          <cx:pt idx="167">10.973099999999999</cx:pt>
          <cx:pt idx="168">8.6527999999999992</cx:pt>
          <cx:pt idx="169">4.8715999999999999</cx:pt>
          <cx:pt idx="170">10.5564</cx:pt>
          <cx:pt idx="171">7.4359999999999999</cx:pt>
          <cx:pt idx="172">10.292490000000001</cx:pt>
          <cx:pt idx="173">46.243269999999995</cx:pt>
          <cx:pt idx="174">5.5061999999999998</cx:pt>
          <cx:pt idx="175">15.639140000000001</cx:pt>
          <cx:pt idx="176">7.4359999999999999</cx:pt>
          <cx:pt idx="177">36.570070000000001</cx:pt>
          <cx:pt idx="178">13.606859999999902</cx:pt>
          <cx:pt idx="179">7.1655999999999995</cx:pt>
          <cx:pt idx="180">11.611199999999899</cx:pt>
          <cx:pt idx="181">13.751459999999899</cx:pt>
          <cx:pt idx="182">13.1242499999999</cx:pt>
          <cx:pt idx="183">17.994599999999998</cx:pt>
          <cx:pt idx="184">5.5061999999999998</cx:pt>
          <cx:pt idx="185">14.607339999999899</cx:pt>
          <cx:pt idx="186">2.6922000000000001</cx:pt>
          <cx:pt idx="187">15.182200000000002</cx:pt>
          <cx:pt idx="188">18.009979999999899</cx:pt>
          <cx:pt idx="189">6.5549999999999997</cx:pt>
          <cx:pt idx="190">4.2434199999999995</cx:pt>
          <cx:pt idx="191">12.319199999999899</cx:pt>
          <cx:pt idx="192">1.9358199999999999</cx:pt>
          <cx:pt idx="193">6.5681099999999892</cx:pt>
          <cx:pt idx="194">1.6794199999999999</cx:pt>
          <cx:pt idx="195">4.7433999999999994</cx:pt>
          <cx:pt idx="196">13.1242499999999</cx:pt>
          <cx:pt idx="197">37.886699999999998</cx:pt>
          <cx:pt idx="198">15.491739999999901</cx:pt>
          <cx:pt idx="199">35.495269999999898</cx:pt>
          <cx:pt idx="200">6.03059999999999</cx:pt>
          <cx:pt idx="201">13.751459999999899</cx:pt>
          <cx:pt idx="202">12.191759999999901</cx:pt>
          <cx:pt idx="203">13.1242499999999</cx:pt>
          <cx:pt idx="204">11.752799999999999</cx:pt>
          <cx:pt idx="205">6.03059999999999</cx:pt>
          <cx:pt idx="206">12.825000000000001</cx:pt>
          <cx:pt idx="207">3.5895999999999999</cx:pt>
          <cx:pt idx="208">4.2305999999999999</cx:pt>
          <cx:pt idx="209">18.009979999999899</cx:pt>
          <cx:pt idx="210">2.7050200000000002</cx:pt>
          <cx:pt idx="211">10.0146899999999</cx:pt>
          <cx:pt idx="212">8.3823999999999987</cx:pt>
          <cx:pt idx="213">15.491739999999901</cx:pt>
          <cx:pt idx="214">10.834199999999999</cx:pt>
          <cx:pt idx="215">60.484369999999998</cx:pt>
          <cx:pt idx="216">3.7178000000000004</cx:pt>
          <cx:pt idx="217">7.1655999999999995</cx:pt>
          <cx:pt idx="218">3.4742199999999896</cx:pt>
          <cx:pt idx="219">17.856179999999998</cx:pt>
          <cx:pt idx="220">43.287569999999697</cx:pt>
          <cx:pt idx="221">39.498899999999999</cx:pt>
          <cx:pt idx="222">13.1242499999999</cx:pt>
          <cx:pt idx="223">5.7683999999999997</cx:pt>
          <cx:pt idx="224">5.63729999999999</cx:pt>
          <cx:pt idx="225">10.0146899999999</cx:pt>
          <cx:pt idx="226">7.4359999999999999</cx:pt>
          <cx:pt idx="227">8.6663199999999989</cx:pt>
          <cx:pt idx="228">15.04954</cx:pt>
          <cx:pt idx="229">5.7683999999999997</cx:pt>
          <cx:pt idx="230">15.04954</cx:pt>
          <cx:pt idx="231">7.0439199999999991</cx:pt>
          <cx:pt idx="232">10.6952999999999</cx:pt>
          <cx:pt idx="233">6.03059999999999</cx:pt>
          <cx:pt idx="234">4.8715999999999999</cx:pt>
          <cx:pt idx="235">14.75474</cx:pt>
          <cx:pt idx="236">6.5549999999999997</cx:pt>
          <cx:pt idx="237">6.03059999999999</cx:pt>
          <cx:pt idx="238">3.7178000000000004</cx:pt>
          <cx:pt idx="239">4.8715999999999999</cx:pt>
          <cx:pt idx="240">17.08718</cx:pt>
          <cx:pt idx="241">41.137969999999704</cx:pt>
          <cx:pt idx="242">49.736369999999901</cx:pt>
          <cx:pt idx="243">4.8715999999999999</cx:pt>
          <cx:pt idx="244">17.702379999999902</cx:pt>
          <cx:pt idx="245">3.2178199999999997</cx:pt>
          <cx:pt idx="246">14.0261999999999</cx:pt>
          <cx:pt idx="247">6.4239000000000006</cx:pt>
          <cx:pt idx="248">6.03059999999999</cx:pt>
          <cx:pt idx="249">10.6952999999999</cx:pt>
          <cx:pt idx="250">10.292490000000001</cx:pt>
          <cx:pt idx="251">18.778979999999901</cx:pt>
          <cx:pt idx="252">5.2690199999999905</cx:pt>
          <cx:pt idx="253">19.240380000000002</cx:pt>
          <cx:pt idx="254">6.03059999999999</cx:pt>
          <cx:pt idx="255">5.89949999999999</cx:pt>
          <cx:pt idx="256">7.1655999999999995</cx:pt>
          <cx:pt idx="257">15.04954</cx:pt>
          <cx:pt idx="258">6.6860999999999908</cx:pt>
          <cx:pt idx="259">5.7683999999999997</cx:pt>
          <cx:pt idx="260">15.04954</cx:pt>
          <cx:pt idx="261">8.6527999999999992</cx:pt>
          <cx:pt idx="262">15.04954</cx:pt>
          <cx:pt idx="263">15.04954</cx:pt>
          <cx:pt idx="264">6.5549999999999997</cx:pt>
          <cx:pt idx="265">10.0146899999999</cx:pt>
          <cx:pt idx="266">6.5549999999999997</cx:pt>
          <cx:pt idx="267">34.689170000000004</cx:pt>
          <cx:pt idx="268">2.1922199999999998</cx:pt>
          <cx:pt idx="269">17.548580000000001</cx:pt>
          <cx:pt idx="270">18.3175799999999</cx:pt>
          <cx:pt idx="271">19.240380000000002</cx:pt>
          <cx:pt idx="272">5.5061999999999998</cx:pt>
          <cx:pt idx="273">15.04954</cx:pt>
          <cx:pt idx="274">11.625359999999899</cx:pt>
          <cx:pt idx="275">17.24098</cx:pt>
          <cx:pt idx="276">15.329599999999999</cx:pt>
          <cx:pt idx="277">10.834199999999999</cx:pt>
          <cx:pt idx="278">3.8460000000000001</cx:pt>
          <cx:pt idx="279">18.009979999999899</cx:pt>
          <cx:pt idx="280">7.1655999999999995</cx:pt>
          <cx:pt idx="281">12.319199999999899</cx:pt>
          <cx:pt idx="282">4.9998000000000005</cx:pt>
          <cx:pt idx="283">17.24098</cx:pt>
          <cx:pt idx="284">6.6860999999999908</cx:pt>
          <cx:pt idx="285">18.009979999999899</cx:pt>
          <cx:pt idx="286">18.009979999999899</cx:pt>
          <cx:pt idx="287">15.19694</cx:pt>
          <cx:pt idx="288">6.1616999999999997</cx:pt>
          <cx:pt idx="289">4.3716200000000001</cx:pt>
          <cx:pt idx="290">10.6952999999999</cx:pt>
          <cx:pt idx="291">3.2178199999999997</cx:pt>
          <cx:pt idx="292">12.050159999999901</cx:pt>
          <cx:pt idx="293">5.5061999999999998</cx:pt>
          <cx:pt idx="294">6.5549999999999997</cx:pt>
          <cx:pt idx="295">15.04954</cx:pt>
          <cx:pt idx="296">15.491739999999901</cx:pt>
          <cx:pt idx="297">15.04954</cx:pt>
          <cx:pt idx="298">38.182270000000003</cx:pt>
          <cx:pt idx="299">2.4358</cx:pt>
          <cx:pt idx="300">6.8171999999999997</cx:pt>
          <cx:pt idx="301">4.4870000000000001</cx:pt>
          <cx:pt idx="302">10.973099999999999</cx:pt>
          <cx:pt idx="303">15.344340000000001</cx:pt>
          <cx:pt idx="304">7.3008000000000006</cx:pt>
          <cx:pt idx="305">6.5549999999999997</cx:pt>
          <cx:pt idx="306">48.661569999999699</cx:pt>
          <cx:pt idx="307">18.6098</cx:pt>
          <cx:pt idx="308">13.1242499999999</cx:pt>
          <cx:pt idx="309">7.1655999999999995</cx:pt>
          <cx:pt idx="310">15.491739999999901</cx:pt>
          <cx:pt idx="311">15.04954</cx:pt>
          <cx:pt idx="312">14.75474</cx:pt>
          <cx:pt idx="313">12.191759999999901</cx:pt>
          <cx:pt idx="314">15.19694</cx:pt>
          <cx:pt idx="315">13.1242499999999</cx:pt>
          <cx:pt idx="316">17.08718</cx:pt>
          <cx:pt idx="317">11.625359999999899</cx:pt>
          <cx:pt idx="318">7.4495199999999997</cx:pt>
          <cx:pt idx="319">8.5175999999999998</cx:pt>
          <cx:pt idx="320">8.7880000000000003</cx:pt>
          <cx:pt idx="321">15.639140000000001</cx:pt>
          <cx:pt idx="322">11.894399999999999</cx:pt>
          <cx:pt idx="323">5.5061999999999998</cx:pt>
          <cx:pt idx="324">10.848089999999901</cx:pt>
          <cx:pt idx="325">5.7683999999999997</cx:pt>
          <cx:pt idx="326">16.779579999999999</cx:pt>
          <cx:pt idx="327">10.0146899999999</cx:pt>
          <cx:pt idx="328">4.8715999999999999</cx:pt>
          <cx:pt idx="329">19.547980000000003</cx:pt>
          <cx:pt idx="330">10.5564</cx:pt>
          <cx:pt idx="331">3.7178000000000004</cx:pt>
          <cx:pt idx="332">16.779579999999999</cx:pt>
          <cx:pt idx="333">4.2305999999999999</cx:pt>
          <cx:pt idx="334">11.625359999999899</cx:pt>
          <cx:pt idx="335">12.191759999999901</cx:pt>
          <cx:pt idx="336">15.04954</cx:pt>
          <cx:pt idx="337">18.3175799999999</cx:pt>
          <cx:pt idx="338">5.2690199999999905</cx:pt>
          <cx:pt idx="339">35.226570000000002</cx:pt>
          <cx:pt idx="340">18.7636</cx:pt>
          <cx:pt idx="341">15.04954</cx:pt>
          <cx:pt idx="342">3.9741999999999997</cx:pt>
          <cx:pt idx="343">10.973099999999999</cx:pt>
          <cx:pt idx="344">13.751459999999899</cx:pt>
          <cx:pt idx="345">10.431389999999901</cx:pt>
          <cx:pt idx="346">42.185899999999997</cx:pt>
          <cx:pt idx="347">7.3008000000000006</cx:pt>
          <cx:pt idx="348">18.009979999999899</cx:pt>
          <cx:pt idx="349">12.050159999999901</cx:pt>
          <cx:pt idx="350">11.4696</cx:pt>
          <cx:pt idx="351">11.766959999999999</cx:pt>
          <cx:pt idx="352">3.2178199999999997</cx:pt>
          <cx:pt idx="353">15.04954</cx:pt>
          <cx:pt idx="354">10.834199999999999</cx:pt>
          <cx:pt idx="355">15.491739999999901</cx:pt>
          <cx:pt idx="356">62.096569999999993</cx:pt>
          <cx:pt idx="357">11.4696</cx:pt>
          <cx:pt idx="358">11.625359999999899</cx:pt>
          <cx:pt idx="359">19.086580000000001</cx:pt>
          <cx:pt idx="360">48.392870000000002</cx:pt>
          <cx:pt idx="361">5.7683999999999997</cx:pt>
          <cx:pt idx="362">10.292490000000001</cx:pt>
          <cx:pt idx="363">18.778979999999901</cx:pt>
          <cx:pt idx="364">15.344340000000001</cx:pt>
          <cx:pt idx="365">5.89949999999999</cx:pt>
          <cx:pt idx="366">15.04954</cx:pt>
          <cx:pt idx="367">17.08718</cx:pt>
          <cx:pt idx="368">42.212769999999999</cx:pt>
          <cx:pt idx="369">11.4696</cx:pt>
          <cx:pt idx="370">15.04954</cx:pt>
          <cx:pt idx="371">15.329599999999999</cx:pt>
          <cx:pt idx="372">11.34216</cx:pt>
          <cx:pt idx="373">14.0406599999999</cx:pt>
          <cx:pt idx="374">5.7683999999999997</cx:pt>
          <cx:pt idx="375">15.04954</cx:pt>
          <cx:pt idx="376">4.1023999999999994</cx:pt>
          <cx:pt idx="377">6.03059999999999</cx:pt>
          <cx:pt idx="378">3.9741999999999997</cx:pt>
          <cx:pt idx="379">15.04954</cx:pt>
          <cx:pt idx="380">15.786539999999999</cx:pt>
          <cx:pt idx="381">3.08962</cx:pt>
          <cx:pt idx="382">10.6952999999999</cx:pt>
          <cx:pt idx="383">13.1242499999999</cx:pt>
          <cx:pt idx="384">7.4359999999999999</cx:pt>
          <cx:pt idx="385">14.75474</cx:pt>
          <cx:pt idx="386">7.7063999999999995</cx:pt>
          <cx:pt idx="387">7.5712000000000002</cx:pt>
          <cx:pt idx="388">5.7683999999999997</cx:pt>
          <cx:pt idx="389">17.24098</cx:pt>
          <cx:pt idx="390">5.63729999999999</cx:pt>
          <cx:pt idx="391">11.894399999999999</cx:pt>
          <cx:pt idx="392">7.1655999999999995</cx:pt>
          <cx:pt idx="393">15.04954</cx:pt>
          <cx:pt idx="394">13.1242499999999</cx:pt>
          <cx:pt idx="395">11.625359999999899</cx:pt>
          <cx:pt idx="396">15.04954</cx:pt>
          <cx:pt idx="397">6.03059999999999</cx:pt>
          <cx:pt idx="398">10.986989999999899</cx:pt>
          <cx:pt idx="399">11.752799999999999</cx:pt>
          <cx:pt idx="400">13.1242499999999</cx:pt>
          <cx:pt idx="401">15.344340000000001</cx:pt>
          <cx:pt idx="402">15.04954</cx:pt>
          <cx:pt idx="403">13.1242499999999</cx:pt>
          <cx:pt idx="404">11.625359999999899</cx:pt>
          <cx:pt idx="405">9.8757900000000003</cx:pt>
          <cx:pt idx="406">9.4451999999999998</cx:pt>
          <cx:pt idx="407">6.2927999999999997</cx:pt>
          <cx:pt idx="408">5.89949999999999</cx:pt>
          <cx:pt idx="409">15.04954</cx:pt>
          <cx:pt idx="410">3.9870200000000002</cx:pt>
          <cx:pt idx="411">19.086580000000001</cx:pt>
          <cx:pt idx="412">12.177599999999899</cx:pt>
          <cx:pt idx="413">13.1242499999999</cx:pt>
          <cx:pt idx="414">10.292490000000001</cx:pt>
          <cx:pt idx="415">14.0261999999999</cx:pt>
          <cx:pt idx="416">3.8460000000000001</cx:pt>
          <cx:pt idx="417">8.7880000000000003</cx:pt>
          <cx:pt idx="418">10.57029</cx:pt>
          <cx:pt idx="419">11.625359999999899</cx:pt>
          <cx:pt idx="420">15.04954</cx:pt>
          <cx:pt idx="421">13.751459999999899</cx:pt>
          <cx:pt idx="422">15.04954</cx:pt>
          <cx:pt idx="423">5.5061999999999998</cx:pt>
          <cx:pt idx="424">6.8171999999999997</cx:pt>
          <cx:pt idx="425">42.481469999999902</cx:pt>
          <cx:pt idx="426">5.5061999999999998</cx:pt>
          <cx:pt idx="427">13.606859999999902</cx:pt>
          <cx:pt idx="428">7.1655999999999995</cx:pt>
          <cx:pt idx="429">15.04954</cx:pt>
          <cx:pt idx="430">4.7562199999999999</cx:pt>
          <cx:pt idx="431">9.4451999999999998</cx:pt>
          <cx:pt idx="432">17.24098</cx:pt>
          <cx:pt idx="433">11.4696</cx:pt>
          <cx:pt idx="434">6.6860999999999908</cx:pt>
          <cx:pt idx="435">15.04954</cx:pt>
          <cx:pt idx="436">15.6244</cx:pt>
          <cx:pt idx="437">13.751459999999899</cx:pt>
          <cx:pt idx="438">4.3716200000000001</cx:pt>
          <cx:pt idx="439">18.625179999999901</cx:pt>
          <cx:pt idx="440">4.1023999999999994</cx:pt>
          <cx:pt idx="441">10.6952999999999</cx:pt>
          <cx:pt idx="442">9.8619000000000003</cx:pt>
          <cx:pt idx="443">10.973099999999999</cx:pt>
          <cx:pt idx="444">4.9998000000000005</cx:pt>
          <cx:pt idx="445">11.4696</cx:pt>
          <cx:pt idx="446">10.5702899999999</cx:pt>
          <cx:pt idx="447">5.4309900000000004</cx:pt>
          <cx:pt idx="448">7.0998599999999996</cx:pt>
          <cx:pt idx="449">8.7113399999999999</cx:pt>
          <cx:pt idx="450">4.6103199999999998</cx:pt>
          <cx:pt idx="451">13.549779999999901</cx:pt>
          <cx:pt idx="452">6.2842499999999992</cx:pt>
          <cx:pt idx="453">5.4309900000000004</cx:pt>
          <cx:pt idx="454">10.92234</cx:pt>
          <cx:pt idx="455">6.2842499999999992</cx:pt>
          <cx:pt idx="456">5.4309900000000004</cx:pt>
          <cx:pt idx="457">5.4309900000000004</cx:pt>
          <cx:pt idx="458">5.7064800000000293</cx:pt>
          <cx:pt idx="459">3.68391</cx:pt>
          <cx:pt idx="460">3.08962</cx:pt>
          <cx:pt idx="461">8.2691400000000002</cx:pt>
          <cx:pt idx="462">5.1511199999999997</cx:pt>
          <cx:pt idx="463">3.68391</cx:pt>
          <cx:pt idx="464">14.164979999999899</cx:pt>
          <cx:pt idx="465">6.2842499999999992</cx:pt>
          <cx:pt idx="466">5.6781600000000001</cx:pt>
          <cx:pt idx="467">5.1511199999999997</cx:pt>
          <cx:pt idx="468">6.2842499999999992</cx:pt>
          <cx:pt idx="469">6.6660599999999999</cx:pt>
          <cx:pt idx="470">5.1511199999999997</cx:pt>
          <cx:pt idx="471">3.81501</cx:pt>
          <cx:pt idx="472">5.8197600000000005</cx:pt>
          <cx:pt idx="473">6.2842499999999992</cx:pt>
          <cx:pt idx="474">9.890539999999989</cx:pt>
          <cx:pt idx="475">8.4165399999999995</cx:pt>
          <cx:pt idx="476">3.08962</cx:pt>
          <cx:pt idx="477">6.14175</cx:pt>
          <cx:pt idx="478">6.14175</cx:pt>
          <cx:pt idx="479">10.037939999999999</cx:pt>
          <cx:pt idx="480">3.08962</cx:pt>
          <cx:pt idx="481">11.85798</cx:pt>
          <cx:pt idx="482">5.1511199999999997</cx:pt>
          <cx:pt idx="483">37.1074699999999</cx:pt>
          <cx:pt idx="484">5.9613599999999902</cx:pt>
          <cx:pt idx="485">4.07721</cx:pt>
          <cx:pt idx="486">1.6794199999999999</cx:pt>
          <cx:pt idx="487">29.315169999999902</cx:pt>
          <cx:pt idx="488">12.93458</cx:pt>
          <cx:pt idx="489">6.6660599999999999</cx:pt>
          <cx:pt idx="490">10.92234</cx:pt>
          <cx:pt idx="491">5.4309900000000004</cx:pt>
          <cx:pt idx="492">1.16662</cx:pt>
          <cx:pt idx="493">1.6794199999999999</cx:pt>
          <cx:pt idx="494">4.4751199999999995</cx:pt>
          <cx:pt idx="495">2.7050200000000002</cx:pt>
          <cx:pt idx="496">27.97167</cx:pt>
          <cx:pt idx="497">5.4309900000000004</cx:pt>
          <cx:pt idx="498">6.2842499999999992</cx:pt>
          <cx:pt idx="499">2.9614199999999999</cx:pt>
          <cx:pt idx="500">6.14175</cx:pt>
          <cx:pt idx="501">3.81501</cx:pt>
          <cx:pt idx="502">1.6794199999999999</cx:pt>
          <cx:pt idx="503">5.4309900000000004</cx:pt>
          <cx:pt idx="504">27.165569999999999</cx:pt>
          <cx:pt idx="505">6.9552600000000009</cx:pt>
          <cx:pt idx="506">1.6794199999999999</cx:pt>
          <cx:pt idx="507">44.899769999999698</cx:pt>
          <cx:pt idx="508">3.94611</cx:pt>
          <cx:pt idx="509">32.00217</cx:pt>
          <cx:pt idx="510">5.4309900000000004</cx:pt>
          <cx:pt idx="511">3.81501</cx:pt>
          <cx:pt idx="512">7.6782600000000008</cx:pt>
          <cx:pt idx="513">1.6794199999999999</cx:pt>
          <cx:pt idx="514">28.777769999999904</cx:pt>
          <cx:pt idx="515">6.2842499999999992</cx:pt>
          <cx:pt idx="516">6.14175</cx:pt>
          <cx:pt idx="517">13.39598</cx:pt>
          <cx:pt idx="518">5.4309900000000004</cx:pt>
          <cx:pt idx="519">6.14175</cx:pt>
          <cx:pt idx="520">1.9358199999999999</cx:pt>
          <cx:pt idx="521">6.2842499999999992</cx:pt>
          <cx:pt idx="522">10.037939999999999</cx:pt>
          <cx:pt idx="523">26.628170000000001</cx:pt>
          <cx:pt idx="524">14.472579999999999</cx:pt>
          <cx:pt idx="525">6.2842499999999992</cx:pt>
          <cx:pt idx="526">11.550380000000001</cx:pt>
          <cx:pt idx="527">6.14175</cx:pt>
          <cx:pt idx="528">6.14175</cx:pt>
          <cx:pt idx="529">4.6103199999999998</cx:pt>
          <cx:pt idx="530">12.16558</cx:pt>
          <cx:pt idx="531">5.1511199999999997</cx:pt>
          <cx:pt idx="532">6.2842499999999992</cx:pt>
          <cx:pt idx="533">5.4309900000000004</cx:pt>
          <cx:pt idx="534">5.1511199999999997</cx:pt>
          <cx:pt idx="535">6.2842499999999992</cx:pt>
          <cx:pt idx="536">5.4309900000000004</cx:pt>
          <cx:pt idx="537">11.704180000000001</cx:pt>
          <cx:pt idx="538">10.92234</cx:pt>
          <cx:pt idx="539">6.2842499999999992</cx:pt>
          <cx:pt idx="540">7.0998599999999996</cx:pt>
          <cx:pt idx="541">4.6103199999999998</cx:pt>
          <cx:pt idx="542">10.92234</cx:pt>
          <cx:pt idx="543">6.14175</cx:pt>
          <cx:pt idx="544">7.3890599999999997</cx:pt>
          <cx:pt idx="545">3.08962</cx:pt>
          <cx:pt idx="546">3.08962</cx:pt>
          <cx:pt idx="547">4.4751199999999995</cx:pt>
          <cx:pt idx="548">9.7726200000000301</cx:pt>
          <cx:pt idx="549">6.2842499999999992</cx:pt>
          <cx:pt idx="550">6.2842499999999992</cx:pt>
          <cx:pt idx="551">2.9614199999999999</cx:pt>
          <cx:pt idx="552">6.2842499999999992</cx:pt>
          <cx:pt idx="553">3.94611</cx:pt>
          <cx:pt idx="554">9.44834</cx:pt>
          <cx:pt idx="555">7.0998599999999996</cx:pt>
          <cx:pt idx="556">13.395979999999899</cx:pt>
          <cx:pt idx="557">3.68391</cx:pt>
          <cx:pt idx="558">6.6660599999999999</cx:pt>
          <cx:pt idx="559">5.1511199999999997</cx:pt>
          <cx:pt idx="560">5.4309900000000004</cx:pt>
          <cx:pt idx="561">8.5639399999999899</cx:pt>
          <cx:pt idx="562">5.8197600000000005</cx:pt>
          <cx:pt idx="563">6.14175</cx:pt>
          <cx:pt idx="564">5.4309900000000004</cx:pt>
          <cx:pt idx="565">5.4309900000000004</cx:pt>
          <cx:pt idx="566">4.6103199999999998</cx:pt>
          <cx:pt idx="567">5.4309900000000004</cx:pt>
          <cx:pt idx="568">4.4751199999999995</cx:pt>
          <cx:pt idx="569">10.774939999999999</cx:pt>
          <cx:pt idx="570">5.4309900000000004</cx:pt>
          <cx:pt idx="571">5.4309900000000004</cx:pt>
          <cx:pt idx="572">6.14175</cx:pt>
          <cx:pt idx="573">5.0159200000000004</cx:pt>
          <cx:pt idx="574">27.702969999999898</cx:pt>
          <cx:pt idx="575">6.2842499999999992</cx:pt>
          <cx:pt idx="576">1.80762</cx:pt>
          <cx:pt idx="577">5.4309900000000004</cx:pt>
          <cx:pt idx="578">6.2842499999999992</cx:pt>
          <cx:pt idx="579">12.16558</cx:pt>
          <cx:pt idx="580">6.2842499999999992</cx:pt>
          <cx:pt idx="581">3.42171</cx:pt>
          <cx:pt idx="582">1.6794199999999999</cx:pt>
          <cx:pt idx="583">12.4731799999999</cx:pt>
          <cx:pt idx="584">1.80762</cx:pt>
          <cx:pt idx="585">26.628170000000001</cx:pt>
          <cx:pt idx="586">29.046469999999903</cx:pt>
          <cx:pt idx="587">6.5214599999999994</cx:pt>
          <cx:pt idx="588">6.14175</cx:pt>
          <cx:pt idx="589">10.92234</cx:pt>
          <cx:pt idx="590">36.570070000000001</cx:pt>
          <cx:pt idx="591">6.2842499999999992</cx:pt>
          <cx:pt idx="592">5.4309900000000004</cx:pt>
          <cx:pt idx="593">5.9613599999999902</cx:pt>
          <cx:pt idx="594">2.9614199999999999</cx:pt>
          <cx:pt idx="595">5.4309900000000004</cx:pt>
          <cx:pt idx="596">5.8197600000000005</cx:pt>
          <cx:pt idx="597">6.8106600000000004</cx:pt>
          <cx:pt idx="598">5.9613599999999902</cx:pt>
          <cx:pt idx="599">5.4309900000000004</cx:pt>
          <cx:pt idx="600">4.4751199999999995</cx:pt>
          <cx:pt idx="601">12.93458</cx:pt>
          <cx:pt idx="602">26.359469999999902</cx:pt>
          <cx:pt idx="603">9.30093999999999</cx:pt>
          <cx:pt idx="604">28.777770000000004</cx:pt>
          <cx:pt idx="605">6.2842499999999992</cx:pt>
          <cx:pt idx="606">6.2842499999999992</cx:pt>
          <cx:pt idx="607">5.4309900000000004</cx:pt>
          <cx:pt idx="608">3.08962</cx:pt>
          <cx:pt idx="609">3.94611</cx:pt>
          <cx:pt idx="610">6.14175</cx:pt>
          <cx:pt idx="611">4.07721</cx:pt>
          <cx:pt idx="612">5.1511199999999997</cx:pt>
          <cx:pt idx="613">6.14175</cx:pt>
          <cx:pt idx="614">4.4751199999999995</cx:pt>
          <cx:pt idx="615">8.2691400000000002</cx:pt>
          <cx:pt idx="616">7.8228599999999995</cx:pt>
          <cx:pt idx="617">5.4309900000000004</cx:pt>
          <cx:pt idx="618">5.4309900000000004</cx:pt>
          <cx:pt idx="619">14.318779999999901</cx:pt>
          <cx:pt idx="620">6.2842499999999992</cx:pt>
          <cx:pt idx="621">26.359470000000002</cx:pt>
          <cx:pt idx="622">7.6782600000000008</cx:pt>
          <cx:pt idx="623">4.4751199999999995</cx:pt>
          <cx:pt idx="624">5.1511199999999997</cx:pt>
          <cx:pt idx="625">5.4309900000000004</cx:pt>
          <cx:pt idx="626">10.18534</cx:pt>
          <cx:pt idx="627">5.4309900000000004</cx:pt>
          <cx:pt idx="628">2.0640200000000002</cx:pt>
          <cx:pt idx="629">13.2421799999999</cx:pt>
          <cx:pt idx="630">3.42171</cx:pt>
          <cx:pt idx="631">4.6103199999999998</cx:pt>
          <cx:pt idx="632">7.6782600000000008</cx:pt>
          <cx:pt idx="633">5.1511199999999997</cx:pt>
          <cx:pt idx="634">13.565160000000001</cx:pt>
          <cx:pt idx="635">10.92234</cx:pt>
          <cx:pt idx="636">6.2842499999999992</cx:pt>
          <cx:pt idx="637">10.92234</cx:pt>
          <cx:pt idx="638">12.934579999999901</cx:pt>
          <cx:pt idx="639">5.4309900000000004</cx:pt>
          <cx:pt idx="640">7.0998599999999996</cx:pt>
          <cx:pt idx="641">1.80762</cx:pt>
          <cx:pt idx="642">6.2842499999999992</cx:pt>
          <cx:pt idx="643">6.2842499999999992</cx:pt>
          <cx:pt idx="644">3.81501</cx:pt>
          <cx:pt idx="645">3.68391</cx:pt>
          <cx:pt idx="646">10.774939999999999</cx:pt>
          <cx:pt idx="647">7.8228599999999995</cx:pt>
          <cx:pt idx="648">5.4309900000000004</cx:pt>
          <cx:pt idx="649">3.08962</cx:pt>
          <cx:pt idx="650">37.376169999999995</cx:pt>
          <cx:pt idx="651">5.1511199999999997</cx:pt>
          <cx:pt idx="652">6.2842499999999992</cx:pt>
          <cx:pt idx="653">6.2842499999999992</cx:pt>
          <cx:pt idx="654">2.9614199999999999</cx:pt>
          <cx:pt idx="655">6.14175</cx:pt>
          <cx:pt idx="656">8.5639399999999899</cx:pt>
          <cx:pt idx="657">5.6781600000000001</cx:pt>
          <cx:pt idx="658">12.16558</cx:pt>
          <cx:pt idx="659">4.74552</cx:pt>
          <cx:pt idx="660">3.68391</cx:pt>
          <cx:pt idx="661">2.9614199999999999</cx:pt>
          <cx:pt idx="662">4.4751199999999995</cx:pt>
          <cx:pt idx="663">6.14175</cx:pt>
          <cx:pt idx="664">5.1511199999999997</cx:pt>
          <cx:pt idx="665">26.628170000000001</cx:pt>
          <cx:pt idx="666">7.3890599999999997</cx:pt>
          <cx:pt idx="667">6.14175</cx:pt>
          <cx:pt idx="668">5.4309900000000004</cx:pt>
          <cx:pt idx="669">12.16558</cx:pt>
          <cx:pt idx="670">3.42171</cx:pt>
          <cx:pt idx="671">5.4309900000000004</cx:pt>
          <cx:pt idx="672">5.1511199999999997</cx:pt>
          <cx:pt idx="673">5.4309900000000004</cx:pt>
          <cx:pt idx="674">4.20472</cx:pt>
          <cx:pt idx="675">9.1535399999999907</cx:pt>
          <cx:pt idx="676">5.4309900000000004</cx:pt>
          <cx:pt idx="677">6.2842499999999992</cx:pt>
          <cx:pt idx="678">6.2842499999999992</cx:pt>
          <cx:pt idx="679">6.8106600000000004</cx:pt>
          <cx:pt idx="680">33.345669999999899</cx:pt>
          <cx:pt idx="681">27.702970000000001</cx:pt>
          <cx:pt idx="682">5.4309900000000004</cx:pt>
          <cx:pt idx="683">12.01178</cx:pt>
          <cx:pt idx="684">5.1511199999999997</cx:pt>
          <cx:pt idx="685">5.1511199999999997</cx:pt>
          <cx:pt idx="686">6.9552600000000009</cx:pt>
          <cx:pt idx="687">6.2842499999999992</cx:pt>
          <cx:pt idx="688">5.4309900000000004</cx:pt>
          <cx:pt idx="689">1.80762</cx:pt>
          <cx:pt idx="690">5.1511199999999997</cx:pt>
          <cx:pt idx="691">9.44834</cx:pt>
          <cx:pt idx="692">43.556269999999905</cx:pt>
          <cx:pt idx="693">5.4309900000000004</cx:pt>
          <cx:pt idx="694">6.2842499999999992</cx:pt>
          <cx:pt idx="695">9.44834</cx:pt>
          <cx:pt idx="696">5.4309900000000004</cx:pt>
          <cx:pt idx="697">5.6781600000000001</cx:pt>
          <cx:pt idx="698">6.9552600000000009</cx:pt>
          <cx:pt idx="699">9.5957399999999993</cx:pt>
          <cx:pt idx="700">13.703579999999899</cx:pt>
          <cx:pt idx="701">7.6782600000000008</cx:pt>
          <cx:pt idx="702">10.18534</cx:pt>
          <cx:pt idx="703">6.2842499999999992</cx:pt>
          <cx:pt idx="704">6.2842499999999992</cx:pt>
          <cx:pt idx="705">4.6103199999999998</cx:pt>
          <cx:pt idx="706">5.8197600000000005</cx:pt>
          <cx:pt idx="707">3.68391</cx:pt>
          <cx:pt idx="708">6.2842499999999992</cx:pt>
          <cx:pt idx="709">6.6660599999999999</cx:pt>
          <cx:pt idx="710">5.6781600000000001</cx:pt>
          <cx:pt idx="711">6.5214599999999994</cx:pt>
          <cx:pt idx="712">6.2842499999999992</cx:pt>
          <cx:pt idx="713">6.9552600000000009</cx:pt>
          <cx:pt idx="714">12.62698</cx:pt>
          <cx:pt idx="715">4.3399200000000002</cx:pt>
          <cx:pt idx="716">10.92234</cx:pt>
          <cx:pt idx="717">2.1922199999999998</cx:pt>
          <cx:pt idx="718">6.2842499999999992</cx:pt>
          <cx:pt idx="719">12.473180000000001</cx:pt>
          <cx:pt idx="720">6.2842499999999992</cx:pt>
          <cx:pt idx="721">10.92234</cx:pt>
          <cx:pt idx="722">12.93458</cx:pt>
          <cx:pt idx="723">5.4309900000000004</cx:pt>
          <cx:pt idx="724">5.8197600000000005</cx:pt>
          <cx:pt idx="725">3.9723300000000199</cx:pt>
          <cx:pt idx="726">6.6660599999999999</cx:pt>
          <cx:pt idx="727">3.81501</cx:pt>
          <cx:pt idx="728">6.14175</cx:pt>
          <cx:pt idx="729">4.6103199999999998</cx:pt>
          <cx:pt idx="730">5.4309900000000004</cx:pt>
          <cx:pt idx="731">4.6103199999999998</cx:pt>
          <cx:pt idx="732">12.93458</cx:pt>
          <cx:pt idx="733">6.14175</cx:pt>
          <cx:pt idx="734">3.68391</cx:pt>
          <cx:pt idx="735">10.9076</cx:pt>
          <cx:pt idx="736">6.2842499999999992</cx:pt>
          <cx:pt idx="737">4.20472</cx:pt>
          <cx:pt idx="738">6.6660599999999999</cx:pt>
          <cx:pt idx="739">7.8228599999999995</cx:pt>
          <cx:pt idx="740">5.4309900000000004</cx:pt>
          <cx:pt idx="741">5.4309900000000004</cx:pt>
          <cx:pt idx="742">8.5639399999999899</cx:pt>
          <cx:pt idx="743">7.3890599999999997</cx:pt>
          <cx:pt idx="744">4.4751199999999995</cx:pt>
          <cx:pt idx="745">12.93458</cx:pt>
          <cx:pt idx="746">11.704180000000001</cx:pt>
          <cx:pt idx="747">6.2842499999999992</cx:pt>
          <cx:pt idx="748">6.2842499999999992</cx:pt>
          <cx:pt idx="749">5.4309900000000004</cx:pt>
          <cx:pt idx="750">29.315169999999902</cx:pt>
          <cx:pt idx="751">26.359469999999902</cx:pt>
          <cx:pt idx="752">5.4309900000000004</cx:pt>
          <cx:pt idx="753">5.4309900000000004</cx:pt>
          <cx:pt idx="754">14.164979999999899</cx:pt>
          <cx:pt idx="755">5.1511199999999997</cx:pt>
          <cx:pt idx="756">5.9613599999999902</cx:pt>
          <cx:pt idx="757">5.4309900000000004</cx:pt>
          <cx:pt idx="758">5.4309900000000004</cx:pt>
          <cx:pt idx="759">6.2842499999999992</cx:pt>
          <cx:pt idx="760">11.704180000000001</cx:pt>
          <cx:pt idx="761">9.44834</cx:pt>
          <cx:pt idx="762">6.14175</cx:pt>
          <cx:pt idx="763">5.4309900000000004</cx:pt>
          <cx:pt idx="764">35.763969999999901</cx:pt>
          <cx:pt idx="765">4.4751199999999995</cx:pt>
          <cx:pt idx="766">11.704180000000001</cx:pt>
          <cx:pt idx="767">40.331869999999896</cx:pt>
          <cx:pt idx="768">9.0061399999999896</cx:pt>
          <cx:pt idx="769">4.6103199999999998</cx:pt>
          <cx:pt idx="770">4.20472</cx:pt>
          <cx:pt idx="771">3.81501</cx:pt>
          <cx:pt idx="772">27.97167</cx:pt>
          <cx:pt idx="773">7.6782600000000008</cx:pt>
          <cx:pt idx="774">6.2842499999999992</cx:pt>
          <cx:pt idx="775">7.3890599999999997</cx:pt>
          <cx:pt idx="776">5.9613599999999902</cx:pt>
          <cx:pt idx="777">1.80762</cx:pt>
          <cx:pt idx="778">5.8197600000000005</cx:pt>
          <cx:pt idx="779">4.6103199999999998</cx:pt>
          <cx:pt idx="780">3.08962</cx:pt>
          <cx:pt idx="781">6.2842499999999992</cx:pt>
          <cx:pt idx="782">5.4309900000000004</cx:pt>
          <cx:pt idx="783">6.14175</cx:pt>
          <cx:pt idx="784">5.4309900000000004</cx:pt>
          <cx:pt idx="785">6.2842499999999992</cx:pt>
          <cx:pt idx="786">6.5214599999999994</cx:pt>
          <cx:pt idx="787">5.6781600000000001</cx:pt>
          <cx:pt idx="788">4.07721</cx:pt>
          <cx:pt idx="789">13.549779999999901</cx:pt>
          <cx:pt idx="790">3.81501</cx:pt>
          <cx:pt idx="791">6.9552600000000009</cx:pt>
          <cx:pt idx="792">6.2842499999999992</cx:pt>
          <cx:pt idx="793">5.4309900000000004</cx:pt>
          <cx:pt idx="794">11.427339999999999</cx:pt>
          <cx:pt idx="795">7.0998599999999996</cx:pt>
          <cx:pt idx="796">11.704180000000001</cx:pt>
          <cx:pt idx="797">34.420469999999895</cx:pt>
          <cx:pt idx="798">12.16558</cx:pt>
          <cx:pt idx="799">3.08962</cx:pt>
          <cx:pt idx="800">4.4751199999999995</cx:pt>
          <cx:pt idx="801">5.4309900000000004</cx:pt>
          <cx:pt idx="802">6.14175</cx:pt>
          <cx:pt idx="803">4.4751199999999995</cx:pt>
          <cx:pt idx="804">5.1511199999999997</cx:pt>
          <cx:pt idx="805">3.68391</cx:pt>
          <cx:pt idx="806">6.9552600000000009</cx:pt>
          <cx:pt idx="807">3.08962</cx:pt>
          <cx:pt idx="808">5.8197600000000005</cx:pt>
          <cx:pt idx="809">9.44834</cx:pt>
          <cx:pt idx="810">29.315170000000002</cx:pt>
          <cx:pt idx="811">5.4309900000000004</cx:pt>
          <cx:pt idx="812">6.14175</cx:pt>
          <cx:pt idx="813">5.4309900000000004</cx:pt>
          <cx:pt idx="814">3.81501</cx:pt>
          <cx:pt idx="815">5.4309900000000004</cx:pt>
          <cx:pt idx="816">10.92234</cx:pt>
          <cx:pt idx="817">46.511969999999906</cx:pt>
          <cx:pt idx="818">12.01178</cx:pt>
          <cx:pt idx="819">5.1511199999999997</cx:pt>
          <cx:pt idx="820">7.6782600000000008</cx:pt>
          <cx:pt idx="821">3.08962</cx:pt>
          <cx:pt idx="822">7.8228599999999995</cx:pt>
          <cx:pt idx="823">7.0998599999999996</cx:pt>
          <cx:pt idx="824">12.93458</cx:pt>
          <cx:pt idx="825">9.30093999999999</cx:pt>
          <cx:pt idx="826">13.2421799999999</cx:pt>
          <cx:pt idx="827">9.44834</cx:pt>
          <cx:pt idx="828">6.14175</cx:pt>
          <cx:pt idx="829">5.4309900000000004</cx:pt>
          <cx:pt idx="830">4.6103199999999998</cx:pt>
          <cx:pt idx="831">6.2842499999999992</cx:pt>
          <cx:pt idx="832">26.359470000000002</cx:pt>
          <cx:pt idx="833">14.164979999999899</cx:pt>
          <cx:pt idx="834">6.2842499999999992</cx:pt>
          <cx:pt idx="835">5.8197600000000005</cx:pt>
          <cx:pt idx="836">5.4309900000000004</cx:pt>
          <cx:pt idx="837">12.62698</cx:pt>
          <cx:pt idx="838">6.14175</cx:pt>
          <cx:pt idx="839">5.6781600000000001</cx:pt>
          <cx:pt idx="840">6.2842499999999992</cx:pt>
          <cx:pt idx="841">6.2842499999999992</cx:pt>
          <cx:pt idx="842">4.4751199999999995</cx:pt>
          <cx:pt idx="843">33.076969999999903</cx:pt>
          <cx:pt idx="844">10.92234</cx:pt>
          <cx:pt idx="845">3.68391</cx:pt>
          <cx:pt idx="846">6.2842499999999992</cx:pt>
          <cx:pt idx="847">10.774939999999999</cx:pt>
          <cx:pt idx="848">11.704180000000001</cx:pt>
          <cx:pt idx="849">7.0998599999999996</cx:pt>
          <cx:pt idx="850">8.7113399999999999</cx:pt>
          <cx:pt idx="851">13.549779999999901</cx:pt>
          <cx:pt idx="852">5.1511199999999997</cx:pt>
          <cx:pt idx="853">6.2842499999999992</cx:pt>
          <cx:pt idx="854">6.2842499999999992</cx:pt>
          <cx:pt idx="855">5.4309900000000004</cx:pt>
          <cx:pt idx="856">6.6660599999999999</cx:pt>
          <cx:pt idx="857">26.090769999999903</cx:pt>
          <cx:pt idx="858">7.6782600000000008</cx:pt>
          <cx:pt idx="859">3.68391</cx:pt>
          <cx:pt idx="860">3.68391</cx:pt>
          <cx:pt idx="861">12.16558</cx:pt>
          <cx:pt idx="862">5.4309900000000004</cx:pt>
          <cx:pt idx="863">28.777769999999904</cx:pt>
          <cx:pt idx="864">10.92234</cx:pt>
          <cx:pt idx="865">29.046469999999903</cx:pt>
          <cx:pt idx="866">6.2842499999999992</cx:pt>
          <cx:pt idx="867">5.8197600000000005</cx:pt>
          <cx:pt idx="868">10.774939999999999</cx:pt>
          <cx:pt idx="869">3.42171</cx:pt>
          <cx:pt idx="870">5.8197600000000005</cx:pt>
          <cx:pt idx="871">3.81501</cx:pt>
          <cx:pt idx="872">3.81501</cx:pt>
          <cx:pt idx="873">6.5214599999999994</cx:pt>
          <cx:pt idx="874">4.6103199999999998</cx:pt>
          <cx:pt idx="875">3.68391</cx:pt>
          <cx:pt idx="876">5.4309900000000004</cx:pt>
          <cx:pt idx="877">10.92234</cx:pt>
          <cx:pt idx="878">3.68391</cx:pt>
          <cx:pt idx="879">3.81501</cx:pt>
          <cx:pt idx="880">3.08962</cx:pt>
          <cx:pt idx="881">12.78078</cx:pt>
          <cx:pt idx="882">4.6103199999999998</cx:pt>
          <cx:pt idx="883">14.318779999999901</cx:pt>
          <cx:pt idx="884">10.48014</cx:pt>
          <cx:pt idx="885">5.4309900000000004</cx:pt>
          <cx:pt idx="886">9.44834</cx:pt>
          <cx:pt idx="887">6.6660599999999999</cx:pt>
          <cx:pt idx="888">6.2842499999999992</cx:pt>
          <cx:pt idx="889">6.14175</cx:pt>
          <cx:pt idx="890">5.8197600000000005</cx:pt>
          <cx:pt idx="891">6.14175</cx:pt>
          <cx:pt idx="892">6.9552600000000009</cx:pt>
          <cx:pt idx="893">3.81501</cx:pt>
          <cx:pt idx="894">5.96136</cx:pt>
          <cx:pt idx="895">6.14175</cx:pt>
          <cx:pt idx="896">5.1511199999999997</cx:pt>
          <cx:pt idx="897">6.5214599999999994</cx:pt>
          <cx:pt idx="898">5.1511199999999997</cx:pt>
          <cx:pt idx="899">12.93458</cx:pt>
          <cx:pt idx="900">8.7113399999999999</cx:pt>
          <cx:pt idx="901">6.2842499999999992</cx:pt>
          <cx:pt idx="902">30.389969999999899</cx:pt>
          <cx:pt idx="903">4.07721</cx:pt>
          <cx:pt idx="904">5.6781600000000001</cx:pt>
          <cx:pt idx="905">4.8807200000000002</cx:pt>
          <cx:pt idx="906">10.92234</cx:pt>
          <cx:pt idx="907">4.6103199999999998</cx:pt>
          <cx:pt idx="908">6.8106600000000004</cx:pt>
          <cx:pt idx="909">36.032670000000003</cx:pt>
          <cx:pt idx="910">3.81501</cx:pt>
          <cx:pt idx="911">3.68391</cx:pt>
          <cx:pt idx="912">4.4751199999999995</cx:pt>
          <cx:pt idx="913">4.4751199999999995</cx:pt>
          <cx:pt idx="914">8.7408200000000296</cx:pt>
          <cx:pt idx="915">29.315169999999902</cx:pt>
          <cx:pt idx="916">6.2842499999999992</cx:pt>
          <cx:pt idx="917">26.628170000000001</cx:pt>
          <cx:pt idx="918">8.7113399999999999</cx:pt>
          <cx:pt idx="919">45.9745699999999</cx:pt>
          <cx:pt idx="920">6.2842499999999992</cx:pt>
          <cx:pt idx="921">5.4309900000000004</cx:pt>
          <cx:pt idx="922">6.2842499999999992</cx:pt>
          <cx:pt idx="923">6.2842499999999992</cx:pt>
          <cx:pt idx="924">7.6782600000000008</cx:pt>
          <cx:pt idx="925">6.2842499999999992</cx:pt>
          <cx:pt idx="926">5.1511199999999997</cx:pt>
          <cx:pt idx="927">4.4751199999999995</cx:pt>
          <cx:pt idx="928">5.1511199999999997</cx:pt>
          <cx:pt idx="929">5.8197600000000005</cx:pt>
          <cx:pt idx="930">5.6781600000000001</cx:pt>
          <cx:pt idx="931">1.80762</cx:pt>
          <cx:pt idx="932">6.6660599999999999</cx:pt>
          <cx:pt idx="933">6.2842499999999992</cx:pt>
          <cx:pt idx="934">9.44834</cx:pt>
          <cx:pt idx="935">4.6103199999999998</cx:pt>
          <cx:pt idx="936">5.4309900000000004</cx:pt>
          <cx:pt idx="937">5.1511199999999997</cx:pt>
          <cx:pt idx="938">6.2842499999999992</cx:pt>
          <cx:pt idx="939">5.4309900000000004</cx:pt>
          <cx:pt idx="940">6.2842499999999992</cx:pt>
          <cx:pt idx="941">3.08962</cx:pt>
          <cx:pt idx="942">3.81501</cx:pt>
          <cx:pt idx="943">4.6103199999999998</cx:pt>
          <cx:pt idx="944">4.4751199999999995</cx:pt>
          <cx:pt idx="945">1.9358199999999999</cx:pt>
          <cx:pt idx="946">12.934579999999901</cx:pt>
          <cx:pt idx="947">5.4309900000000004</cx:pt>
          <cx:pt idx="948">5.1511199999999997</cx:pt>
          <cx:pt idx="949">6.2842499999999992</cx:pt>
          <cx:pt idx="950">5.1511199999999997</cx:pt>
          <cx:pt idx="951">33.883069999999897</cx:pt>
          <cx:pt idx="952">8.5639399999999899</cx:pt>
          <cx:pt idx="953">6.2842499999999992</cx:pt>
          <cx:pt idx="954">12.4731799999999</cx:pt>
          <cx:pt idx="955">4.6103199999999998</cx:pt>
          <cx:pt idx="956">12.16558</cx:pt>
          <cx:pt idx="957">6.8106600000000004</cx:pt>
          <cx:pt idx="958">27.702970000000001</cx:pt>
          <cx:pt idx="959">5.4309900000000004</cx:pt>
          <cx:pt idx="960">9.44834</cx:pt>
          <cx:pt idx="961">3.81501</cx:pt>
          <cx:pt idx="962">6.6660599999999999</cx:pt>
          <cx:pt idx="963">6.14175</cx:pt>
          <cx:pt idx="964">12.16558</cx:pt>
          <cx:pt idx="965">5.1511199999999997</cx:pt>
          <cx:pt idx="966">46.5119699999997</cx:pt>
          <cx:pt idx="967">5.1511199999999997</cx:pt>
          <cx:pt idx="968">31.464769999999898</cx:pt>
          <cx:pt idx="969">28.777769999999904</cx:pt>
          <cx:pt idx="970">10.62754</cx:pt>
          <cx:pt idx="971">14.164979999999899</cx:pt>
          <cx:pt idx="972">5.1511199999999997</cx:pt>
          <cx:pt idx="973">10.48014</cx:pt>
          <cx:pt idx="974">6.6660599999999999</cx:pt>
          <cx:pt idx="975">3.08962</cx:pt>
          <cx:pt idx="976">8.7113399999999999</cx:pt>
          <cx:pt idx="977">9.44834</cx:pt>
          <cx:pt idx="978">6.6660599999999999</cx:pt>
          <cx:pt idx="979">6.2842499999999992</cx:pt>
          <cx:pt idx="980">26.628169999999901</cx:pt>
          <cx:pt idx="981">6.9552600000000009</cx:pt>
          <cx:pt idx="982">12.93458</cx:pt>
          <cx:pt idx="983">6.2842499999999992</cx:pt>
          <cx:pt idx="984">6.14175</cx:pt>
          <cx:pt idx="985">5.1511199999999997</cx:pt>
          <cx:pt idx="986">6.2842499999999992</cx:pt>
          <cx:pt idx="987">5.4309900000000004</cx:pt>
          <cx:pt idx="988">6.14175</cx:pt>
          <cx:pt idx="989">12.319380000000001</cx:pt>
          <cx:pt idx="990">5.4309900000000004</cx:pt>
          <cx:pt idx="991">6.2842499999999992</cx:pt>
          <cx:pt idx="992">6.2842499999999992</cx:pt>
          <cx:pt idx="993">10.62754</cx:pt>
          <cx:pt idx="994">6.14175</cx:pt>
          <cx:pt idx="995">1.6794199999999999</cx:pt>
          <cx:pt idx="996">6.2842499999999992</cx:pt>
          <cx:pt idx="997">10.62754</cx:pt>
          <cx:pt idx="998">4.6103199999999998</cx:pt>
          <cx:pt idx="999">6.2842499999999992</cx:pt>
          <cx:pt idx="1000">6.14175</cx:pt>
          <cx:pt idx="1001">5.0159200000000004</cx:pt>
          <cx:pt idx="1002">3.94611</cx:pt>
          <cx:pt idx="1003">14.164979999999899</cx:pt>
          <cx:pt idx="1004">28.777769999999904</cx:pt>
          <cx:pt idx="1005">10.92234</cx:pt>
          <cx:pt idx="1006">5.8197600000000005</cx:pt>
          <cx:pt idx="1007">5.8197600000000005</cx:pt>
          <cx:pt idx="1008">6.14175</cx:pt>
          <cx:pt idx="1009">26.090769999999903</cx:pt>
          <cx:pt idx="1010">5.8197600000000005</cx:pt>
          <cx:pt idx="1011">5.4309900000000004</cx:pt>
          <cx:pt idx="1012">8.7113399999999999</cx:pt>
          <cx:pt idx="1013">5.4309900000000004</cx:pt>
          <cx:pt idx="1014">5.1511199999999997</cx:pt>
          <cx:pt idx="1015">7.2444600000000001</cx:pt>
          <cx:pt idx="1016">5.4309900000000004</cx:pt>
          <cx:pt idx="1017">5.1511199999999997</cx:pt>
          <cx:pt idx="1018">3.08962</cx:pt>
          <cx:pt idx="1019">7.0998599999999996</cx:pt>
          <cx:pt idx="1020">6.2842499999999992</cx:pt>
          <cx:pt idx="1021">6.6660599999999999</cx:pt>
          <cx:pt idx="1022">6.2842499999999992</cx:pt>
          <cx:pt idx="1023">10.037939999999999</cx:pt>
          <cx:pt idx="1024">7.8228599999999995</cx:pt>
          <cx:pt idx="1025">3.55281</cx:pt>
          <cx:pt idx="1026">3.08962</cx:pt>
          <cx:pt idx="1027">6.2842499999999992</cx:pt>
          <cx:pt idx="1028">4.4751199999999995</cx:pt>
          <cx:pt idx="1029">6.2842499999999992</cx:pt>
          <cx:pt idx="1030">6.2842499999999992</cx:pt>
          <cx:pt idx="1031">6.6660599999999999</cx:pt>
          <cx:pt idx="1032">3.08962</cx:pt>
          <cx:pt idx="1033">1.80762</cx:pt>
          <cx:pt idx="1034">3.42171</cx:pt>
          <cx:pt idx="1035">5.4309900000000004</cx:pt>
          <cx:pt idx="1036">6.2842499999999992</cx:pt>
          <cx:pt idx="1037">6.9552600000000009</cx:pt>
          <cx:pt idx="1038">6.2842499999999992</cx:pt>
          <cx:pt idx="1039">5.4309900000000004</cx:pt>
          <cx:pt idx="1040">7.6782600000000008</cx:pt>
          <cx:pt idx="1041">6.2842499999999992</cx:pt>
          <cx:pt idx="1042">5.6781600000000001</cx:pt>
          <cx:pt idx="1043">7.0998599999999996</cx:pt>
          <cx:pt idx="1044">3.08962</cx:pt>
          <cx:pt idx="1045">3.08962</cx:pt>
          <cx:pt idx="1046">5.8197600000000005</cx:pt>
          <cx:pt idx="1047">6.2842499999999992</cx:pt>
          <cx:pt idx="1048">10.92234</cx:pt>
          <cx:pt idx="1049">4.4751199999999995</cx:pt>
          <cx:pt idx="1050">5.4309900000000004</cx:pt>
          <cx:pt idx="1051">5.4309900000000004</cx:pt>
          <cx:pt idx="1052">4.6103199999999998</cx:pt>
          <cx:pt idx="1053">9.7431400000000004</cx:pt>
          <cx:pt idx="1054">29.046469999999903</cx:pt>
          <cx:pt idx="1055">4.4751199999999995</cx:pt>
          <cx:pt idx="1056">5.1511199999999997</cx:pt>
          <cx:pt idx="1057">9.5957399999999993</cx:pt>
          <cx:pt idx="1058">3.08962</cx:pt>
          <cx:pt idx="1059">10.92234</cx:pt>
          <cx:pt idx="1060">5.4309900000000004</cx:pt>
          <cx:pt idx="1061">6.2842499999999992</cx:pt>
          <cx:pt idx="1062">7.0998599999999996</cx:pt>
          <cx:pt idx="1063">5.4309900000000004</cx:pt>
          <cx:pt idx="1064">4.4751199999999995</cx:pt>
          <cx:pt idx="1065">10.92234</cx:pt>
          <cx:pt idx="1066">6.5214599999999994</cx:pt>
          <cx:pt idx="1067">4.3399200000000002</cx:pt>
          <cx:pt idx="1068">8.5639399999999899</cx:pt>
          <cx:pt idx="1069">32.808269999999901</cx:pt>
          <cx:pt idx="1070">7.5336600000000002</cx:pt>
          <cx:pt idx="1071">3.08962</cx:pt>
          <cx:pt idx="1072">31.733469999999901</cx:pt>
          <cx:pt idx="1073">4.4751199999999995</cx:pt>
          <cx:pt idx="1074">5.9613599999999902</cx:pt>
          <cx:pt idx="1075">12.16558</cx:pt>
          <cx:pt idx="1076">5.4309900000000004</cx:pt>
          <cx:pt idx="1077">7.8228599999999995</cx:pt>
          <cx:pt idx="1078">2.9614199999999999</cx:pt>
          <cx:pt idx="1079">5.4309900000000004</cx:pt>
          <cx:pt idx="1080">5.1511199999999997</cx:pt>
          <cx:pt idx="1081">6.2842499999999992</cx:pt>
          <cx:pt idx="1082">6.2842499999999992</cx:pt>
          <cx:pt idx="1083">5.4309900000000004</cx:pt>
          <cx:pt idx="1084">6.2842499999999992</cx:pt>
          <cx:pt idx="1085">6.14175</cx:pt>
          <cx:pt idx="1086">6.2842499999999992</cx:pt>
          <cx:pt idx="1087">6.14175</cx:pt>
          <cx:pt idx="1088">13.39598</cx:pt>
          <cx:pt idx="1089">7.0998599999999996</cx:pt>
          <cx:pt idx="1090">6.2842499999999992</cx:pt>
          <cx:pt idx="1091">32.808269999999901</cx:pt>
          <cx:pt idx="1092">4.6103199999999998</cx:pt>
          <cx:pt idx="1093">8.2691400000000002</cx:pt>
          <cx:pt idx="1094">10.18534</cx:pt>
          <cx:pt idx="1095">7.0998599999999996</cx:pt>
          <cx:pt idx="1096">3.08962</cx:pt>
          <cx:pt idx="1097">5.4309900000000004</cx:pt>
          <cx:pt idx="1098">10.774939999999999</cx:pt>
          <cx:pt idx="1099">10.92234</cx:pt>
          <cx:pt idx="1100">6.2842499999999992</cx:pt>
          <cx:pt idx="1101">6.2842499999999992</cx:pt>
          <cx:pt idx="1102">5.4309900000000004</cx:pt>
          <cx:pt idx="1103">6.2842499999999992</cx:pt>
          <cx:pt idx="1104">5.8197600000000005</cx:pt>
          <cx:pt idx="1105">35.495269999999898</cx:pt>
          <cx:pt idx="1106">6.2842499999999992</cx:pt>
          <cx:pt idx="1107">10.92234</cx:pt>
          <cx:pt idx="1108">5.6781600000000001</cx:pt>
          <cx:pt idx="1109">8.1217399999999991</cx:pt>
          <cx:pt idx="1110">3.42171</cx:pt>
          <cx:pt idx="1111">4.6103199999999998</cx:pt>
          <cx:pt idx="1112">5.1511199999999997</cx:pt>
          <cx:pt idx="1113">5.4309900000000004</cx:pt>
          <cx:pt idx="1114">10.18534</cx:pt>
          <cx:pt idx="1115">5.1511199999999997</cx:pt>
          <cx:pt idx="1116">3.81501</cx:pt>
          <cx:pt idx="1117">5.4309900000000004</cx:pt>
          <cx:pt idx="1118">5.4309900000000004</cx:pt>
          <cx:pt idx="1119">5.4309900000000004</cx:pt>
          <cx:pt idx="1120">6.9552600000000009</cx:pt>
          <cx:pt idx="1121">5.4309900000000004</cx:pt>
          <cx:pt idx="1122">10.18534</cx:pt>
          <cx:pt idx="1123">12.16558</cx:pt>
          <cx:pt idx="1124">6.8106600000000004</cx:pt>
          <cx:pt idx="1125">3.81501</cx:pt>
          <cx:pt idx="1126">5.4309900000000004</cx:pt>
          <cx:pt idx="1127">7.5336600000000002</cx:pt>
          <cx:pt idx="1128">29.046469999999903</cx:pt>
          <cx:pt idx="1129">6.2842499999999992</cx:pt>
          <cx:pt idx="1130">7.0998599999999996</cx:pt>
          <cx:pt idx="1131">57.259969999999704</cx:pt>
          <cx:pt idx="1132">10.18534</cx:pt>
          <cx:pt idx="1133">6.5214599999999994</cx:pt>
          <cx:pt idx="1134">2.9614199999999999</cx:pt>
          <cx:pt idx="1135">5.4309900000000004</cx:pt>
          <cx:pt idx="1136">6.2842499999999992</cx:pt>
          <cx:pt idx="1137">5.4309900000000004</cx:pt>
          <cx:pt idx="1138">5.8197600000000005</cx:pt>
          <cx:pt idx="1139">5.1511199999999997</cx:pt>
          <cx:pt idx="1140">5.4309900000000004</cx:pt>
          <cx:pt idx="1141">1.6794199999999999</cx:pt>
          <cx:pt idx="1142">6.2842499999999992</cx:pt>
          <cx:pt idx="1143">5.8197600000000005</cx:pt>
          <cx:pt idx="1144">1.80762</cx:pt>
          <cx:pt idx="1145">6.14175</cx:pt>
          <cx:pt idx="1146">10.92234</cx:pt>
          <cx:pt idx="1147">38.450969999999899</cx:pt>
          <cx:pt idx="1148">5.4309900000000004</cx:pt>
          <cx:pt idx="1149">5.4309900000000004</cx:pt>
          <cx:pt idx="1150">26.090769999999903</cx:pt>
          <cx:pt idx="1151">6.8106600000000004</cx:pt>
          <cx:pt idx="1152">29.315169999999902</cx:pt>
          <cx:pt idx="1153">5.6781600000000001</cx:pt>
          <cx:pt idx="1154">3.81501</cx:pt>
          <cx:pt idx="1155">5.4309900000000004</cx:pt>
          <cx:pt idx="1156">5.4309900000000004</cx:pt>
          <cx:pt idx="1157">1.80762</cx:pt>
          <cx:pt idx="1158">7.6782600000000008</cx:pt>
          <cx:pt idx="1159">12.196339999999999</cx:pt>
          <cx:pt idx="1160">5.4309900000000004</cx:pt>
          <cx:pt idx="1161">6.2842499999999992</cx:pt>
          <cx:pt idx="1162">43.824969999999901</cx:pt>
          <cx:pt idx="1163">5.1511199999999997</cx:pt>
          <cx:pt idx="1164">10.92234</cx:pt>
          <cx:pt idx="1165">6.9552600000000009</cx:pt>
          <cx:pt idx="1166">6.14175</cx:pt>
          <cx:pt idx="1167">6.2842499999999992</cx:pt>
          <cx:pt idx="1168">3.81501</cx:pt>
          <cx:pt idx="1169">5.4309900000000004</cx:pt>
          <cx:pt idx="1170">6.2842499999999992</cx:pt>
          <cx:pt idx="1171">6.14175</cx:pt>
          <cx:pt idx="1172">5.8197600000000005</cx:pt>
          <cx:pt idx="1173">5.8197600000000005</cx:pt>
          <cx:pt idx="1174">5.4309900000000004</cx:pt>
          <cx:pt idx="1175">10.18534</cx:pt>
          <cx:pt idx="1176">12.16558</cx:pt>
          <cx:pt idx="1177">5.4309900000000004</cx:pt>
          <cx:pt idx="1178">5.0159200000000004</cx:pt>
          <cx:pt idx="1179">3.08962</cx:pt>
          <cx:pt idx="1180">4.4751199999999995</cx:pt>
          <cx:pt idx="1181">2.9614199999999999</cx:pt>
          <cx:pt idx="1182">5.1511199999999997</cx:pt>
          <cx:pt idx="1183">5.4309900000000004</cx:pt>
          <cx:pt idx="1184">6.2842499999999992</cx:pt>
          <cx:pt idx="1185">6.14175</cx:pt>
          <cx:pt idx="1186">5.4309900000000004</cx:pt>
          <cx:pt idx="1187">3.08962</cx:pt>
          <cx:pt idx="1188">5.1511199999999997</cx:pt>
          <cx:pt idx="1189">34.420469999999895</cx:pt>
          <cx:pt idx="1190">5.1511199999999997</cx:pt>
          <cx:pt idx="1191">12.01178</cx:pt>
          <cx:pt idx="1192">5.8197600000000005</cx:pt>
          <cx:pt idx="1193">6.14175</cx:pt>
          <cx:pt idx="1194">5.1511199999999997</cx:pt>
          <cx:pt idx="1195">1.80762</cx:pt>
          <cx:pt idx="1196">3.81501</cx:pt>
          <cx:pt idx="1197">2.9614199999999999</cx:pt>
          <cx:pt idx="1198">13.395979999999899</cx:pt>
          <cx:pt idx="1199">34.689169999999905</cx:pt>
          <cx:pt idx="1200">3.94611</cx:pt>
          <cx:pt idx="1201">3.68391</cx:pt>
          <cx:pt idx="1202">5.8197600000000005</cx:pt>
          <cx:pt idx="1203">6.2842499999999992</cx:pt>
          <cx:pt idx="1204">6.8106600000000004</cx:pt>
          <cx:pt idx="1205">6.2842499999999992</cx:pt>
          <cx:pt idx="1206">6.2842499999999992</cx:pt>
          <cx:pt idx="1207">3.68391</cx:pt>
          <cx:pt idx="1208">5.1511199999999997</cx:pt>
          <cx:pt idx="1209">2.9614199999999999</cx:pt>
          <cx:pt idx="1210">3.94611</cx:pt>
          <cx:pt idx="1211">6.2842499999999992</cx:pt>
          <cx:pt idx="1212">4.3399200000000002</cx:pt>
          <cx:pt idx="1213">5.8197600000000005</cx:pt>
          <cx:pt idx="1214">9.1535399999999907</cx:pt>
          <cx:pt idx="1215">11.704180000000001</cx:pt>
          <cx:pt idx="1216">5.4309900000000004</cx:pt>
          <cx:pt idx="1217">12.78078</cx:pt>
          <cx:pt idx="1218">5.1511199999999997</cx:pt>
          <cx:pt idx="1219">5.4309900000000004</cx:pt>
          <cx:pt idx="1220">6.8106600000000004</cx:pt>
          <cx:pt idx="1221">6.8106600000000004</cx:pt>
          <cx:pt idx="1222">12.01178</cx:pt>
          <cx:pt idx="1223">5.9613599999999902</cx:pt>
          <cx:pt idx="1224">12.16558</cx:pt>
          <cx:pt idx="1225">6.2842499999999992</cx:pt>
          <cx:pt idx="1226">27.434269999999898</cx:pt>
          <cx:pt idx="1227">5.8197600000000005</cx:pt>
          <cx:pt idx="1228">6.2842499999999992</cx:pt>
          <cx:pt idx="1229">9.890539999999989</cx:pt>
          <cx:pt idx="1230">28.777769999999904</cx:pt>
          <cx:pt idx="1231">12.780779999999901</cx:pt>
          <cx:pt idx="1232">6.2842499999999992</cx:pt>
          <cx:pt idx="1233">5.4309900000000004</cx:pt>
          <cx:pt idx="1234">5.4309900000000004</cx:pt>
          <cx:pt idx="1235">6.14175</cx:pt>
          <cx:pt idx="1236">2.9614199999999999</cx:pt>
          <cx:pt idx="1237">13.54978</cx:pt>
          <cx:pt idx="1238">6.9552600000000009</cx:pt>
          <cx:pt idx="1239">29.315169999999902</cx:pt>
          <cx:pt idx="1240">1.80762</cx:pt>
          <cx:pt idx="1241">6.5214599999999994</cx:pt>
          <cx:pt idx="1242">27.434269999999998</cx:pt>
          <cx:pt idx="1243">5.4309900000000004</cx:pt>
          <cx:pt idx="1244">6.14175</cx:pt>
          <cx:pt idx="1245">5.1511199999999997</cx:pt>
          <cx:pt idx="1246">5.4309900000000004</cx:pt>
          <cx:pt idx="1247">6.6660599999999999</cx:pt>
          <cx:pt idx="1248">5.4309900000000004</cx:pt>
          <cx:pt idx="1249">5.4309900000000004</cx:pt>
          <cx:pt idx="1250">9.890539999999989</cx:pt>
          <cx:pt idx="1251">3.5790300000000199</cx:pt>
          <cx:pt idx="1252">3.68391</cx:pt>
          <cx:pt idx="1253">5.1511199999999997</cx:pt>
          <cx:pt idx="1254">6.2842499999999992</cx:pt>
          <cx:pt idx="1255">4.7455199999999902</cx:pt>
          <cx:pt idx="1256">5.4309900000000004</cx:pt>
          <cx:pt idx="1257">6.14175</cx:pt>
          <cx:pt idx="1258">4.20472</cx:pt>
          <cx:pt idx="1259">5.4309900000000004</cx:pt>
          <cx:pt idx="1260">6.6660599999999999</cx:pt>
          <cx:pt idx="1261">7.3890599999999997</cx:pt>
          <cx:pt idx="1262">26.090769999999903</cx:pt>
          <cx:pt idx="1263">5.4309900000000004</cx:pt>
          <cx:pt idx="1264">6.6660599999999999</cx:pt>
          <cx:pt idx="1265">6.9552600000000009</cx:pt>
          <cx:pt idx="1266">6.14175</cx:pt>
          <cx:pt idx="1267">6.2842499999999992</cx:pt>
          <cx:pt idx="1268">9.7431400000000004</cx:pt>
          <cx:pt idx="1269">3.08962</cx:pt>
          <cx:pt idx="1270">26.628170000000001</cx:pt>
          <cx:pt idx="1271">5.8197600000000005</cx:pt>
          <cx:pt idx="1272">5.4309900000000004</cx:pt>
          <cx:pt idx="1273">11.704180000000001</cx:pt>
          <cx:pt idx="1274">6.9552600000000009</cx:pt>
          <cx:pt idx="1275">5.1511199999999997</cx:pt>
          <cx:pt idx="1276">6.2842499999999992</cx:pt>
          <cx:pt idx="1277">5.4309900000000004</cx:pt>
          <cx:pt idx="1278">10.62754</cx:pt>
          <cx:pt idx="1279">5.4309900000000004</cx:pt>
          <cx:pt idx="1280">5.4309900000000004</cx:pt>
          <cx:pt idx="1281">2.9614199999999999</cx:pt>
          <cx:pt idx="1282">5.1511199999999997</cx:pt>
          <cx:pt idx="1283">6.6660599999999999</cx:pt>
          <cx:pt idx="1284">6.2842499999999992</cx:pt>
          <cx:pt idx="1285">5.1511199999999997</cx:pt>
          <cx:pt idx="1286">12.78078</cx:pt>
          <cx:pt idx="1287">6.2842499999999992</cx:pt>
          <cx:pt idx="1288">3.81501</cx:pt>
          <cx:pt idx="1289">10.18534</cx:pt>
          <cx:pt idx="1290">27.702970000000001</cx:pt>
          <cx:pt idx="1291">1.42301999999999</cx:pt>
          <cx:pt idx="1292">7.0998599999999996</cx:pt>
          <cx:pt idx="1293">5.0159200000000004</cx:pt>
          <cx:pt idx="1294">6.2842499999999992</cx:pt>
          <cx:pt idx="1295">10.92234</cx:pt>
          <cx:pt idx="1296">29.852569999999901</cx:pt>
          <cx:pt idx="1297">6.14175</cx:pt>
          <cx:pt idx="1298">6.14175</cx:pt>
          <cx:pt idx="1299">6.2842499999999992</cx:pt>
          <cx:pt idx="1300">5.4309900000000004</cx:pt>
          <cx:pt idx="1301">5.1511199999999997</cx:pt>
          <cx:pt idx="1302">6.2842499999999992</cx:pt>
          <cx:pt idx="1303">11.550380000000001</cx:pt>
          <cx:pt idx="1304">5.4309900000000004</cx:pt>
          <cx:pt idx="1305">5.4309900000000004</cx:pt>
          <cx:pt idx="1306">5.4309900000000004</cx:pt>
          <cx:pt idx="1307">10.037939999999999</cx:pt>
          <cx:pt idx="1308">6.14175</cx:pt>
          <cx:pt idx="1309">4.4751199999999995</cx:pt>
          <cx:pt idx="1310">30.389969999999899</cx:pt>
          <cx:pt idx="1311">5.4309900000000004</cx:pt>
          <cx:pt idx="1312">6.2842499999999992</cx:pt>
          <cx:pt idx="1313">3.42171</cx:pt>
          <cx:pt idx="1314">6.14175</cx:pt>
          <cx:pt idx="1315">4.4751199999999995</cx:pt>
          <cx:pt idx="1316">6.2842499999999992</cx:pt>
          <cx:pt idx="1317">32.00217</cx:pt>
          <cx:pt idx="1318">2.9614199999999999</cx:pt>
          <cx:pt idx="1319">5.4309900000000004</cx:pt>
          <cx:pt idx="1320">6.2842499999999992</cx:pt>
          <cx:pt idx="1321">26.359470000000002</cx:pt>
          <cx:pt idx="1322">27.165569999999999</cx:pt>
          <cx:pt idx="1323">6.2842499999999992</cx:pt>
          <cx:pt idx="1324">38.719669999999901</cx:pt>
          <cx:pt idx="1325">12.93458</cx:pt>
          <cx:pt idx="1326">5.4309900000000004</cx:pt>
          <cx:pt idx="1327">4.6103199999999998</cx:pt>
          <cx:pt idx="1328">5.9613599999999902</cx:pt>
          <cx:pt idx="1329">3.08962</cx:pt>
          <cx:pt idx="1330">6.14175</cx:pt>
          <cx:pt idx="1331">3.81501</cx:pt>
          <cx:pt idx="1332">6.14175</cx:pt>
          <cx:pt idx="1333">7.3890599999999997</cx:pt>
          <cx:pt idx="1334">1.6794199999999999</cx:pt>
          <cx:pt idx="1335">6.14175</cx:pt>
          <cx:pt idx="1336">5.4309900000000004</cx:pt>
          <cx:pt idx="1337">3.08962</cx:pt>
          <cx:pt idx="1338">26.359469999999902</cx:pt>
          <cx:pt idx="1339">10.774939999999999</cx:pt>
          <cx:pt idx="1340">5.9613599999999902</cx:pt>
          <cx:pt idx="1341">6.14175</cx:pt>
          <cx:pt idx="1342">5.1511199999999997</cx:pt>
          <cx:pt idx="1343">5.1511199999999997</cx:pt>
          <cx:pt idx="1344">5.1511199999999997</cx:pt>
          <cx:pt idx="1345">6.2842499999999992</cx:pt>
          <cx:pt idx="1346">5.1511199999999997</cx:pt>
          <cx:pt idx="1347">6.14175</cx:pt>
          <cx:pt idx="1348">5.4309900000000004</cx:pt>
          <cx:pt idx="1349">11.704180000000001</cx:pt>
          <cx:pt idx="1350">3.08962</cx:pt>
          <cx:pt idx="1351">6.2842499999999992</cx:pt>
          <cx:pt idx="1352">5.4309900000000004</cx:pt>
          <cx:pt idx="1353">6.2842499999999992</cx:pt>
          <cx:pt idx="1354">2.9614199999999999</cx:pt>
          <cx:pt idx="1355">9.7431400000000004</cx:pt>
          <cx:pt idx="1356">3.68391</cx:pt>
          <cx:pt idx="1357">5.1511199999999997</cx:pt>
          <cx:pt idx="1358">4.07721</cx:pt>
          <cx:pt idx="1359">5.8197600000000005</cx:pt>
          <cx:pt idx="1360">5.1511199999999997</cx:pt>
          <cx:pt idx="1361">12.93458</cx:pt>
          <cx:pt idx="1362">5.6781600000000001</cx:pt>
          <cx:pt idx="1363">12.01178</cx:pt>
          <cx:pt idx="1364">4.07721</cx:pt>
          <cx:pt idx="1365">34.420469999999895</cx:pt>
          <cx:pt idx="1366">26.89687</cx:pt>
          <cx:pt idx="1367">39.042110000000001</cx:pt>
          <cx:pt idx="1368">5.4309900000000004</cx:pt>
          <cx:pt idx="1369">12.473180000000001</cx:pt>
          <cx:pt idx="1370">6.14175</cx:pt>
          <cx:pt idx="1371">10.18534</cx:pt>
          <cx:pt idx="1372">12.62698</cx:pt>
          <cx:pt idx="1373">6.14175</cx:pt>
          <cx:pt idx="1374">6.2842499999999992</cx:pt>
          <cx:pt idx="1375">3.81501</cx:pt>
          <cx:pt idx="1376">6.2842499999999992</cx:pt>
          <cx:pt idx="1377">5.4309900000000004</cx:pt>
          <cx:pt idx="1378">3.08962</cx:pt>
          <cx:pt idx="1379">5.1511199999999997</cx:pt>
          <cx:pt idx="1380">6.9552600000000009</cx:pt>
          <cx:pt idx="1381">5.4309900000000004</cx:pt>
          <cx:pt idx="1382">6.2842499999999992</cx:pt>
          <cx:pt idx="1383">1.80762</cx:pt>
          <cx:pt idx="1384">5.4309900000000004</cx:pt>
          <cx:pt idx="1385">6.2842499999999992</cx:pt>
          <cx:pt idx="1386">3.08962</cx:pt>
          <cx:pt idx="1387">8.7113399999999999</cx:pt>
          <cx:pt idx="1388">5.1511199999999997</cx:pt>
          <cx:pt idx="1389">6.2842499999999992</cx:pt>
          <cx:pt idx="1390">12.16558</cx:pt>
          <cx:pt idx="1391">5.4309900000000004</cx:pt>
          <cx:pt idx="1392">5.6781600000000001</cx:pt>
          <cx:pt idx="1393">47.855469999999698</cx:pt>
          <cx:pt idx="1394">4.4751199999999995</cx:pt>
          <cx:pt idx="1395">6.2842499999999992</cx:pt>
          <cx:pt idx="1396">3.68391</cx:pt>
          <cx:pt idx="1397">7.8228599999999995</cx:pt>
          <cx:pt idx="1398">4.4751199999999995</cx:pt>
          <cx:pt idx="1399">8.7113399999999999</cx:pt>
          <cx:pt idx="1400">3.08962</cx:pt>
          <cx:pt idx="1401">35.763969999999901</cx:pt>
          <cx:pt idx="1402">10.48014</cx:pt>
          <cx:pt idx="1403">9.7431400000000004</cx:pt>
          <cx:pt idx="1404">5.4309900000000004</cx:pt>
          <cx:pt idx="1405">10.18534</cx:pt>
          <cx:pt idx="1406">5.4309900000000004</cx:pt>
          <cx:pt idx="1407">3.08962</cx:pt>
          <cx:pt idx="1408">14.31878</cx:pt>
          <cx:pt idx="1409">5.1511199999999997</cx:pt>
          <cx:pt idx="1410">4.6103199999999998</cx:pt>
          <cx:pt idx="1411">8.7113399999999999</cx:pt>
          <cx:pt idx="1412">26.628170000000001</cx:pt>
          <cx:pt idx="1413">6.14175</cx:pt>
          <cx:pt idx="1414">2.9614199999999999</cx:pt>
          <cx:pt idx="1415">5.4309900000000004</cx:pt>
          <cx:pt idx="1416">4.3399200000000002</cx:pt>
          <cx:pt idx="1417">6.14175</cx:pt>
          <cx:pt idx="1418">6.14175</cx:pt>
          <cx:pt idx="1419">10.18534</cx:pt>
          <cx:pt idx="1420">7.5625800000000298</cx:pt>
          <cx:pt idx="1421">4.3399200000000002</cx:pt>
          <cx:pt idx="1422">3.81501</cx:pt>
          <cx:pt idx="1423">5.1511199999999997</cx:pt>
          <cx:pt idx="1424">6.14175</cx:pt>
          <cx:pt idx="1425">2.0640200000000002</cx:pt>
          <cx:pt idx="1426">12.93458</cx:pt>
          <cx:pt idx="1427">2.9614199999999999</cx:pt>
          <cx:pt idx="1428">6.2842499999999992</cx:pt>
          <cx:pt idx="1429">9.44834</cx:pt>
          <cx:pt idx="1430">30.927369999999897</cx:pt>
          <cx:pt idx="1431">8.5639399999999899</cx:pt>
          <cx:pt idx="1432">7.5336600000000002</cx:pt>
          <cx:pt idx="1433">6.8106600000000004</cx:pt>
          <cx:pt idx="1434">5.1511199999999997</cx:pt>
          <cx:pt idx="1435">6.2842499999999992</cx:pt>
          <cx:pt idx="1436">6.8106600000000004</cx:pt>
          <cx:pt idx="1437">12.16558</cx:pt>
          <cx:pt idx="1438">7.0998599999999996</cx:pt>
          <cx:pt idx="1439">3.08962</cx:pt>
          <cx:pt idx="1440">4.6103199999999998</cx:pt>
          <cx:pt idx="1441">2.0640200000000002</cx:pt>
          <cx:pt idx="1442">6.2842499999999992</cx:pt>
          <cx:pt idx="1443">7.3890599999999997</cx:pt>
          <cx:pt idx="1444">4.3399200000000002</cx:pt>
          <cx:pt idx="1445">3.08962</cx:pt>
          <cx:pt idx="1446">2.9614199999999999</cx:pt>
          <cx:pt idx="1447">12.78078</cx:pt>
          <cx:pt idx="1448">8.7113399999999999</cx:pt>
          <cx:pt idx="1449">38.719669999999901</cx:pt>
          <cx:pt idx="1450">5.9613599999999902</cx:pt>
          <cx:pt idx="1451">8.5639399999999899</cx:pt>
          <cx:pt idx="1452">6.2842499999999992</cx:pt>
          <cx:pt idx="1453">6.2842499999999992</cx:pt>
          <cx:pt idx="1454">4.6103199999999998</cx:pt>
          <cx:pt idx="1455">7.0998599999999996</cx:pt>
          <cx:pt idx="1456">3.08962</cx:pt>
          <cx:pt idx="1457">9.44834</cx:pt>
          <cx:pt idx="1458">5.1511199999999997</cx:pt>
          <cx:pt idx="1459">6.2842499999999992</cx:pt>
          <cx:pt idx="1460">9.44834</cx:pt>
          <cx:pt idx="1461">13.395979999999899</cx:pt>
          <cx:pt idx="1462">6.2842499999999992</cx:pt>
          <cx:pt idx="1463">6.9552600000000009</cx:pt>
          <cx:pt idx="1464">3.08962</cx:pt>
          <cx:pt idx="1465">13.549779999999901</cx:pt>
          <cx:pt idx="1466">6.14175</cx:pt>
          <cx:pt idx="1467">6.2842499999999992</cx:pt>
          <cx:pt idx="1468">6.6660599999999999</cx:pt>
          <cx:pt idx="1469">5.9613599999999902</cx:pt>
          <cx:pt idx="1470">2.9614199999999999</cx:pt>
          <cx:pt idx="1471">2.1922199999999998</cx:pt>
          <cx:pt idx="1472">31.196069999999899</cx:pt>
          <cx:pt idx="1473">1.80762</cx:pt>
          <cx:pt idx="1474">5.4309900000000004</cx:pt>
          <cx:pt idx="1475">6.14175</cx:pt>
          <cx:pt idx="1476">5.1511199999999997</cx:pt>
          <cx:pt idx="1477">6.14175</cx:pt>
          <cx:pt idx="1478">6.2842499999999992</cx:pt>
          <cx:pt idx="1479">6.2842499999999992</cx:pt>
          <cx:pt idx="1480">3.08962</cx:pt>
          <cx:pt idx="1481">10.62754</cx:pt>
          <cx:pt idx="1482">11.85798</cx:pt>
          <cx:pt idx="1483">28.777769999999904</cx:pt>
          <cx:pt idx="1484">6.2842499999999992</cx:pt>
          <cx:pt idx="1485">4.6103199999999998</cx:pt>
          <cx:pt idx="1486">5.1511199999999997</cx:pt>
          <cx:pt idx="1487">12.16558</cx:pt>
          <cx:pt idx="1488">1.80762</cx:pt>
          <cx:pt idx="1489">6.14175</cx:pt>
          <cx:pt idx="1490">1.9358199999999999</cx:pt>
          <cx:pt idx="1491">6.2842499999999992</cx:pt>
          <cx:pt idx="1492">31.464769999999898</cx:pt>
          <cx:pt idx="1493">8.4165399999999995</cx:pt>
          <cx:pt idx="1494">7.0998599999999996</cx:pt>
          <cx:pt idx="1495">3.81501</cx:pt>
          <cx:pt idx="1496">6.2842499999999992</cx:pt>
          <cx:pt idx="1497">12.473180000000001</cx:pt>
          <cx:pt idx="1498">9.7431400000000004</cx:pt>
          <cx:pt idx="1499">5.4309900000000004</cx:pt>
          <cx:pt idx="1500">6.2842499999999992</cx:pt>
          <cx:pt idx="1501">7.0998599999999996</cx:pt>
          <cx:pt idx="1502">31.733469999999901</cx:pt>
          <cx:pt idx="1503">26.359469999999902</cx:pt>
          <cx:pt idx="1504">6.2842499999999992</cx:pt>
          <cx:pt idx="1505">1.80762</cx:pt>
          <cx:pt idx="1506">10.92234</cx:pt>
          <cx:pt idx="1507">1.6794199999999999</cx:pt>
          <cx:pt idx="1508">5.4309900000000004</cx:pt>
          <cx:pt idx="1509">4.6103199999999998</cx:pt>
          <cx:pt idx="1510">7.6782600000000008</cx:pt>
          <cx:pt idx="1511">5.4309900000000004</cx:pt>
          <cx:pt idx="1512">6.2842499999999992</cx:pt>
          <cx:pt idx="1513">6.2842499999999992</cx:pt>
          <cx:pt idx="1514">10.48014</cx:pt>
          <cx:pt idx="1515">5.1511199999999997</cx:pt>
          <cx:pt idx="1516">3.08962</cx:pt>
          <cx:pt idx="1517">3.68391</cx:pt>
          <cx:pt idx="1518">3.08962</cx:pt>
          <cx:pt idx="1519">6.14175</cx:pt>
          <cx:pt idx="1520">6.6660599999999999</cx:pt>
          <cx:pt idx="1521">6.2842499999999992</cx:pt>
          <cx:pt idx="1522">6.2842499999999992</cx:pt>
          <cx:pt idx="1523">6.2842499999999992</cx:pt>
          <cx:pt idx="1524">3.9723300000000199</cx:pt>
          <cx:pt idx="1525">6.14175</cx:pt>
          <cx:pt idx="1526">6.2842499999999992</cx:pt>
          <cx:pt idx="1527">32.00217</cx:pt>
          <cx:pt idx="1528">3.08962</cx:pt>
          <cx:pt idx="1529">5.6781600000000001</cx:pt>
          <cx:pt idx="1530">2.1922199999999998</cx:pt>
          <cx:pt idx="1531">5.8197600000000005</cx:pt>
          <cx:pt idx="1532">1.80762</cx:pt>
          <cx:pt idx="1533">5.1511199999999997</cx:pt>
          <cx:pt idx="1534">2.3204199999999999</cx:pt>
          <cx:pt idx="1535">5.1511199999999997</cx:pt>
          <cx:pt idx="1536">10.92234</cx:pt>
          <cx:pt idx="1537">5.1511199999999997</cx:pt>
          <cx:pt idx="1538">5.4309900000000004</cx:pt>
          <cx:pt idx="1539">5.4309900000000004</cx:pt>
          <cx:pt idx="1540">6.2842499999999992</cx:pt>
          <cx:pt idx="1541">5.4309900000000004</cx:pt>
          <cx:pt idx="1542">2.0640200000000002</cx:pt>
          <cx:pt idx="1543">5.8197600000000005</cx:pt>
          <cx:pt idx="1544">8.4165399999999995</cx:pt>
          <cx:pt idx="1545">6.2842499999999992</cx:pt>
          <cx:pt idx="1546">6.2842499999999992</cx:pt>
          <cx:pt idx="1547">29.046469999999903</cx:pt>
          <cx:pt idx="1548">3.08962</cx:pt>
        </cx:lvl>
      </cx:numDim>
    </cx:data>
    <cx:data id="12">
      <cx:numDim type="val">
        <cx:f>Sheet2!$M$2:$M$11265</cx:f>
        <cx:lvl ptCount="11264" formatCode="General">
          <cx:pt idx="0">7.8415999999999997</cx:pt>
          <cx:pt idx="1">13.1242499999999</cx:pt>
          <cx:pt idx="2">13.1242499999999</cx:pt>
          <cx:pt idx="3">11.625359999999899</cx:pt>
          <cx:pt idx="4">13.1242499999999</cx:pt>
          <cx:pt idx="5">13.1242499999999</cx:pt>
          <cx:pt idx="6">40.600569999999706</cx:pt>
          <cx:pt idx="7">15.19694</cx:pt>
          <cx:pt idx="8">15.04954</cx:pt>
          <cx:pt idx="9">12.839249999999899</cx:pt>
          <cx:pt idx="10">13.1242499999999</cx:pt>
          <cx:pt idx="11">15.771799999999999</cx:pt>
          <cx:pt idx="12">42.750169999999898</cx:pt>
          <cx:pt idx="13">13.1242499999999</cx:pt>
          <cx:pt idx="14">13.1242499999999</cx:pt>
          <cx:pt idx="15">15.04954</cx:pt>
          <cx:pt idx="16">40.600569999999706</cx:pt>
          <cx:pt idx="17">15.04954</cx:pt>
          <cx:pt idx="18">13.1242499999999</cx:pt>
          <cx:pt idx="19">14.75474</cx:pt>
          <cx:pt idx="20">17.548580000000001</cx:pt>
          <cx:pt idx="21">7.7063999999999995</cx:pt>
          <cx:pt idx="22">11.625359999999899</cx:pt>
          <cx:pt idx="23">13.751459999999899</cx:pt>
          <cx:pt idx="24">13.1242499999999</cx:pt>
          <cx:pt idx="25">40.86927</cx:pt>
          <cx:pt idx="26">12.839249999999899</cx:pt>
          <cx:pt idx="27">13.1242499999999</cx:pt>
          <cx:pt idx="28">15.04954</cx:pt>
          <cx:pt idx="29">17.24098</cx:pt>
          <cx:pt idx="30">3.7306199999999996</cx:pt>
          <cx:pt idx="31">13.1242499999999</cx:pt>
          <cx:pt idx="32">13.751459999999899</cx:pt>
          <cx:pt idx="33">15.04954</cx:pt>
          <cx:pt idx="34">14.0406599999999</cx:pt>
          <cx:pt idx="35">15.04954</cx:pt>
          <cx:pt idx="36">11.625359999999899</cx:pt>
          <cx:pt idx="37">15.786539999999999</cx:pt>
          <cx:pt idx="38">13.1242499999999</cx:pt>
          <cx:pt idx="39">11.625359999999899</cx:pt>
          <cx:pt idx="40">15.04954</cx:pt>
          <cx:pt idx="41">11.625359999999899</cx:pt>
          <cx:pt idx="42">17.548580000000001</cx:pt>
          <cx:pt idx="43">13.1242499999999</cx:pt>
          <cx:pt idx="44">13.1242499999999</cx:pt>
          <cx:pt idx="45">13.447799999999999</cx:pt>
          <cx:pt idx="46">3.9870200000000002</cx:pt>
          <cx:pt idx="47">15.04954</cx:pt>
          <cx:pt idx="48">17.24098</cx:pt>
          <cx:pt idx="49">43.556270000000005</cx:pt>
          <cx:pt idx="50">13.447799999999999</cx:pt>
          <cx:pt idx="51">13.1242499999999</cx:pt>
          <cx:pt idx="52">13.1242499999999</cx:pt>
          <cx:pt idx="53">15.04954</cx:pt>
          <cx:pt idx="54">13.1242499999999</cx:pt>
          <cx:pt idx="55">13.1242499999999</cx:pt>
          <cx:pt idx="56">18.009979999999899</cx:pt>
          <cx:pt idx="57">13.1242499999999</cx:pt>
          <cx:pt idx="58">13.1242499999999</cx:pt>
          <cx:pt idx="59">18.778979999999901</cx:pt>
          <cx:pt idx="60">13.1242499999999</cx:pt>
          <cx:pt idx="61">10.973099999999999</cx:pt>
          <cx:pt idx="62">15.04954</cx:pt>
          <cx:pt idx="63">13.1242499999999</cx:pt>
          <cx:pt idx="64">13.1242499999999</cx:pt>
          <cx:pt idx="65">7.9903199999999996</cx:pt>
          <cx:pt idx="66">17.24098</cx:pt>
          <cx:pt idx="67">13.1242499999999</cx:pt>
          <cx:pt idx="68">15.04954</cx:pt>
          <cx:pt idx="69">11.625359999999899</cx:pt>
          <cx:pt idx="70">17.548580000000001</cx:pt>
          <cx:pt idx="71">15.04954</cx:pt>
          <cx:pt idx="72">15.04954</cx:pt>
          <cx:pt idx="73">15.04954</cx:pt>
          <cx:pt idx="74">3.9870200000000002</cx:pt>
          <cx:pt idx="75">13.1242499999999</cx:pt>
          <cx:pt idx="76">35.495269999999898</cx:pt>
          <cx:pt idx="77">17.24098</cx:pt>
          <cx:pt idx="78">13.1242499999999</cx:pt>
          <cx:pt idx="79">15.04954</cx:pt>
          <cx:pt idx="80">15.19694</cx:pt>
          <cx:pt idx="81">43.556270000000005</cx:pt>
          <cx:pt idx="82">3.60242</cx:pt>
          <cx:pt idx="83">4.7433999999999994</cx:pt>
          <cx:pt idx="84">13.1242499999999</cx:pt>
          <cx:pt idx="85">3.08962</cx:pt>
          <cx:pt idx="86">11.625359999999899</cx:pt>
          <cx:pt idx="87">11.625359999999899</cx:pt>
          <cx:pt idx="88">5.1279999999999903</cx:pt>
          <cx:pt idx="89">11.625359999999899</cx:pt>
          <cx:pt idx="90">13.1242499999999</cx:pt>
          <cx:pt idx="91">15.04954</cx:pt>
          <cx:pt idx="92">18.778979999999901</cx:pt>
          <cx:pt idx="93">15.786539999999999</cx:pt>
          <cx:pt idx="94">13.1242499999999</cx:pt>
          <cx:pt idx="95">15.04954</cx:pt>
          <cx:pt idx="96">13.1242499999999</cx:pt>
          <cx:pt idx="97">13.1242499999999</cx:pt>
          <cx:pt idx="98">13.1242499999999</cx:pt>
          <cx:pt idx="99">13.1242499999999</cx:pt>
          <cx:pt idx="100">35.737099999999998</cx:pt>
          <cx:pt idx="101">13.1242499999999</cx:pt>
          <cx:pt idx="102">4.4998199999999899</cx:pt>
          <cx:pt idx="103">13.1242499999999</cx:pt>
          <cx:pt idx="104">11.625359999999899</cx:pt>
          <cx:pt idx="105">17.24098</cx:pt>
          <cx:pt idx="106">15.04954</cx:pt>
          <cx:pt idx="107">13.1242499999999</cx:pt>
          <cx:pt idx="108">13.1242499999999</cx:pt>
          <cx:pt idx="109">15.04954</cx:pt>
          <cx:pt idx="110">6.5549999999999997</cx:pt>
          <cx:pt idx="111">13.1242499999999</cx:pt>
          <cx:pt idx="112">13.1242499999999</cx:pt>
          <cx:pt idx="113">11.625359999999899</cx:pt>
          <cx:pt idx="114">15.04954</cx:pt>
          <cx:pt idx="115">15.04954</cx:pt>
          <cx:pt idx="116">5.89949999999999</cx:pt>
          <cx:pt idx="117">15.04954</cx:pt>
          <cx:pt idx="118">6.1616999999999997</cx:pt>
          <cx:pt idx="119">11.625359999999899</cx:pt>
          <cx:pt idx="120">17.24098</cx:pt>
          <cx:pt idx="121">15.04954</cx:pt>
          <cx:pt idx="122">12.3333599999999</cx:pt>
          <cx:pt idx="123">15.04954</cx:pt>
          <cx:pt idx="124">13.1242499999999</cx:pt>
          <cx:pt idx="125">13.1242499999999</cx:pt>
          <cx:pt idx="126">45.974569999999702</cx:pt>
          <cx:pt idx="127">13.1242499999999</cx:pt>
          <cx:pt idx="128">15.04954</cx:pt>
          <cx:pt idx="129">11.625359999999899</cx:pt>
          <cx:pt idx="130">15.04954</cx:pt>
          <cx:pt idx="131">15.344340000000001</cx:pt>
          <cx:pt idx="132">13.1242499999999</cx:pt>
          <cx:pt idx="133">13.1242499999999</cx:pt>
          <cx:pt idx="134">13.1242499999999</cx:pt>
          <cx:pt idx="135">13.1242499999999</cx:pt>
          <cx:pt idx="136">4.8715999999999999</cx:pt>
          <cx:pt idx="137">13.606859999999902</cx:pt>
          <cx:pt idx="138">13.1242499999999</cx:pt>
          <cx:pt idx="139">18.778979999999901</cx:pt>
          <cx:pt idx="140">15.786539999999999</cx:pt>
          <cx:pt idx="141">13.1242499999999</cx:pt>
          <cx:pt idx="142">16.93338</cx:pt>
          <cx:pt idx="143">13.33212</cx:pt>
          <cx:pt idx="144">3.08962</cx:pt>
          <cx:pt idx="145">13.1242499999999</cx:pt>
          <cx:pt idx="146">15.04954</cx:pt>
          <cx:pt idx="147">9.3201899999999789</cx:pt>
          <cx:pt idx="148">13.1242499999999</cx:pt>
          <cx:pt idx="149">13.1242499999999</cx:pt>
          <cx:pt idx="150">13.1242499999999</cx:pt>
          <cx:pt idx="151">13.1242499999999</cx:pt>
          <cx:pt idx="152">13.1242499999999</cx:pt>
          <cx:pt idx="153">15.786539999999999</cx:pt>
          <cx:pt idx="154">13.1242499999999</cx:pt>
          <cx:pt idx="155">15.04954</cx:pt>
          <cx:pt idx="156">41.4066699999997</cx:pt>
          <cx:pt idx="157">13.1242499999999</cx:pt>
          <cx:pt idx="158">13.1242499999999</cx:pt>
          <cx:pt idx="159">7.7063999999999995</cx:pt>
          <cx:pt idx="160">11.625359999999899</cx:pt>
          <cx:pt idx="161">15.04954</cx:pt>
          <cx:pt idx="162">13.1242499999999</cx:pt>
          <cx:pt idx="163">4.6280199999999905</cx:pt>
          <cx:pt idx="164">11.625359999999899</cx:pt>
          <cx:pt idx="165">13.1242499999999</cx:pt>
          <cx:pt idx="166">13.1242499999999</cx:pt>
          <cx:pt idx="167">18.4713799999999</cx:pt>
          <cx:pt idx="168">11.625359999999899</cx:pt>
          <cx:pt idx="169">11.625359999999899</cx:pt>
          <cx:pt idx="170">11.625359999999899</cx:pt>
          <cx:pt idx="171">17.24098</cx:pt>
          <cx:pt idx="172">4.3716200000000001</cx:pt>
          <cx:pt idx="173">6.4239000000000006</cx:pt>
          <cx:pt idx="174">13.1242499999999</cx:pt>
          <cx:pt idx="175">13.1242499999999</cx:pt>
          <cx:pt idx="176">13.1242499999999</cx:pt>
          <cx:pt idx="177">52.154669999999705</cx:pt>
          <cx:pt idx="178">10.973099999999999</cx:pt>
          <cx:pt idx="179">13.1242499999999</cx:pt>
          <cx:pt idx="180">1.42302</cx:pt>
          <cx:pt idx="181">13.1242499999999</cx:pt>
          <cx:pt idx="182">11.3421599999999</cx:pt>
          <cx:pt idx="183">13.1242499999999</cx:pt>
          <cx:pt idx="184">15.04954</cx:pt>
          <cx:pt idx="185">13.1242499999999</cx:pt>
          <cx:pt idx="186">13.1242499999999</cx:pt>
          <cx:pt idx="187">15.04954</cx:pt>
          <cx:pt idx="188">11.625359999999899</cx:pt>
          <cx:pt idx="189">11.625359999999899</cx:pt>
          <cx:pt idx="190">13.1242499999999</cx:pt>
          <cx:pt idx="191">11.625359999999899</cx:pt>
          <cx:pt idx="192">2.1922199999999998</cx:pt>
          <cx:pt idx="193">13.1242499999999</cx:pt>
          <cx:pt idx="194">3.4742199999999896</cx:pt>
          <cx:pt idx="195">13.1242499999999</cx:pt>
          <cx:pt idx="196">15.04954</cx:pt>
          <cx:pt idx="197">15.04954</cx:pt>
          <cx:pt idx="198">13.1242499999999</cx:pt>
          <cx:pt idx="199">11.625359999999899</cx:pt>
          <cx:pt idx="200">13.1242499999999</cx:pt>
          <cx:pt idx="201">15.04954</cx:pt>
          <cx:pt idx="202">13.1242499999999</cx:pt>
          <cx:pt idx="203">13.1242499999999</cx:pt>
          <cx:pt idx="204">11.625359999999899</cx:pt>
          <cx:pt idx="205">12.825000000000001</cx:pt>
          <cx:pt idx="206">13.1242499999999</cx:pt>
          <cx:pt idx="207">15.04954</cx:pt>
          <cx:pt idx="208">11.625359999999899</cx:pt>
          <cx:pt idx="209">13.1242499999999</cx:pt>
          <cx:pt idx="210">15.04954</cx:pt>
          <cx:pt idx="211">56.722569999999692</cx:pt>
          <cx:pt idx="212">11.625359999999899</cx:pt>
          <cx:pt idx="213">15.344340000000001</cx:pt>
          <cx:pt idx="214">40.600569999999706</cx:pt>
          <cx:pt idx="215">13.1242499999999</cx:pt>
          <cx:pt idx="216">38.182270000000003</cx:pt>
          <cx:pt idx="217">3.9870200000000002</cx:pt>
          <cx:pt idx="218">13.1242499999999</cx:pt>
          <cx:pt idx="219">3.7178000000000004</cx:pt>
          <cx:pt idx="220">13.1242499999999</cx:pt>
          <cx:pt idx="221">13.1242499999999</cx:pt>
          <cx:pt idx="222">5.7683999999999997</cx:pt>
          <cx:pt idx="223">13.1242499999999</cx:pt>
          <cx:pt idx="224">15.9192</cx:pt>
          <cx:pt idx="225">3.4742199999999896</cx:pt>
          <cx:pt idx="226">15.04954</cx:pt>
          <cx:pt idx="227">13.1242499999999</cx:pt>
          <cx:pt idx="228">39.794469999999698</cx:pt>
          <cx:pt idx="229">13.1242499999999</cx:pt>
          <cx:pt idx="230">13.1242499999999</cx:pt>
          <cx:pt idx="231">13.1242499999999</cx:pt>
          <cx:pt idx="232">11.625359999999899</cx:pt>
          <cx:pt idx="233">15.04954</cx:pt>
          <cx:pt idx="234">13.1242499999999</cx:pt>
          <cx:pt idx="235">7.1655999999999995</cx:pt>
          <cx:pt idx="236">13.1242499999999</cx:pt>
          <cx:pt idx="237">3.7178000000000004</cx:pt>
          <cx:pt idx="238">3.08962</cx:pt>
          <cx:pt idx="239">2.5639999999999898</cx:pt>
          <cx:pt idx="240">13.606859999999902</cx:pt>
          <cx:pt idx="241">13.1242499999999</cx:pt>
          <cx:pt idx="242">15.04954</cx:pt>
          <cx:pt idx="243">12.3333599999999</cx:pt>
          <cx:pt idx="244">15.04954</cx:pt>
          <cx:pt idx="245">11.625359999999899</cx:pt>
          <cx:pt idx="246">13.1242499999999</cx:pt>
          <cx:pt idx="247">12.61656</cx:pt>
          <cx:pt idx="248">13.1242499999999</cx:pt>
          <cx:pt idx="249">13.1242499999999</cx:pt>
          <cx:pt idx="250">13.1242499999999</cx:pt>
          <cx:pt idx="251">5.89949999999999</cx:pt>
          <cx:pt idx="252">13.1242499999999</cx:pt>
          <cx:pt idx="253">4.3716200000000001</cx:pt>
          <cx:pt idx="254">15.04954</cx:pt>
          <cx:pt idx="255">13.1242499999999</cx:pt>
          <cx:pt idx="256">13.1242499999999</cx:pt>
          <cx:pt idx="257">13.1242499999999</cx:pt>
          <cx:pt idx="258">13.1242499999999</cx:pt>
          <cx:pt idx="259">13.1242499999999</cx:pt>
          <cx:pt idx="260">15.04954</cx:pt>
          <cx:pt idx="261">5.89949999999999</cx:pt>
          <cx:pt idx="262">2.8332199999999998</cx:pt>
          <cx:pt idx="263">11.625359999999899</cx:pt>
          <cx:pt idx="264">13.1242499999999</cx:pt>
          <cx:pt idx="265">12.3333599999999</cx:pt>
          <cx:pt idx="266">5.1279999999999903</cx:pt>
          <cx:pt idx="267">11.625359999999899</cx:pt>
          <cx:pt idx="268">15.04954</cx:pt>
          <cx:pt idx="269">46.780669999999702</cx:pt>
          <cx:pt idx="270">5.89949999999999</cx:pt>
          <cx:pt idx="271">1.42302</cx:pt>
          <cx:pt idx="272">13.1242499999999</cx:pt>
          <cx:pt idx="273">13.1242499999999</cx:pt>
          <cx:pt idx="274">15.04954</cx:pt>
          <cx:pt idx="275">15.04954</cx:pt>
          <cx:pt idx="276">13.1242499999999</cx:pt>
          <cx:pt idx="277">13.1242499999999</cx:pt>
          <cx:pt idx="278">1.9358199999999999</cx:pt>
          <cx:pt idx="279">15.04954</cx:pt>
          <cx:pt idx="280">13.1242499999999</cx:pt>
          <cx:pt idx="281">13.1242499999999</cx:pt>
          <cx:pt idx="282">15.04954</cx:pt>
          <cx:pt idx="283">12.3333599999999</cx:pt>
          <cx:pt idx="284">13.1242499999999</cx:pt>
          <cx:pt idx="285">15.04954</cx:pt>
          <cx:pt idx="286">13.1242499999999</cx:pt>
          <cx:pt idx="287">15.04954</cx:pt>
          <cx:pt idx="288">13.1242499999999</cx:pt>
          <cx:pt idx="289">13.1242499999999</cx:pt>
          <cx:pt idx="290">13.1242499999999</cx:pt>
          <cx:pt idx="291">13.1242499999999</cx:pt>
          <cx:pt idx="292">15.04954</cx:pt>
          <cx:pt idx="293">11.3421599999999</cx:pt>
          <cx:pt idx="294">13.1242499999999</cx:pt>
          <cx:pt idx="295">17.24098</cx:pt>
          <cx:pt idx="296">13.1242499999999</cx:pt>
          <cx:pt idx="297">13.1242499999999</cx:pt>
          <cx:pt idx="298">13.1242499999999</cx:pt>
          <cx:pt idx="299">13.1242499999999</cx:pt>
          <cx:pt idx="300">1.42302</cx:pt>
          <cx:pt idx="301">13.1242499999999</cx:pt>
          <cx:pt idx="302">13.1242499999999</cx:pt>
          <cx:pt idx="303">15.04954</cx:pt>
          <cx:pt idx="304">11.625359999999899</cx:pt>
          <cx:pt idx="305">13.1242499999999</cx:pt>
          <cx:pt idx="306">13.1242499999999</cx:pt>
          <cx:pt idx="307">13.1242499999999</cx:pt>
          <cx:pt idx="308">13.1242499999999</cx:pt>
          <cx:pt idx="309">4.9998000000000005</cx:pt>
          <cx:pt idx="310">13.1242499999999</cx:pt>
          <cx:pt idx="311">13.1242499999999</cx:pt>
          <cx:pt idx="312">15.04954</cx:pt>
          <cx:pt idx="313">13.1242499999999</cx:pt>
          <cx:pt idx="314">11.625359999999899</cx:pt>
          <cx:pt idx="315">13.1242499999999</cx:pt>
          <cx:pt idx="316">18.625179999999901</cx:pt>
          <cx:pt idx="317">13.1242499999999</cx:pt>
          <cx:pt idx="318">13.1242499999999</cx:pt>
          <cx:pt idx="319">11.625359999999899</cx:pt>
          <cx:pt idx="320">15.04954</cx:pt>
          <cx:pt idx="321">1.42302</cx:pt>
          <cx:pt idx="322">17.24098</cx:pt>
          <cx:pt idx="323">15.786539999999999</cx:pt>
          <cx:pt idx="324">13.1242499999999</cx:pt>
          <cx:pt idx="325">13.1242499999999</cx:pt>
          <cx:pt idx="326">11.625359999999899</cx:pt>
          <cx:pt idx="327">13.1242499999999</cx:pt>
          <cx:pt idx="328">11.625359999999899</cx:pt>
          <cx:pt idx="329">11.625359999999899</cx:pt>
          <cx:pt idx="330">13.1242499999999</cx:pt>
          <cx:pt idx="331">15.04954</cx:pt>
          <cx:pt idx="332">11.625359999999899</cx:pt>
          <cx:pt idx="333">15.04954</cx:pt>
          <cx:pt idx="334">15.04954</cx:pt>
          <cx:pt idx="335">14.75474</cx:pt>
          <cx:pt idx="336">15.04954</cx:pt>
          <cx:pt idx="337">13.1242499999999</cx:pt>
          <cx:pt idx="338">6.6860999999999908</cx:pt>
          <cx:pt idx="339">15.04954</cx:pt>
          <cx:pt idx="340">13.1242499999999</cx:pt>
          <cx:pt idx="341">12.839249999999899</cx:pt>
          <cx:pt idx="342">13.1242499999999</cx:pt>
          <cx:pt idx="343">13.1242499999999</cx:pt>
          <cx:pt idx="344">13.1242499999999</cx:pt>
          <cx:pt idx="345">11.625359999999899</cx:pt>
          <cx:pt idx="346">13.1242499999999</cx:pt>
          <cx:pt idx="347">35.495269999999898</cx:pt>
          <cx:pt idx="348">15.04954</cx:pt>
          <cx:pt idx="349">11.3421599999999</cx:pt>
          <cx:pt idx="350">13.1242499999999</cx:pt>
          <cx:pt idx="351">15.04954</cx:pt>
          <cx:pt idx="352">13.1242499999999</cx:pt>
          <cx:pt idx="353">13.1242499999999</cx:pt>
          <cx:pt idx="354">13.1242499999999</cx:pt>
          <cx:pt idx="355">13.606859999999902</cx:pt>
          <cx:pt idx="356">13.1242499999999</cx:pt>
          <cx:pt idx="357">17.24098</cx:pt>
          <cx:pt idx="358">13.1242499999999</cx:pt>
          <cx:pt idx="359">13.1242499999999</cx:pt>
          <cx:pt idx="360">13.1242499999999</cx:pt>
          <cx:pt idx="361">11.625359999999899</cx:pt>
          <cx:pt idx="362">14.75474</cx:pt>
          <cx:pt idx="363">9.722999999999999</cx:pt>
          <cx:pt idx="364">15.04954</cx:pt>
          <cx:pt idx="365">11.625359999999899</cx:pt>
          <cx:pt idx="366">12.3333599999999</cx:pt>
          <cx:pt idx="367">13.1242499999999</cx:pt>
          <cx:pt idx="368">50.811169999999692</cx:pt>
          <cx:pt idx="369">11.625359999999899</cx:pt>
          <cx:pt idx="370">13.1242499999999</cx:pt>
          <cx:pt idx="371">13.1242499999999</cx:pt>
          <cx:pt idx="372">18.778979999999901</cx:pt>
          <cx:pt idx="373">36.032670000000003</cx:pt>
          <cx:pt idx="374">14.0406599999999</cx:pt>
          <cx:pt idx="375">13.1242499999999</cx:pt>
          <cx:pt idx="376">15.04954</cx:pt>
          <cx:pt idx="377">13.1242499999999</cx:pt>
          <cx:pt idx="378">13.1242499999999</cx:pt>
          <cx:pt idx="379">11.625359999999899</cx:pt>
          <cx:pt idx="380">11.625359999999899</cx:pt>
          <cx:pt idx="381">11.625359999999899</cx:pt>
          <cx:pt idx="382">12.839249999999899</cx:pt>
          <cx:pt idx="383">16.625780000000002</cx:pt>
          <cx:pt idx="384">15.04954</cx:pt>
          <cx:pt idx="385">17.24098</cx:pt>
          <cx:pt idx="386">13.1242499999999</cx:pt>
          <cx:pt idx="387">11.625359999999899</cx:pt>
          <cx:pt idx="388">13.1242499999999</cx:pt>
          <cx:pt idx="389">13.1242499999999</cx:pt>
          <cx:pt idx="390">13.1242499999999</cx:pt>
          <cx:pt idx="391">12.3333599999999</cx:pt>
          <cx:pt idx="392">13.1242499999999</cx:pt>
          <cx:pt idx="393">13.462259999999901</cx:pt>
          <cx:pt idx="394">13.1242499999999</cx:pt>
          <cx:pt idx="395">43.824969999999702</cx:pt>
          <cx:pt idx="396">12.967500000000001</cx:pt>
          <cx:pt idx="397">10.736969999999999</cx:pt>
          <cx:pt idx="398">11.625359999999899</cx:pt>
          <cx:pt idx="399">3.60242</cx:pt>
          <cx:pt idx="400">15.04954</cx:pt>
          <cx:pt idx="401">15.04954</cx:pt>
          <cx:pt idx="402">3.9741999999999997</cx:pt>
          <cx:pt idx="403">13.1242499999999</cx:pt>
          <cx:pt idx="404">13.1242499999999</cx:pt>
          <cx:pt idx="405">13.1242499999999</cx:pt>
          <cx:pt idx="406">3.9870200000000002</cx:pt>
          <cx:pt idx="407">10.6952999999999</cx:pt>
          <cx:pt idx="408">13.1242499999999</cx:pt>
          <cx:pt idx="409">13.1242499999999</cx:pt>
          <cx:pt idx="410">12.839249999999899</cx:pt>
          <cx:pt idx="411">13.606859999999902</cx:pt>
          <cx:pt idx="412">13.1242499999999</cx:pt>
          <cx:pt idx="413">6.03059999999999</cx:pt>
          <cx:pt idx="414">12.839249999999899</cx:pt>
          <cx:pt idx="415">18.778979999999901</cx:pt>
          <cx:pt idx="416">5.5061999999999998</cx:pt>
          <cx:pt idx="417">13.1242499999999</cx:pt>
          <cx:pt idx="418">13.1242499999999</cx:pt>
          <cx:pt idx="419">3.4742199999999896</cx:pt>
          <cx:pt idx="420">13.1242499999999</cx:pt>
          <cx:pt idx="421">60.457499999999996</cx:pt>
          <cx:pt idx="422">13.1242499999999</cx:pt>
          <cx:pt idx="423">13.1242499999999</cx:pt>
          <cx:pt idx="424">13.1242499999999</cx:pt>
          <cx:pt idx="425">13.1242499999999</cx:pt>
          <cx:pt idx="426">7.4359999999999999</cx:pt>
          <cx:pt idx="427">13.1242499999999</cx:pt>
          <cx:pt idx="428">7.7199199999999992</cx:pt>
          <cx:pt idx="429">13.1242499999999</cx:pt>
          <cx:pt idx="430">13.1242499999999</cx:pt>
          <cx:pt idx="431">37.913569999999702</cx:pt>
          <cx:pt idx="432">11.625359999999899</cx:pt>
          <cx:pt idx="433">11.625359999999899</cx:pt>
          <cx:pt idx="434">13.1242499999999</cx:pt>
          <cx:pt idx="435">3.8460000000000001</cx:pt>
          <cx:pt idx="436">15.491739999999901</cx:pt>
          <cx:pt idx="437">13.1242499999999</cx:pt>
          <cx:pt idx="438">11.625359999999899</cx:pt>
          <cx:pt idx="439">17.994599999999998</cx:pt>
          <cx:pt idx="440">18.148399999999899</cx:pt>
          <cx:pt idx="441">13.1242499999999</cx:pt>
          <cx:pt idx="442">13.1242499999999</cx:pt>
          <cx:pt idx="443">11.625359999999899</cx:pt>
          <cx:pt idx="444">13.1242499999999</cx:pt>
          <cx:pt idx="445">13.1242499999999</cx:pt>
          <cx:pt idx="446">17.24098</cx:pt>
          <cx:pt idx="447">15.04954</cx:pt>
          <cx:pt idx="448">15.04954</cx:pt>
          <cx:pt idx="449">15.04954</cx:pt>
          <cx:pt idx="450">13.1242499999999</cx:pt>
          <cx:pt idx="451">13.1242499999999</cx:pt>
          <cx:pt idx="452">11.3421599999999</cx:pt>
          <cx:pt idx="453">11.625359999999899</cx:pt>
          <cx:pt idx="454">13.1242499999999</cx:pt>
          <cx:pt idx="455">13.1242499999999</cx:pt>
          <cx:pt idx="456">13.1242499999999</cx:pt>
          <cx:pt idx="457">13.1242499999999</cx:pt>
          <cx:pt idx="458">13.1242499999999</cx:pt>
          <cx:pt idx="459">15.786539999999999</cx:pt>
          <cx:pt idx="460">19.240380000000002</cx:pt>
          <cx:pt idx="461">40.331869999999995</cx:pt>
          <cx:pt idx="462">13.1242499999999</cx:pt>
          <cx:pt idx="463">45.974569999999702</cx:pt>
          <cx:pt idx="464">1.42302</cx:pt>
          <cx:pt idx="465">15.04954</cx:pt>
          <cx:pt idx="466">11.625359999999899</cx:pt>
          <cx:pt idx="467">4.6280199999999905</cx:pt>
          <cx:pt idx="468">11.625359999999899</cx:pt>
          <cx:pt idx="469">13.1242499999999</cx:pt>
          <cx:pt idx="470">13.1242499999999</cx:pt>
          <cx:pt idx="471">13.1242499999999</cx:pt>
          <cx:pt idx="472">13.1242499999999</cx:pt>
          <cx:pt idx="473">13.1242499999999</cx:pt>
          <cx:pt idx="474">13.1242499999999</cx:pt>
          <cx:pt idx="475">14.75474</cx:pt>
          <cx:pt idx="476">17.24098</cx:pt>
          <cx:pt idx="477">13.1242499999999</cx:pt>
          <cx:pt idx="478">12.3333599999999</cx:pt>
          <cx:pt idx="479">13.1242499999999</cx:pt>
          <cx:pt idx="480">17.24098</cx:pt>
          <cx:pt idx="481">12.3333599999999</cx:pt>
          <cx:pt idx="482">6.6992099999999999</cx:pt>
          <cx:pt idx="483">13.1242499999999</cx:pt>
          <cx:pt idx="484">13.1242499999999</cx:pt>
          <cx:pt idx="485">18.778979999999901</cx:pt>
          <cx:pt idx="486">11.625359999999899</cx:pt>
          <cx:pt idx="487">13.1242499999999</cx:pt>
          <cx:pt idx="488">13.1242499999999</cx:pt>
          <cx:pt idx="489">17.24098</cx:pt>
          <cx:pt idx="490">44.093669999999705</cx:pt>
          <cx:pt idx="491">8.9502400000000204</cx:pt>
          <cx:pt idx="492">13.1242499999999</cx:pt>
          <cx:pt idx="493">13.1242499999999</cx:pt>
          <cx:pt idx="494">13.1242499999999</cx:pt>
          <cx:pt idx="495">11.625359999999899</cx:pt>
          <cx:pt idx="496">15.04954</cx:pt>
          <cx:pt idx="497">15.04954</cx:pt>
          <cx:pt idx="498">17.24098</cx:pt>
          <cx:pt idx="499">13.1242499999999</cx:pt>
          <cx:pt idx="500">13.1242499999999</cx:pt>
          <cx:pt idx="501">3.9741999999999997</cx:pt>
          <cx:pt idx="502">17.24098</cx:pt>
          <cx:pt idx="503">17.0718</cx:pt>
          <cx:pt idx="504">15.04954</cx:pt>
          <cx:pt idx="505">18.778979999999901</cx:pt>
          <cx:pt idx="506">13.1242499999999</cx:pt>
          <cx:pt idx="507">12.839249999999899</cx:pt>
          <cx:pt idx="508">9.3201899999999789</cx:pt>
          <cx:pt idx="509">13.1242499999999</cx:pt>
          <cx:pt idx="510">11.625359999999899</cx:pt>
          <cx:pt idx="511">11.625359999999899</cx:pt>
          <cx:pt idx="512">18.778979999999901</cx:pt>
          <cx:pt idx="513">13.1242499999999</cx:pt>
          <cx:pt idx="514">11.894399999999999</cx:pt>
          <cx:pt idx="515">13.1242499999999</cx:pt>
          <cx:pt idx="516">8.1120000000000001</cx:pt>
          <cx:pt idx="517">15.04954</cx:pt>
          <cx:pt idx="518">13.1242499999999</cx:pt>
          <cx:pt idx="519">13.1242499999999</cx:pt>
          <cx:pt idx="520">15.6244</cx:pt>
          <cx:pt idx="521">15.04954</cx:pt>
          <cx:pt idx="522">15.04954</cx:pt>
          <cx:pt idx="523">13.1242499999999</cx:pt>
          <cx:pt idx="524">13.1242499999999</cx:pt>
          <cx:pt idx="525">13.1242499999999</cx:pt>
          <cx:pt idx="526">15.04954</cx:pt>
          <cx:pt idx="527">12.3333599999999</cx:pt>
          <cx:pt idx="528">13.1242499999999</cx:pt>
          <cx:pt idx="529">13.1242499999999</cx:pt>
          <cx:pt idx="530">15.04954</cx:pt>
          <cx:pt idx="531">13.1242499999999</cx:pt>
          <cx:pt idx="532">15.04954</cx:pt>
          <cx:pt idx="533">13.1242499999999</cx:pt>
          <cx:pt idx="534">49.2258399999997</cx:pt>
          <cx:pt idx="535">11.625359999999899</cx:pt>
          <cx:pt idx="536">13.1242499999999</cx:pt>
          <cx:pt idx="537">15.04954</cx:pt>
          <cx:pt idx="538">13.1242499999999</cx:pt>
          <cx:pt idx="539">15.04954</cx:pt>
          <cx:pt idx="540">13.1242499999999</cx:pt>
          <cx:pt idx="541">15.04954</cx:pt>
          <cx:pt idx="542">13.1242499999999</cx:pt>
          <cx:pt idx="543">13.1242499999999</cx:pt>
          <cx:pt idx="544">14.916879999999999</cx:pt>
          <cx:pt idx="545">11.625359999999899</cx:pt>
          <cx:pt idx="546">12.839249999999899</cx:pt>
          <cx:pt idx="547">43.287569999999697</cx:pt>
          <cx:pt idx="548">8.8015199999999787</cx:pt>
          <cx:pt idx="549">13.1242499999999</cx:pt>
          <cx:pt idx="550">13.1242499999999</cx:pt>
          <cx:pt idx="551">15.04954</cx:pt>
          <cx:pt idx="552">11.625359999999899</cx:pt>
          <cx:pt idx="553">8.3959200000000003</cx:pt>
          <cx:pt idx="554">13.1242499999999</cx:pt>
          <cx:pt idx="555">13.1242499999999</cx:pt>
          <cx:pt idx="556">40.600569999999706</cx:pt>
          <cx:pt idx="557">13.1242499999999</cx:pt>
          <cx:pt idx="558">17.24098</cx:pt>
          <cx:pt idx="559">15.04954</cx:pt>
          <cx:pt idx="560">11.625359999999899</cx:pt>
          <cx:pt idx="561">11.625359999999899</cx:pt>
          <cx:pt idx="562">11.625360000000001</cx:pt>
          <cx:pt idx="563">17.24098</cx:pt>
          <cx:pt idx="564">15.04954</cx:pt>
          <cx:pt idx="565">15.04954</cx:pt>
          <cx:pt idx="566">43.287569999999697</cx:pt>
          <cx:pt idx="567">40.06317</cx:pt>
          <cx:pt idx="568">7.1791200000000002</cx:pt>
          <cx:pt idx="569">7.0439199999999991</cx:pt>
          <cx:pt idx="570">13.1242499999999</cx:pt>
          <cx:pt idx="571">13.1242499999999</cx:pt>
          <cx:pt idx="572">15.04954</cx:pt>
          <cx:pt idx="573">15.04954</cx:pt>
          <cx:pt idx="574">13.1242499999999</cx:pt>
          <cx:pt idx="575">13.1242499999999</cx:pt>
          <cx:pt idx="576">13.1242499999999</cx:pt>
          <cx:pt idx="577">15.04954</cx:pt>
          <cx:pt idx="578">15.04954</cx:pt>
          <cx:pt idx="579">13.1242499999999</cx:pt>
          <cx:pt idx="580">13.1242499999999</cx:pt>
          <cx:pt idx="581">13.1242499999999</cx:pt>
          <cx:pt idx="582">13.1242499999999</cx:pt>
          <cx:pt idx="583">10.431389999999901</cx:pt>
          <cx:pt idx="584">4.2305999999999999</cx:pt>
          <cx:pt idx="585">13.1242499999999</cx:pt>
          <cx:pt idx="586">13.1242499999999</cx:pt>
          <cx:pt idx="587">13.1242499999999</cx:pt>
          <cx:pt idx="588">16.917999999999999</cx:pt>
          <cx:pt idx="589">17.24098</cx:pt>
          <cx:pt idx="590">11.3421599999999</cx:pt>
          <cx:pt idx="591">13.606860000000001</cx:pt>
          <cx:pt idx="592">15.04954</cx:pt>
          <cx:pt idx="593">13.1242499999999</cx:pt>
          <cx:pt idx="594">13.1242499999999</cx:pt>
          <cx:pt idx="595">15.04954</cx:pt>
          <cx:pt idx="596">13.736999999999998</cx:pt>
          <cx:pt idx="597">15.04954</cx:pt>
          <cx:pt idx="598">13.1242499999999</cx:pt>
          <cx:pt idx="599">4.8715999999999999</cx:pt>
          <cx:pt idx="600">13.1242499999999</cx:pt>
          <cx:pt idx="601">13.1242499999999</cx:pt>
          <cx:pt idx="602">6.1616999999999997</cx:pt>
          <cx:pt idx="603">17.24098</cx:pt>
          <cx:pt idx="604">11.3421599999999</cx:pt>
          <cx:pt idx="605">13.1242499999999</cx:pt>
          <cx:pt idx="606">15.04954</cx:pt>
          <cx:pt idx="607">15.04954</cx:pt>
          <cx:pt idx="608">13.1242499999999</cx:pt>
          <cx:pt idx="609">15.771799999999999</cx:pt>
          <cx:pt idx="610">13.1242499999999</cx:pt>
          <cx:pt idx="611">14.75474</cx:pt>
          <cx:pt idx="612">3.5895999999999999</cx:pt>
          <cx:pt idx="613">13.1242499999999</cx:pt>
          <cx:pt idx="614">17.24098</cx:pt>
          <cx:pt idx="615">15.04954</cx:pt>
          <cx:pt idx="616">13.1242499999999</cx:pt>
          <cx:pt idx="617">13.1242499999999</cx:pt>
          <cx:pt idx="618">12.3333599999999</cx:pt>
          <cx:pt idx="619">13.1242499999999</cx:pt>
          <cx:pt idx="620">11.625359999999899</cx:pt>
          <cx:pt idx="621">15.04954</cx:pt>
          <cx:pt idx="622">13.1242499999999</cx:pt>
          <cx:pt idx="623">13.1242499999999</cx:pt>
          <cx:pt idx="624">13.1242499999999</cx:pt>
          <cx:pt idx="625">13.1242499999999</cx:pt>
          <cx:pt idx="626">13.1242499999999</cx:pt>
          <cx:pt idx="627">13.1242499999999</cx:pt>
          <cx:pt idx="628">13.1242499999999</cx:pt>
          <cx:pt idx="629">15.04954</cx:pt>
          <cx:pt idx="630">13.1242499999999</cx:pt>
          <cx:pt idx="631">13.1242499999999</cx:pt>
          <cx:pt idx="632">15.04954</cx:pt>
          <cx:pt idx="633">13.1242499999999</cx:pt>
          <cx:pt idx="634">11.9085599999999</cx:pt>
          <cx:pt idx="635">13.1242499999999</cx:pt>
          <cx:pt idx="636">15.04954</cx:pt>
          <cx:pt idx="637">13.1242499999999</cx:pt>
          <cx:pt idx="638">15.491739999999901</cx:pt>
          <cx:pt idx="639">34.689170000000004</cx:pt>
          <cx:pt idx="640">13.1242499999999</cx:pt>
          <cx:pt idx="641">4.1023999999999994</cx:pt>
          <cx:pt idx="642">15.04954</cx:pt>
          <cx:pt idx="643">17.548580000000001</cx:pt>
          <cx:pt idx="644">14.75474</cx:pt>
          <cx:pt idx="645">5.9126099999999893</cx:pt>
          <cx:pt idx="646">13.1242499999999</cx:pt>
          <cx:pt idx="647">13.1242499999999</cx:pt>
          <cx:pt idx="648">14.75474</cx:pt>
          <cx:pt idx="649">13.1242499999999</cx:pt>
          <cx:pt idx="650">14.63682</cx:pt>
          <cx:pt idx="651">13.1242499999999</cx:pt>
          <cx:pt idx="652">13.1242499999999</cx:pt>
          <cx:pt idx="653">18.778979999999901</cx:pt>
          <cx:pt idx="654">11.625359999999899</cx:pt>
          <cx:pt idx="655">11.3421599999999</cx:pt>
          <cx:pt idx="656">18.778979999999901</cx:pt>
          <cx:pt idx="657">10.7091899999999</cx:pt>
          <cx:pt idx="658">13.1242499999999</cx:pt>
          <cx:pt idx="659">13.1242499999999</cx:pt>
          <cx:pt idx="660">15.04954</cx:pt>
          <cx:pt idx="661">11.625359999999899</cx:pt>
          <cx:pt idx="662">13.1242499999999</cx:pt>
          <cx:pt idx="663">13.1242499999999</cx:pt>
          <cx:pt idx="664">9.3201899999999789</cx:pt>
          <cx:pt idx="665">15.04954</cx:pt>
          <cx:pt idx="666">38.182270000000003</cx:pt>
          <cx:pt idx="667">13.1242499999999</cx:pt>
          <cx:pt idx="668">13.1242499999999</cx:pt>
          <cx:pt idx="669">13.1242499999999</cx:pt>
          <cx:pt idx="670">15.491739999999901</cx:pt>
          <cx:pt idx="671">15.04954</cx:pt>
          <cx:pt idx="672">15.04954</cx:pt>
          <cx:pt idx="673">13.1242499999999</cx:pt>
          <cx:pt idx="674">13.1242499999999</cx:pt>
          <cx:pt idx="675">13.1242499999999</cx:pt>
          <cx:pt idx="676">13.1242499999999</cx:pt>
          <cx:pt idx="677">13.1242499999999</cx:pt>
          <cx:pt idx="678">13.1242499999999</cx:pt>
          <cx:pt idx="679">15.04954</cx:pt>
          <cx:pt idx="680">11.625359999999899</cx:pt>
          <cx:pt idx="681">13.1242499999999</cx:pt>
          <cx:pt idx="682">13.1242499999999</cx:pt>
          <cx:pt idx="683">15.04954</cx:pt>
          <cx:pt idx="684">7.7063999999999995</cx:pt>
          <cx:pt idx="685">13.1242499999999</cx:pt>
          <cx:pt idx="686">7.8415999999999997</cx:pt>
          <cx:pt idx="687">13.1242499999999</cx:pt>
          <cx:pt idx="688">13.1242499999999</cx:pt>
          <cx:pt idx="689">15.04954</cx:pt>
          <cx:pt idx="690">3.4613999999999998</cx:pt>
          <cx:pt idx="691">15.04954</cx:pt>
          <cx:pt idx="692">1.42302</cx:pt>
          <cx:pt idx="693">11.625359999999899</cx:pt>
          <cx:pt idx="694">13.1242499999999</cx:pt>
          <cx:pt idx="695">18.009979999999899</cx:pt>
          <cx:pt idx="696">17.548580000000001</cx:pt>
          <cx:pt idx="697">13.1242499999999</cx:pt>
          <cx:pt idx="698">15.04954</cx:pt>
          <cx:pt idx="699">13.1242499999999</cx:pt>
          <cx:pt idx="700">10.834199999999999</cx:pt>
          <cx:pt idx="701">12.839249999999899</cx:pt>
          <cx:pt idx="702">11.625359999999899</cx:pt>
          <cx:pt idx="703">15.04954</cx:pt>
          <cx:pt idx="704">13.1242499999999</cx:pt>
          <cx:pt idx="705">11.3421599999999</cx:pt>
          <cx:pt idx="706">13.1242499999999</cx:pt>
          <cx:pt idx="707">15.04954</cx:pt>
          <cx:pt idx="708">5.1408199999999997</cx:pt>
          <cx:pt idx="709">12.3333599999999</cx:pt>
          <cx:pt idx="710">13.1242499999999</cx:pt>
          <cx:pt idx="711">15.04954</cx:pt>
          <cx:pt idx="712">13.1242499999999</cx:pt>
          <cx:pt idx="713">13.1242499999999</cx:pt>
          <cx:pt idx="714">2.7050200000000002</cx:pt>
          <cx:pt idx="715">13.1242499999999</cx:pt>
          <cx:pt idx="716">13.606859999999902</cx:pt>
          <cx:pt idx="717">11.625359999999899</cx:pt>
          <cx:pt idx="718">13.1242499999999</cx:pt>
          <cx:pt idx="719">13.1242499999999</cx:pt>
          <cx:pt idx="720">15.04954</cx:pt>
          <cx:pt idx="721">15.04954</cx:pt>
          <cx:pt idx="722">13.1242499999999</cx:pt>
          <cx:pt idx="723">18.778979999999901</cx:pt>
          <cx:pt idx="724">17.24098</cx:pt>
          <cx:pt idx="725">12.616559999999899</cx:pt>
          <cx:pt idx="726">10.973099999999999</cx:pt>
          <cx:pt idx="727">11.625359999999899</cx:pt>
          <cx:pt idx="728">15.04954</cx:pt>
          <cx:pt idx="729">13.1242499999999</cx:pt>
          <cx:pt idx="730">11.625359999999899</cx:pt>
          <cx:pt idx="731">13.751459999999899</cx:pt>
          <cx:pt idx="732">13.1242499999999</cx:pt>
          <cx:pt idx="733">15.04954</cx:pt>
          <cx:pt idx="734">13.1242499999999</cx:pt>
          <cx:pt idx="735">40.600569999999706</cx:pt>
          <cx:pt idx="736">13.1242499999999</cx:pt>
          <cx:pt idx="737">18.009979999999899</cx:pt>
          <cx:pt idx="738">11.625359999999899</cx:pt>
          <cx:pt idx="739">15.04954</cx:pt>
          <cx:pt idx="740">15.04954</cx:pt>
          <cx:pt idx="741">13.1242499999999</cx:pt>
          <cx:pt idx="742">13.1242499999999</cx:pt>
          <cx:pt idx="743">15.04954</cx:pt>
          <cx:pt idx="744">15.04954</cx:pt>
          <cx:pt idx="745">13.1242499999999</cx:pt>
          <cx:pt idx="746">15.04954</cx:pt>
          <cx:pt idx="747">13.1242499999999</cx:pt>
          <cx:pt idx="748">46.243269999999995</cx:pt>
          <cx:pt idx="749">13.1242499999999</cx:pt>
          <cx:pt idx="750">13.1242499999999</cx:pt>
          <cx:pt idx="751">13.1242499999999</cx:pt>
          <cx:pt idx="752">3.8460000000000001</cx:pt>
          <cx:pt idx="753">9.3201899999999789</cx:pt>
          <cx:pt idx="754">6.5549999999999997</cx:pt>
          <cx:pt idx="755">11.3421599999999</cx:pt>
          <cx:pt idx="756">12.3333599999999</cx:pt>
          <cx:pt idx="757">15.04954</cx:pt>
          <cx:pt idx="758">17.24098</cx:pt>
          <cx:pt idx="759">15.04954</cx:pt>
          <cx:pt idx="760">17.24098</cx:pt>
          <cx:pt idx="761">13.1242499999999</cx:pt>
          <cx:pt idx="762">34.95787</cx:pt>
          <cx:pt idx="763">18.778979999999901</cx:pt>
          <cx:pt idx="764">13.1242499999999</cx:pt>
          <cx:pt idx="765">13.1242499999999</cx:pt>
          <cx:pt idx="766">13.1242499999999</cx:pt>
          <cx:pt idx="767">11.625359999999899</cx:pt>
          <cx:pt idx="768">11.625359999999899</cx:pt>
          <cx:pt idx="769">15.04954</cx:pt>
          <cx:pt idx="770">13.1242499999999</cx:pt>
          <cx:pt idx="771">13.1242499999999</cx:pt>
          <cx:pt idx="772">7.1655999999999995</cx:pt>
          <cx:pt idx="773">15.04954</cx:pt>
          <cx:pt idx="774">13.1242499999999</cx:pt>
          <cx:pt idx="775">3.9870200000000002</cx:pt>
          <cx:pt idx="776">13.1242499999999</cx:pt>
          <cx:pt idx="777">13.1242499999999</cx:pt>
          <cx:pt idx="778">11.625359999999899</cx:pt>
          <cx:pt idx="779">13.1242499999999</cx:pt>
          <cx:pt idx="780">10.0146899999999</cx:pt>
          <cx:pt idx="781">17.24098</cx:pt>
          <cx:pt idx="782">13.1242499999999</cx:pt>
          <cx:pt idx="783">13.1242499999999</cx:pt>
          <cx:pt idx="784">13.1242499999999</cx:pt>
          <cx:pt idx="785">13.1242499999999</cx:pt>
          <cx:pt idx="786">12.839249999999899</cx:pt>
          <cx:pt idx="787">15.04954</cx:pt>
          <cx:pt idx="788">18.4713799999999</cx:pt>
          <cx:pt idx="789">13.1242499999999</cx:pt>
          <cx:pt idx="790">13.1242499999999</cx:pt>
          <cx:pt idx="791">13.1242499999999</cx:pt>
          <cx:pt idx="792">17.24098</cx:pt>
          <cx:pt idx="793">13.1242499999999</cx:pt>
          <cx:pt idx="794">13.1242499999999</cx:pt>
          <cx:pt idx="795">19.240380000000002</cx:pt>
          <cx:pt idx="796">4.6151999999999997</cx:pt>
          <cx:pt idx="797">6.4239000000000006</cx:pt>
          <cx:pt idx="798">40.600569999999706</cx:pt>
          <cx:pt idx="799">13.1242499999999</cx:pt>
          <cx:pt idx="800">14.0406599999999</cx:pt>
          <cx:pt idx="801">13.1242499999999</cx:pt>
          <cx:pt idx="802">13.1242499999999</cx:pt>
          <cx:pt idx="803">13.1242499999999</cx:pt>
          <cx:pt idx="804">5.89949999999999</cx:pt>
          <cx:pt idx="805">13.1242499999999</cx:pt>
          <cx:pt idx="806">11.625359999999899</cx:pt>
          <cx:pt idx="807">17.24098</cx:pt>
          <cx:pt idx="808">2.7050200000000002</cx:pt>
          <cx:pt idx="809">13.1242499999999</cx:pt>
          <cx:pt idx="810">13.1242499999999</cx:pt>
          <cx:pt idx="811">13.1242499999999</cx:pt>
          <cx:pt idx="812">5.5061999999999998</cx:pt>
          <cx:pt idx="813">13.1242499999999</cx:pt>
          <cx:pt idx="814">13.1242499999999</cx:pt>
          <cx:pt idx="815">13.1242499999999</cx:pt>
          <cx:pt idx="816">13.1242499999999</cx:pt>
          <cx:pt idx="817">13.1242499999999</cx:pt>
          <cx:pt idx="818">13.1242499999999</cx:pt>
          <cx:pt idx="819">11.625359999999899</cx:pt>
          <cx:pt idx="820">13.1242499999999</cx:pt>
          <cx:pt idx="821">15.04954</cx:pt>
          <cx:pt idx="822">35.495269999999898</cx:pt>
          <cx:pt idx="823">11.625359999999899</cx:pt>
          <cx:pt idx="824">13.1242499999999</cx:pt>
          <cx:pt idx="825">18.917400000000001</cx:pt>
          <cx:pt idx="826">13.1242499999999</cx:pt>
          <cx:pt idx="827">17.702379999999902</cx:pt>
          <cx:pt idx="828">13.1242499999999</cx:pt>
          <cx:pt idx="829">18.009979999999899</cx:pt>
          <cx:pt idx="830">13.751459999999899</cx:pt>
          <cx:pt idx="831">13.1242499999999</cx:pt>
          <cx:pt idx="832">13.1242499999999</cx:pt>
          <cx:pt idx="833">14.0406599999999</cx:pt>
          <cx:pt idx="834">13.1242499999999</cx:pt>
          <cx:pt idx="835">11.3421599999999</cx:pt>
          <cx:pt idx="836">15.04954</cx:pt>
          <cx:pt idx="837">13.1242499999999</cx:pt>
          <cx:pt idx="838">13.1242499999999</cx:pt>
          <cx:pt idx="839">13.1242499999999</cx:pt>
          <cx:pt idx="840">13.1242499999999</cx:pt>
          <cx:pt idx="841">13.1242499999999</cx:pt>
          <cx:pt idx="842">13.1242499999999</cx:pt>
          <cx:pt idx="843">13.1242499999999</cx:pt>
          <cx:pt idx="844">15.04954</cx:pt>
          <cx:pt idx="845">17.717759999999998</cx:pt>
          <cx:pt idx="846">13.1242499999999</cx:pt>
          <cx:pt idx="847">13.1242499999999</cx:pt>
          <cx:pt idx="848">13.1242499999999</cx:pt>
          <cx:pt idx="849">15.04954</cx:pt>
          <cx:pt idx="850">13.1242499999999</cx:pt>
          <cx:pt idx="851">13.1242499999999</cx:pt>
          <cx:pt idx="852">13.1242499999999</cx:pt>
          <cx:pt idx="853">13.1242499999999</cx:pt>
          <cx:pt idx="854">13.1242499999999</cx:pt>
          <cx:pt idx="855">15.04954</cx:pt>
          <cx:pt idx="856">13.1242499999999</cx:pt>
          <cx:pt idx="857">13.1242499999999</cx:pt>
          <cx:pt idx="858">13.1242499999999</cx:pt>
          <cx:pt idx="859">3.8460000000000001</cx:pt>
          <cx:pt idx="860">14.75474</cx:pt>
          <cx:pt idx="861">13.1242499999999</cx:pt>
          <cx:pt idx="862">13.1242499999999</cx:pt>
          <cx:pt idx="863">15.04954</cx:pt>
          <cx:pt idx="864">13.1242499999999</cx:pt>
          <cx:pt idx="865">11.625359999999899</cx:pt>
          <cx:pt idx="866">13.1242499999999</cx:pt>
          <cx:pt idx="867">12.602399999999999</cx:pt>
          <cx:pt idx="868">13.1242499999999</cx:pt>
          <cx:pt idx="869">13.1242499999999</cx:pt>
          <cx:pt idx="870">13.1242499999999</cx:pt>
          <cx:pt idx="871">15.04954</cx:pt>
          <cx:pt idx="872">18.778979999999901</cx:pt>
          <cx:pt idx="873">17.24098</cx:pt>
          <cx:pt idx="874">11.625359999999899</cx:pt>
          <cx:pt idx="875">13.1242499999999</cx:pt>
          <cx:pt idx="876">14.75474</cx:pt>
          <cx:pt idx="877">13.1242499999999</cx:pt>
          <cx:pt idx="878">15.04954</cx:pt>
          <cx:pt idx="879">15.04954</cx:pt>
          <cx:pt idx="880">15.04954</cx:pt>
          <cx:pt idx="881">4.7433999999999994</cx:pt>
          <cx:pt idx="882">16.917999999999999</cx:pt>
          <cx:pt idx="883">13.1242499999999</cx:pt>
          <cx:pt idx="884">11.48376</cx:pt>
          <cx:pt idx="885">1.42302</cx:pt>
          <cx:pt idx="886">13.606859999999902</cx:pt>
          <cx:pt idx="887">11.625359999999899</cx:pt>
          <cx:pt idx="888">13.1242499999999</cx:pt>
          <cx:pt idx="889">13.1242499999999</cx:pt>
          <cx:pt idx="890">15.04954</cx:pt>
          <cx:pt idx="891">8.6663199999999989</cx:pt>
          <cx:pt idx="892">17.702379999999902</cx:pt>
          <cx:pt idx="893">15.04954</cx:pt>
          <cx:pt idx="894">13.1242499999999</cx:pt>
          <cx:pt idx="895">11.3421599999999</cx:pt>
          <cx:pt idx="896">13.1242499999999</cx:pt>
          <cx:pt idx="897">19.086580000000001</cx:pt>
          <cx:pt idx="898">15.04954</cx:pt>
          <cx:pt idx="899">18.778979999999901</cx:pt>
          <cx:pt idx="900">13.1242499999999</cx:pt>
          <cx:pt idx="901">15.04954</cx:pt>
          <cx:pt idx="902">15.04954</cx:pt>
          <cx:pt idx="903">17.24098</cx:pt>
          <cx:pt idx="904">13.1242499999999</cx:pt>
          <cx:pt idx="905">37.3492999999999</cx:pt>
          <cx:pt idx="906">13.1242499999999</cx:pt>
          <cx:pt idx="907">13.1242499999999</cx:pt>
          <cx:pt idx="908">13.1242499999999</cx:pt>
          <cx:pt idx="909">15.786539999999999</cx:pt>
          <cx:pt idx="910">15.344340000000001</cx:pt>
          <cx:pt idx="911">11.625359999999899</cx:pt>
          <cx:pt idx="912">15.786539999999999</cx:pt>
          <cx:pt idx="913">13.1242499999999</cx:pt>
          <cx:pt idx="914">12.3333599999999</cx:pt>
          <cx:pt idx="915">18.163779999999999</cx:pt>
          <cx:pt idx="916">15.04954</cx:pt>
          <cx:pt idx="917">15.04954</cx:pt>
          <cx:pt idx="918">15.04954</cx:pt>
          <cx:pt idx="919">15.04954</cx:pt>
          <cx:pt idx="920">15.04954</cx:pt>
          <cx:pt idx="921">13.1242499999999</cx:pt>
          <cx:pt idx="922">13.1242499999999</cx:pt>
          <cx:pt idx="923">13.1242499999999</cx:pt>
          <cx:pt idx="924">13.1242499999999</cx:pt>
          <cx:pt idx="925">15.04954</cx:pt>
          <cx:pt idx="926">13.606859999999902</cx:pt>
          <cx:pt idx="927">13.1242499999999</cx:pt>
          <cx:pt idx="928">13.1242499999999</cx:pt>
          <cx:pt idx="929">15.04954</cx:pt>
          <cx:pt idx="930">13.1242499999999</cx:pt>
          <cx:pt idx="931">13.1242499999999</cx:pt>
          <cx:pt idx="932">13.1242499999999</cx:pt>
          <cx:pt idx="933">13.1242499999999</cx:pt>
          <cx:pt idx="934">11.3421599999999</cx:pt>
          <cx:pt idx="935">13.1242499999999</cx:pt>
          <cx:pt idx="936">15.344340000000001</cx:pt>
          <cx:pt idx="937">13.1242499999999</cx:pt>
          <cx:pt idx="938">11.625359999999899</cx:pt>
          <cx:pt idx="939">5.63729999999999</cx:pt>
          <cx:pt idx="940">11.625359999999899</cx:pt>
          <cx:pt idx="941">17.24098</cx:pt>
          <cx:pt idx="942">11.625359999999899</cx:pt>
          <cx:pt idx="943">18.778979999999901</cx:pt>
          <cx:pt idx="944">13.1242499999999</cx:pt>
          <cx:pt idx="945">40.600569999999706</cx:pt>
          <cx:pt idx="946">13.1242499999999</cx:pt>
          <cx:pt idx="947">18.4713799999999</cx:pt>
          <cx:pt idx="948">13.1242499999999</cx:pt>
          <cx:pt idx="949">17.24098</cx:pt>
          <cx:pt idx="950">13.1242499999999</cx:pt>
          <cx:pt idx="951">15.04954</cx:pt>
          <cx:pt idx="952">12.967500000000001</cx:pt>
          <cx:pt idx="953">13.1242499999999</cx:pt>
          <cx:pt idx="954">15.04954</cx:pt>
          <cx:pt idx="955">12.839249999999899</cx:pt>
          <cx:pt idx="956">13.1242499999999</cx:pt>
          <cx:pt idx="957">13.751459999999899</cx:pt>
          <cx:pt idx="958">16.917999999999999</cx:pt>
          <cx:pt idx="959">13.1242499999999</cx:pt>
          <cx:pt idx="960">13.1242499999999</cx:pt>
          <cx:pt idx="961">13.1242499999999</cx:pt>
          <cx:pt idx="962">15.04954</cx:pt>
          <cx:pt idx="963">13.1242499999999</cx:pt>
          <cx:pt idx="964">44.953509999999703</cx:pt>
          <cx:pt idx="965">13.1242499999999</cx:pt>
          <cx:pt idx="966">13.1242499999999</cx:pt>
          <cx:pt idx="967">13.1242499999999</cx:pt>
          <cx:pt idx="968">13.1242499999999</cx:pt>
          <cx:pt idx="969">14.75474</cx:pt>
          <cx:pt idx="970">13.1242499999999</cx:pt>
          <cx:pt idx="971">15.04954</cx:pt>
          <cx:pt idx="972">17.24098</cx:pt>
          <cx:pt idx="973">13.1242499999999</cx:pt>
          <cx:pt idx="974">13.1242499999999</cx:pt>
          <cx:pt idx="975">15.04954</cx:pt>
          <cx:pt idx="976">13.1242499999999</cx:pt>
          <cx:pt idx="977">13.1242499999999</cx:pt>
          <cx:pt idx="978">15.04954</cx:pt>
          <cx:pt idx="979">2.0640200000000002</cx:pt>
          <cx:pt idx="980">15.786539999999999</cx:pt>
          <cx:pt idx="981">13.1242499999999</cx:pt>
          <cx:pt idx="982">11.625359999999899</cx:pt>
          <cx:pt idx="983">15.04954</cx:pt>
          <cx:pt idx="984">13.1242499999999</cx:pt>
          <cx:pt idx="985">13.1242499999999</cx:pt>
          <cx:pt idx="986">18.778979999999901</cx:pt>
          <cx:pt idx="987">13.1242499999999</cx:pt>
          <cx:pt idx="988">14.0261999999999</cx:pt>
          <cx:pt idx="989">13.1242499999999</cx:pt>
          <cx:pt idx="990">11.625359999999899</cx:pt>
          <cx:pt idx="991">10.7091899999999</cx:pt>
          <cx:pt idx="992">13.1242499999999</cx:pt>
          <cx:pt idx="993">12.050159999999901</cx:pt>
          <cx:pt idx="994">13.1242499999999</cx:pt>
          <cx:pt idx="995">4.3716200000000001</cx:pt>
          <cx:pt idx="996">13.1242499999999</cx:pt>
          <cx:pt idx="997">3.60242</cx:pt>
          <cx:pt idx="998">13.1242499999999</cx:pt>
          <cx:pt idx="999">35.495269999999898</cx:pt>
          <cx:pt idx="1000">13.1242499999999</cx:pt>
          <cx:pt idx="1001">15.04954</cx:pt>
          <cx:pt idx="1002">8.3959200000000003</cx:pt>
          <cx:pt idx="1003">17.24098</cx:pt>
          <cx:pt idx="1004">18.778979999999901</cx:pt>
          <cx:pt idx="1005">13.1242499999999</cx:pt>
          <cx:pt idx="1006">13.606860000000001</cx:pt>
          <cx:pt idx="1007">15.04954</cx:pt>
          <cx:pt idx="1008">13.1242499999999</cx:pt>
          <cx:pt idx="1009">15.04954</cx:pt>
          <cx:pt idx="1010">43.798099999999998</cx:pt>
          <cx:pt idx="1011">12.3333599999999</cx:pt>
          <cx:pt idx="1012">13.1242499999999</cx:pt>
          <cx:pt idx="1013">6.8171999999999997</cx:pt>
          <cx:pt idx="1014">15.04954</cx:pt>
          <cx:pt idx="1015">51.348569999999704</cx:pt>
          <cx:pt idx="1016">2.44862</cx:pt>
          <cx:pt idx="1017">15.04954</cx:pt>
          <cx:pt idx="1018">11.625359999999899</cx:pt>
          <cx:pt idx="1019">13.1242499999999</cx:pt>
          <cx:pt idx="1020">13.1242499999999</cx:pt>
          <cx:pt idx="1021">11.625359999999899</cx:pt>
          <cx:pt idx="1022">5.89949999999999</cx:pt>
          <cx:pt idx="1023">3.9870200000000002</cx:pt>
          <cx:pt idx="1024">18.778979999999901</cx:pt>
          <cx:pt idx="1025">13.1242499999999</cx:pt>
          <cx:pt idx="1026">46.5119699999997</cx:pt>
          <cx:pt idx="1027">13.1242499999999</cx:pt>
          <cx:pt idx="1028">17.702379999999902</cx:pt>
          <cx:pt idx="1029">40.600569999999706</cx:pt>
          <cx:pt idx="1030">16.764200000000002</cx:pt>
          <cx:pt idx="1031">13.1242499999999</cx:pt>
          <cx:pt idx="1032">13.1242499999999</cx:pt>
          <cx:pt idx="1033">13.1242499999999</cx:pt>
          <cx:pt idx="1034">35.495269999999898</cx:pt>
          <cx:pt idx="1035">13.1242499999999</cx:pt>
          <cx:pt idx="1036">13.1242499999999</cx:pt>
          <cx:pt idx="1037">18.778979999999901</cx:pt>
          <cx:pt idx="1038">4.3588000000000005</cx:pt>
          <cx:pt idx="1039">38.719670000000001</cx:pt>
          <cx:pt idx="1040">13.1242499999999</cx:pt>
          <cx:pt idx="1041">15.04954</cx:pt>
          <cx:pt idx="1042">47.586769999999902</cx:pt>
          <cx:pt idx="1043">15.344340000000001</cx:pt>
          <cx:pt idx="1044">11.894399999999999</cx:pt>
          <cx:pt idx="1045">13.1242499999999</cx:pt>
          <cx:pt idx="1046">13.1242499999999</cx:pt>
          <cx:pt idx="1047">13.1242499999999</cx:pt>
          <cx:pt idx="1048">13.1242499999999</cx:pt>
          <cx:pt idx="1049">13.1242499999999</cx:pt>
          <cx:pt idx="1050">13.1242499999999</cx:pt>
          <cx:pt idx="1051">11.625359999999899</cx:pt>
          <cx:pt idx="1052">17.548580000000001</cx:pt>
          <cx:pt idx="1053">11.625359999999899</cx:pt>
          <cx:pt idx="1054">13.1242499999999</cx:pt>
          <cx:pt idx="1055">15.04954</cx:pt>
          <cx:pt idx="1056">13.1242499999999</cx:pt>
          <cx:pt idx="1057">13.1242499999999</cx:pt>
          <cx:pt idx="1058">13.1242499999999</cx:pt>
          <cx:pt idx="1059">17.994599999999998</cx:pt>
          <cx:pt idx="1060">15.04954</cx:pt>
          <cx:pt idx="1061">15.04954</cx:pt>
          <cx:pt idx="1062">3.8460000000000001</cx:pt>
          <cx:pt idx="1063">10.431389999999901</cx:pt>
          <cx:pt idx="1064">15.04954</cx:pt>
          <cx:pt idx="1065">13.1242499999999</cx:pt>
          <cx:pt idx="1066">15.04954</cx:pt>
          <cx:pt idx="1067">13.1242499999999</cx:pt>
          <cx:pt idx="1068">18.778979999999901</cx:pt>
          <cx:pt idx="1069">13.1242499999999</cx:pt>
          <cx:pt idx="1070">13.1242499999999</cx:pt>
          <cx:pt idx="1071">13.1242499999999</cx:pt>
          <cx:pt idx="1072">13.606859999999902</cx:pt>
          <cx:pt idx="1073">13.1242499999999</cx:pt>
          <cx:pt idx="1074">13.1242499999999</cx:pt>
          <cx:pt idx="1075">6.4239000000000006</cx:pt>
          <cx:pt idx="1076">13.1242499999999</cx:pt>
          <cx:pt idx="1077">15.04954</cx:pt>
          <cx:pt idx="1078">19.240380000000002</cx:pt>
          <cx:pt idx="1079">13.1242499999999</cx:pt>
          <cx:pt idx="1080">15.04954</cx:pt>
          <cx:pt idx="1081">13.1242499999999</cx:pt>
          <cx:pt idx="1082">13.1242499999999</cx:pt>
          <cx:pt idx="1083">11.625359999999899</cx:pt>
          <cx:pt idx="1084">41.4066699999997</cx:pt>
          <cx:pt idx="1085">13.1242499999999</cx:pt>
          <cx:pt idx="1086">6.4239000000000006</cx:pt>
          <cx:pt idx="1087">2.9614199999999999</cx:pt>
          <cx:pt idx="1088">15.04954</cx:pt>
          <cx:pt idx="1089">15.04954</cx:pt>
          <cx:pt idx="1090">13.1242499999999</cx:pt>
          <cx:pt idx="1091">2.7050200000000002</cx:pt>
          <cx:pt idx="1092">17.24098</cx:pt>
          <cx:pt idx="1093">52.718940000000003</cx:pt>
          <cx:pt idx="1094">13.1242499999999</cx:pt>
          <cx:pt idx="1095">13.1242499999999</cx:pt>
          <cx:pt idx="1096">15.04954</cx:pt>
          <cx:pt idx="1097">41.406669999999998</cx:pt>
          <cx:pt idx="1098">13.1242499999999</cx:pt>
          <cx:pt idx="1099">13.1242499999999</cx:pt>
          <cx:pt idx="1100">13.1242499999999</cx:pt>
          <cx:pt idx="1101">9.3201899999999789</cx:pt>
          <cx:pt idx="1102">15.04954</cx:pt>
          <cx:pt idx="1103">7.1791200000000002</cx:pt>
          <cx:pt idx="1104">11.625359999999899</cx:pt>
          <cx:pt idx="1105">4.7562199999999999</cx:pt>
          <cx:pt idx="1106">15.04954</cx:pt>
          <cx:pt idx="1107">13.1242499999999</cx:pt>
          <cx:pt idx="1108">13.1242499999999</cx:pt>
          <cx:pt idx="1109">14.75474</cx:pt>
          <cx:pt idx="1110">15.04954</cx:pt>
          <cx:pt idx="1111">11.625359999999899</cx:pt>
          <cx:pt idx="1112">35.495269999999898</cx:pt>
          <cx:pt idx="1113">12.3333599999999</cx:pt>
          <cx:pt idx="1114">11.625359999999899</cx:pt>
          <cx:pt idx="1115">15.04954</cx:pt>
          <cx:pt idx="1116">13.1242499999999</cx:pt>
          <cx:pt idx="1117">13.1242499999999</cx:pt>
          <cx:pt idx="1118">13.1242499999999</cx:pt>
          <cx:pt idx="1119">18.778979999999901</cx:pt>
          <cx:pt idx="1120">13.1242499999999</cx:pt>
          <cx:pt idx="1121">11.625359999999899</cx:pt>
          <cx:pt idx="1122">14.75474</cx:pt>
          <cx:pt idx="1123">13.1242499999999</cx:pt>
          <cx:pt idx="1124">13.1242499999999</cx:pt>
          <cx:pt idx="1125">17.24098</cx:pt>
          <cx:pt idx="1126">15.04954</cx:pt>
          <cx:pt idx="1127">13.1242499999999</cx:pt>
          <cx:pt idx="1128">18.778979999999901</cx:pt>
          <cx:pt idx="1129">18.778979999999901</cx:pt>
          <cx:pt idx="1130">15.04954</cx:pt>
          <cx:pt idx="1131">7.8415999999999997</cx:pt>
          <cx:pt idx="1132">13.1242499999999</cx:pt>
          <cx:pt idx="1133">13.1242499999999</cx:pt>
          <cx:pt idx="1134">15.04954</cx:pt>
          <cx:pt idx="1135">3.34601999999999</cx:pt>
          <cx:pt idx="1136">11.625359999999899</cx:pt>
          <cx:pt idx="1137">13.1242499999999</cx:pt>
          <cx:pt idx="1138">18.009979999999899</cx:pt>
          <cx:pt idx="1139">17.3794</cx:pt>
          <cx:pt idx="1140">9.5840999999999994</cx:pt>
          <cx:pt idx="1141">15.04954</cx:pt>
          <cx:pt idx="1142">18.778979999999901</cx:pt>
          <cx:pt idx="1143">13.1242499999999</cx:pt>
          <cx:pt idx="1144">11.625359999999899</cx:pt>
          <cx:pt idx="1145">11.625359999999899</cx:pt>
          <cx:pt idx="1146">16.764200000000002</cx:pt>
          <cx:pt idx="1147">15.04954</cx:pt>
          <cx:pt idx="1148">13.1242499999999</cx:pt>
          <cx:pt idx="1149">15.04954</cx:pt>
          <cx:pt idx="1150">3.08962</cx:pt>
          <cx:pt idx="1151">15.04954</cx:pt>
          <cx:pt idx="1152">13.1242499999999</cx:pt>
          <cx:pt idx="1153">13.1242499999999</cx:pt>
          <cx:pt idx="1154">18.009979999999899</cx:pt>
          <cx:pt idx="1155">15.04954</cx:pt>
          <cx:pt idx="1156">13.1242499999999</cx:pt>
          <cx:pt idx="1157">13.1242499999999</cx:pt>
          <cx:pt idx="1158">13.1242499999999</cx:pt>
          <cx:pt idx="1159">13.1242499999999</cx:pt>
          <cx:pt idx="1160">13.606859999999902</cx:pt>
          <cx:pt idx="1161">18.778979999999901</cx:pt>
          <cx:pt idx="1162">40.305</cx:pt>
          <cx:pt idx="1163">13.606859999999902</cx:pt>
          <cx:pt idx="1164">13.1242499999999</cx:pt>
          <cx:pt idx="1165">13.1242499999999</cx:pt>
          <cx:pt idx="1166">11.625359999999899</cx:pt>
          <cx:pt idx="1167">48.93027</cx:pt>
          <cx:pt idx="1168">2.5768200000000001</cx:pt>
          <cx:pt idx="1169">13.1242499999999</cx:pt>
          <cx:pt idx="1170">13.1242499999999</cx:pt>
          <cx:pt idx="1171">13.1242499999999</cx:pt>
          <cx:pt idx="1172">4.7562199999999999</cx:pt>
          <cx:pt idx="1173">13.1242499999999</cx:pt>
          <cx:pt idx="1174">7.1926400000000195</cx:pt>
          <cx:pt idx="1175">3.2434600000000202</cx:pt>
          <cx:pt idx="1176">5.7683999999999997</cx:pt>
          <cx:pt idx="1177">11.625359999999899</cx:pt>
          <cx:pt idx="1178">13.1242499999999</cx:pt>
          <cx:pt idx="1179">46.243269999999995</cx:pt>
          <cx:pt idx="1180">13.1242499999999</cx:pt>
          <cx:pt idx="1181">13.1242499999999</cx:pt>
          <cx:pt idx="1182">42.481469999999902</cx:pt>
          <cx:pt idx="1183">13.1242499999999</cx:pt>
          <cx:pt idx="1184">18.778979999999901</cx:pt>
          <cx:pt idx="1185">13.1242499999999</cx:pt>
          <cx:pt idx="1186">7.0439199999999991</cx:pt>
          <cx:pt idx="1187">13.1242499999999</cx:pt>
          <cx:pt idx="1188">11.625359999999899</cx:pt>
          <cx:pt idx="1189">17.24098</cx:pt>
          <cx:pt idx="1190">17.24098</cx:pt>
          <cx:pt idx="1191">13.1242499999999</cx:pt>
          <cx:pt idx="1192">10.5564</cx:pt>
          <cx:pt idx="1193">13.1242499999999</cx:pt>
          <cx:pt idx="1194">12.3333599999999</cx:pt>
          <cx:pt idx="1195">13.1242499999999</cx:pt>
          <cx:pt idx="1196">43.287569999999697</cx:pt>
          <cx:pt idx="1197">13.1242499999999</cx:pt>
          <cx:pt idx="1198">13.1242499999999</cx:pt>
          <cx:pt idx="1199">13.1242499999999</cx:pt>
          <cx:pt idx="1200">13.1242499999999</cx:pt>
          <cx:pt idx="1201">15.04954</cx:pt>
          <cx:pt idx="1202">15.04954</cx:pt>
          <cx:pt idx="1203">12.319199999999899</cx:pt>
          <cx:pt idx="1204">13.1242499999999</cx:pt>
          <cx:pt idx="1205">7.8415999999999997</cx:pt>
          <cx:pt idx="1206">13.1242499999999</cx:pt>
          <cx:pt idx="1207">13.1242499999999</cx:pt>
          <cx:pt idx="1208">7.7199199999999806</cx:pt>
          <cx:pt idx="1209">13.1242499999999</cx:pt>
          <cx:pt idx="1210">18.778979999999901</cx:pt>
          <cx:pt idx="1211">15.04954</cx:pt>
          <cx:pt idx="1212">13.1242499999999</cx:pt>
          <cx:pt idx="1213">13.1242499999999</cx:pt>
          <cx:pt idx="1214">13.1242499999999</cx:pt>
          <cx:pt idx="1215">6.3190200000000196</cx:pt>
          <cx:pt idx="1216">11.625359999999899</cx:pt>
          <cx:pt idx="1217">13.1242499999999</cx:pt>
          <cx:pt idx="1218">13.1242499999999</cx:pt>
          <cx:pt idx="1219">3.08962</cx:pt>
          <cx:pt idx="1220">13.1242499999999</cx:pt>
          <cx:pt idx="1221">48.661569999999699</cx:pt>
          <cx:pt idx="1222">13.1242499999999</cx:pt>
          <cx:pt idx="1223">15.04954</cx:pt>
          <cx:pt idx="1224">18.778979999999901</cx:pt>
          <cx:pt idx="1225">35.495269999999898</cx:pt>
          <cx:pt idx="1226">13.1242499999999</cx:pt>
          <cx:pt idx="1227">6.2927999999999997</cx:pt>
          <cx:pt idx="1228">13.1242499999999</cx:pt>
          <cx:pt idx="1229">15.04954</cx:pt>
          <cx:pt idx="1230">13.1242499999999</cx:pt>
          <cx:pt idx="1231">15.04954</cx:pt>
          <cx:pt idx="1232">11.625359999999899</cx:pt>
          <cx:pt idx="1233">15.04954</cx:pt>
          <cx:pt idx="1234">13.1242499999999</cx:pt>
          <cx:pt idx="1235">13.1242499999999</cx:pt>
          <cx:pt idx="1236">12.3333599999999</cx:pt>
          <cx:pt idx="1237">13.1242499999999</cx:pt>
          <cx:pt idx="1238">40.86927</cx:pt>
          <cx:pt idx="1239">11.625359999999899</cx:pt>
          <cx:pt idx="1240">15.04954</cx:pt>
          <cx:pt idx="1241">15.04954</cx:pt>
          <cx:pt idx="1242">19.086580000000001</cx:pt>
          <cx:pt idx="1243">13.1242499999999</cx:pt>
          <cx:pt idx="1244">13.606859999999902</cx:pt>
          <cx:pt idx="1245">15.491739999999901</cx:pt>
          <cx:pt idx="1246">13.1242499999999</cx:pt>
          <cx:pt idx="1247">18.778979999999901</cx:pt>
          <cx:pt idx="1248">13.1242499999999</cx:pt>
          <cx:pt idx="1249">13.1242499999999</cx:pt>
          <cx:pt idx="1250">11.625359999999899</cx:pt>
          <cx:pt idx="1251">15.04954</cx:pt>
          <cx:pt idx="1252">13.1242499999999</cx:pt>
          <cx:pt idx="1253">13.1242499999999</cx:pt>
          <cx:pt idx="1254">13.1242499999999</cx:pt>
          <cx:pt idx="1255">13.1242499999999</cx:pt>
          <cx:pt idx="1256">15.04954</cx:pt>
          <cx:pt idx="1257">4.2434199999999995</cx:pt>
          <cx:pt idx="1258">19.240380000000002</cx:pt>
          <cx:pt idx="1259">13.1242499999999</cx:pt>
          <cx:pt idx="1260">13.1242499999999</cx:pt>
          <cx:pt idx="1261">13.1242499999999</cx:pt>
          <cx:pt idx="1262">11.3421599999999</cx:pt>
          <cx:pt idx="1263">18.778979999999901</cx:pt>
          <cx:pt idx="1264">15.786539999999999</cx:pt>
          <cx:pt idx="1265">11.625359999999899</cx:pt>
          <cx:pt idx="1266">11.625359999999899</cx:pt>
          <cx:pt idx="1267">13.1242499999999</cx:pt>
          <cx:pt idx="1268">13.1242499999999</cx:pt>
          <cx:pt idx="1269">17.24098</cx:pt>
          <cx:pt idx="1270">17.24098</cx:pt>
          <cx:pt idx="1271">2.5639999999999898</cx:pt>
          <cx:pt idx="1272">15.04954</cx:pt>
          <cx:pt idx="1273">11.625359999999899</cx:pt>
          <cx:pt idx="1274">13.1242499999999</cx:pt>
          <cx:pt idx="1275">13.1242499999999</cx:pt>
          <cx:pt idx="1276">13.1242499999999</cx:pt>
          <cx:pt idx="1277">13.1242499999999</cx:pt>
          <cx:pt idx="1278">13.1242499999999</cx:pt>
          <cx:pt idx="1279">13.1242499999999</cx:pt>
          <cx:pt idx="1280">13.1242499999999</cx:pt>
          <cx:pt idx="1281">40.600569999999706</cx:pt>
          <cx:pt idx="1282">15.04954</cx:pt>
          <cx:pt idx="1283">13.1242499999999</cx:pt>
          <cx:pt idx="1284">2.7050200000000002</cx:pt>
          <cx:pt idx="1285">13.1242499999999</cx:pt>
          <cx:pt idx="1286">2.1922199999999998</cx:pt>
          <cx:pt idx="1287">13.1242499999999</cx:pt>
          <cx:pt idx="1288">17.24098</cx:pt>
          <cx:pt idx="1289">13.1242499999999</cx:pt>
          <cx:pt idx="1290">13.1242499999999</cx:pt>
          <cx:pt idx="1291">15.04954</cx:pt>
          <cx:pt idx="1292">13.1242499999999</cx:pt>
          <cx:pt idx="1293">12.839249999999899</cx:pt>
          <cx:pt idx="1294">15.344340000000001</cx:pt>
          <cx:pt idx="1295">11.625359999999899</cx:pt>
          <cx:pt idx="1296">15.04954</cx:pt>
          <cx:pt idx="1297">4.6280199999999905</cx:pt>
          <cx:pt idx="1298">43.2607</cx:pt>
          <cx:pt idx="1299">11.625359999999899</cx:pt>
          <cx:pt idx="1300">11.625359999999899</cx:pt>
          <cx:pt idx="1301">13.31766</cx:pt>
          <cx:pt idx="1302">14.75474</cx:pt>
          <cx:pt idx="1303">15.786539999999999</cx:pt>
          <cx:pt idx="1304">14.75474</cx:pt>
          <cx:pt idx="1305">13.606860000000001</cx:pt>
          <cx:pt idx="1306">11.625359999999899</cx:pt>
          <cx:pt idx="1307">13.1242499999999</cx:pt>
          <cx:pt idx="1308">13.1242499999999</cx:pt>
          <cx:pt idx="1309">10.7091899999999</cx:pt>
          <cx:pt idx="1310">43.287569999999697</cx:pt>
          <cx:pt idx="1311">3.8588200000000001</cx:pt>
          <cx:pt idx="1312">12.839249999999899</cx:pt>
          <cx:pt idx="1313">13.1242499999999</cx:pt>
          <cx:pt idx="1314">19.394179999999999</cx:pt>
          <cx:pt idx="1315">12.839249999999899</cx:pt>
          <cx:pt idx="1316">13.1242499999999</cx:pt>
          <cx:pt idx="1317">13.1242499999999</cx:pt>
          <cx:pt idx="1318">13.1242499999999</cx:pt>
          <cx:pt idx="1319">13.1242499999999</cx:pt>
          <cx:pt idx="1320">11.625359999999899</cx:pt>
          <cx:pt idx="1321">11.625359999999899</cx:pt>
          <cx:pt idx="1322">15.04954</cx:pt>
          <cx:pt idx="1323">13.1242499999999</cx:pt>
          <cx:pt idx="1324">13.1242499999999</cx:pt>
          <cx:pt idx="1325">15.491739999999901</cx:pt>
          <cx:pt idx="1326">19.086580000000001</cx:pt>
          <cx:pt idx="1327">13.1242499999999</cx:pt>
          <cx:pt idx="1328">13.1242499999999</cx:pt>
          <cx:pt idx="1329">15.04954</cx:pt>
          <cx:pt idx="1330">15.04954</cx:pt>
          <cx:pt idx="1331">15.04954</cx:pt>
          <cx:pt idx="1332">18.778979999999901</cx:pt>
          <cx:pt idx="1333">13.1242499999999</cx:pt>
          <cx:pt idx="1334">12.3333599999999</cx:pt>
          <cx:pt idx="1335">18.778979999999901</cx:pt>
          <cx:pt idx="1336">17.24098</cx:pt>
          <cx:pt idx="1337">12.050159999999901</cx:pt>
          <cx:pt idx="1338">11.625359999999899</cx:pt>
          <cx:pt idx="1339">15.04954</cx:pt>
          <cx:pt idx="1340">8.1390400000000191</cx:pt>
          <cx:pt idx="1341">1.42302</cx:pt>
          <cx:pt idx="1342">15.04954</cx:pt>
          <cx:pt idx="1343">13.1242499999999</cx:pt>
          <cx:pt idx="1344">12.3333599999999</cx:pt>
          <cx:pt idx="1345">15.04954</cx:pt>
          <cx:pt idx="1346">13.1242499999999</cx:pt>
          <cx:pt idx="1347">13.1242499999999</cx:pt>
          <cx:pt idx="1348">13.1242499999999</cx:pt>
          <cx:pt idx="1349">13.1242499999999</cx:pt>
          <cx:pt idx="1350">15.04954</cx:pt>
          <cx:pt idx="1351">13.1242499999999</cx:pt>
          <cx:pt idx="1352">15.04954</cx:pt>
          <cx:pt idx="1353">11.625359999999899</cx:pt>
          <cx:pt idx="1354">11.625359999999899</cx:pt>
          <cx:pt idx="1355">11.625359999999899</cx:pt>
          <cx:pt idx="1356">13.1242499999999</cx:pt>
          <cx:pt idx="1357">11.625359999999899</cx:pt>
          <cx:pt idx="1358">13.1242499999999</cx:pt>
          <cx:pt idx="1359">10.278600000000001</cx:pt>
          <cx:pt idx="1360">15.04954</cx:pt>
          <cx:pt idx="1361">13.1242499999999</cx:pt>
          <cx:pt idx="1362">13.1242499999999</cx:pt>
          <cx:pt idx="1363">13.1242499999999</cx:pt>
          <cx:pt idx="1364">19.547980000000003</cx:pt>
          <cx:pt idx="1365">35.495269999999898</cx:pt>
          <cx:pt idx="1366">15.04954</cx:pt>
          <cx:pt idx="1367">40.86927</cx:pt>
          <cx:pt idx="1368">11.625359999999899</cx:pt>
          <cx:pt idx="1369">13.1242499999999</cx:pt>
          <cx:pt idx="1370">13.1242499999999</cx:pt>
          <cx:pt idx="1371">18.778979999999901</cx:pt>
          <cx:pt idx="1372">11.625359999999899</cx:pt>
          <cx:pt idx="1373">13.1242499999999</cx:pt>
          <cx:pt idx="1374">13.109999999999999</cx:pt>
          <cx:pt idx="1375">17.24098</cx:pt>
          <cx:pt idx="1376">13.881599999999999</cx:pt>
          <cx:pt idx="1377">13.1242499999999</cx:pt>
          <cx:pt idx="1378">17.24098</cx:pt>
          <cx:pt idx="1379">4.3588000000000005</cx:pt>
          <cx:pt idx="1380">15.04954</cx:pt>
          <cx:pt idx="1381">13.1242499999999</cx:pt>
          <cx:pt idx="1382">13.1242499999999</cx:pt>
          <cx:pt idx="1383">13.1242499999999</cx:pt>
          <cx:pt idx="1384">13.1242499999999</cx:pt>
          <cx:pt idx="1385">13.1242499999999</cx:pt>
          <cx:pt idx="1386">19.547980000000003</cx:pt>
          <cx:pt idx="1387">4.9998000000000005</cx:pt>
          <cx:pt idx="1388">15.04954</cx:pt>
          <cx:pt idx="1389">13.1242499999999</cx:pt>
          <cx:pt idx="1390">13.1242499999999</cx:pt>
          <cx:pt idx="1391">13.1242499999999</cx:pt>
          <cx:pt idx="1392">13.1242499999999</cx:pt>
          <cx:pt idx="1393">2.1922199999999998</cx:pt>
          <cx:pt idx="1394">14.75474</cx:pt>
          <cx:pt idx="1395">15.04954</cx:pt>
          <cx:pt idx="1396">13.1242499999999</cx:pt>
          <cx:pt idx="1397">13.1242499999999</cx:pt>
          <cx:pt idx="1398">15.786539999999999</cx:pt>
          <cx:pt idx="1399">3.9870200000000002</cx:pt>
          <cx:pt idx="1400">15.04954</cx:pt>
          <cx:pt idx="1401">15.344340000000001</cx:pt>
          <cx:pt idx="1402">13.1242499999999</cx:pt>
          <cx:pt idx="1403">15.04954</cx:pt>
          <cx:pt idx="1404">11.625359999999899</cx:pt>
          <cx:pt idx="1405">11.625359999999899</cx:pt>
          <cx:pt idx="1406">4.3716200000000001</cx:pt>
          <cx:pt idx="1407">13.1242499999999</cx:pt>
          <cx:pt idx="1408">13.1242499999999</cx:pt>
          <cx:pt idx="1409">37.913569999999702</cx:pt>
          <cx:pt idx="1410">11.625359999999899</cx:pt>
          <cx:pt idx="1411">14.607339999999999</cx:pt>
          <cx:pt idx="1412">15.786539999999999</cx:pt>
          <cx:pt idx="1413">15.04954</cx:pt>
          <cx:pt idx="1414">15.04954</cx:pt>
          <cx:pt idx="1415">11.625359999999899</cx:pt>
          <cx:pt idx="1416">13.1242499999999</cx:pt>
          <cx:pt idx="1417">13.1242499999999</cx:pt>
          <cx:pt idx="1418">15.04954</cx:pt>
          <cx:pt idx="1419">10.72308</cx:pt>
          <cx:pt idx="1420">13.1242499999999</cx:pt>
          <cx:pt idx="1421">13.1242499999999</cx:pt>
          <cx:pt idx="1422">4.7433999999999994</cx:pt>
          <cx:pt idx="1423">35.495269999999898</cx:pt>
          <cx:pt idx="1424">15.04954</cx:pt>
          <cx:pt idx="1425">15.344340000000001</cx:pt>
          <cx:pt idx="1426">18.456</cx:pt>
          <cx:pt idx="1427">15.04954</cx:pt>
          <cx:pt idx="1428">13.1242499999999</cx:pt>
          <cx:pt idx="1429">13.1242499999999</cx:pt>
          <cx:pt idx="1430">1.42302</cx:pt>
          <cx:pt idx="1431">15.491739999999901</cx:pt>
          <cx:pt idx="1432">13.1242499999999</cx:pt>
          <cx:pt idx="1433">17.702379999999902</cx:pt>
          <cx:pt idx="1434">36.543199999999999</cx:pt>
          <cx:pt idx="1435">40.600569999999706</cx:pt>
          <cx:pt idx="1436">13.1242499999999</cx:pt>
          <cx:pt idx="1437">13.1242499999999</cx:pt>
          <cx:pt idx="1438">18.778979999999901</cx:pt>
          <cx:pt idx="1439">11.625359999999899</cx:pt>
          <cx:pt idx="1440">15.04954</cx:pt>
          <cx:pt idx="1441">18.778979999999901</cx:pt>
          <cx:pt idx="1442">17.24098</cx:pt>
          <cx:pt idx="1443">18.778979999999901</cx:pt>
          <cx:pt idx="1444">13.1242499999999</cx:pt>
          <cx:pt idx="1445">11.625359999999899</cx:pt>
          <cx:pt idx="1446">13.1242499999999</cx:pt>
          <cx:pt idx="1447">5.5061999999999998</cx:pt>
          <cx:pt idx="1448">15.04954</cx:pt>
          <cx:pt idx="1449">13.1242499999999</cx:pt>
          <cx:pt idx="1450">43.556270000000005</cx:pt>
          <cx:pt idx="1451">13.1242499999999</cx:pt>
          <cx:pt idx="1452">13.1242499999999</cx:pt>
          <cx:pt idx="1453">13.1242499999999</cx:pt>
          <cx:pt idx="1454">12.460799999999999</cx:pt>
          <cx:pt idx="1455">13.1242499999999</cx:pt>
          <cx:pt idx="1456">11.625359999999899</cx:pt>
          <cx:pt idx="1457">13.1242499999999</cx:pt>
          <cx:pt idx="1458">13.1242499999999</cx:pt>
          <cx:pt idx="1459">13.1242499999999</cx:pt>
          <cx:pt idx="1460">3.4742199999999896</cx:pt>
          <cx:pt idx="1461">15.04954</cx:pt>
          <cx:pt idx="1462">2.6024600000000198</cx:pt>
          <cx:pt idx="1463">11.625359999999899</cx:pt>
          <cx:pt idx="1464">15.344340000000001</cx:pt>
          <cx:pt idx="1465">13.1242499999999</cx:pt>
          <cx:pt idx="1466">5.7683999999999997</cx:pt>
          <cx:pt idx="1467">15.04954</cx:pt>
          <cx:pt idx="1468">15.04954</cx:pt>
          <cx:pt idx="1469">15.04954</cx:pt>
          <cx:pt idx="1470">13.1242499999999</cx:pt>
          <cx:pt idx="1471">17.24098</cx:pt>
          <cx:pt idx="1472">11.625359999999899</cx:pt>
          <cx:pt idx="1473">13.1242499999999</cx:pt>
          <cx:pt idx="1474">13.1242499999999</cx:pt>
          <cx:pt idx="1475">15.04954</cx:pt>
          <cx:pt idx="1476">13.1242499999999</cx:pt>
          <cx:pt idx="1477">44.3623699999997</cx:pt>
          <cx:pt idx="1478">13.1242499999999</cx:pt>
          <cx:pt idx="1479">13.1242499999999</cx:pt>
          <cx:pt idx="1480">15.04954</cx:pt>
          <cx:pt idx="1481">4.3716200000000001</cx:pt>
          <cx:pt idx="1482">18.778979999999901</cx:pt>
          <cx:pt idx="1483">13.5924</cx:pt>
          <cx:pt idx="1484">13.1242499999999</cx:pt>
          <cx:pt idx="1485">12.3333599999999</cx:pt>
          <cx:pt idx="1486">13.1242499999999</cx:pt>
          <cx:pt idx="1487">43.556270000000005</cx:pt>
          <cx:pt idx="1488">13.1242499999999</cx:pt>
          <cx:pt idx="1489">13.1242499999999</cx:pt>
          <cx:pt idx="1490">11.625359999999899</cx:pt>
          <cx:pt idx="1491">13.1242499999999</cx:pt>
          <cx:pt idx="1492">13.1242499999999</cx:pt>
          <cx:pt idx="1493">13.1242499999999</cx:pt>
          <cx:pt idx="1494">13.1242499999999</cx:pt>
          <cx:pt idx="1495">5.6504099999999999</cx:pt>
          <cx:pt idx="1496">13.1242499999999</cx:pt>
          <cx:pt idx="1497">17.24098</cx:pt>
          <cx:pt idx="1498">13.1242499999999</cx:pt>
          <cx:pt idx="1499">15.04954</cx:pt>
          <cx:pt idx="1500">6.6860999999999908</cx:pt>
          <cx:pt idx="1501">13.1242499999999</cx:pt>
          <cx:pt idx="1502">13.1242499999999</cx:pt>
          <cx:pt idx="1503">13.1242499999999</cx:pt>
          <cx:pt idx="1504">8.8150400000000193</cx:pt>
          <cx:pt idx="1505">13.1242499999999</cx:pt>
          <cx:pt idx="1506">12.3333599999999</cx:pt>
          <cx:pt idx="1507">13.1242499999999</cx:pt>
          <cx:pt idx="1508">11.625359999999899</cx:pt>
          <cx:pt idx="1509">4.4870000000000001</cx:pt>
          <cx:pt idx="1510">9.3201899999999789</cx:pt>
          <cx:pt idx="1511">18.778979999999901</cx:pt>
          <cx:pt idx="1512">13.1242499999999</cx:pt>
          <cx:pt idx="1513">13.1242499999999</cx:pt>
          <cx:pt idx="1514">11.625359999999899</cx:pt>
          <cx:pt idx="1515">15.04954</cx:pt>
          <cx:pt idx="1516">15.344340000000001</cx:pt>
          <cx:pt idx="1517">13.1242499999999</cx:pt>
          <cx:pt idx="1518">13.1242499999999</cx:pt>
          <cx:pt idx="1519">15.04954</cx:pt>
          <cx:pt idx="1520">13.896059999999899</cx:pt>
          <cx:pt idx="1521">13.1242499999999</cx:pt>
          <cx:pt idx="1522">15.04954</cx:pt>
          <cx:pt idx="1523">15.04954</cx:pt>
          <cx:pt idx="1524">2.5639999999999898</cx:pt>
          <cx:pt idx="1525">13.1242499999999</cx:pt>
          <cx:pt idx="1526">15.491739999999901</cx:pt>
          <cx:pt idx="1527">18.778979999999901</cx:pt>
          <cx:pt idx="1528">11.625359999999899</cx:pt>
          <cx:pt idx="1529">13.1242499999999</cx:pt>
          <cx:pt idx="1530">7.7063999999999995</cx:pt>
          <cx:pt idx="1531">13.1242499999999</cx:pt>
          <cx:pt idx="1532">47.049369999999705</cx:pt>
          <cx:pt idx="1533">13.1242499999999</cx:pt>
          <cx:pt idx="1534">18.009979999999899</cx:pt>
          <cx:pt idx="1535">13.1242499999999</cx:pt>
          <cx:pt idx="1536">13.1242499999999</cx:pt>
          <cx:pt idx="1537">13.1242499999999</cx:pt>
          <cx:pt idx="1538">13.1242499999999</cx:pt>
          <cx:pt idx="1539">14.0406599999999</cx:pt>
          <cx:pt idx="1540">15.04954</cx:pt>
          <cx:pt idx="1541">15.491739999999901</cx:pt>
          <cx:pt idx="1542">13.1242499999999</cx:pt>
          <cx:pt idx="1543">3.60242</cx:pt>
          <cx:pt idx="1544">13.1242499999999</cx:pt>
          <cx:pt idx="1545">13.1242499999999</cx:pt>
          <cx:pt idx="1546">13.1242499999999</cx:pt>
          <cx:pt idx="1547">6.4239000000000006</cx:pt>
          <cx:pt idx="1548">13.751459999999899</cx:pt>
          <cx:pt idx="1549">15.786539999999999</cx:pt>
          <cx:pt idx="1550">3.08962</cx:pt>
          <cx:pt idx="1551">18.009979999999899</cx:pt>
          <cx:pt idx="1552">13.1242499999999</cx:pt>
          <cx:pt idx="1553">13.1242499999999</cx:pt>
          <cx:pt idx="1554">13.1242499999999</cx:pt>
          <cx:pt idx="1555">13.1242499999999</cx:pt>
          <cx:pt idx="1556">13.1242499999999</cx:pt>
          <cx:pt idx="1557">15.344340000000001</cx:pt>
          <cx:pt idx="1558">13.1242499999999</cx:pt>
          <cx:pt idx="1559">46.243269999999995</cx:pt>
          <cx:pt idx="1560">18.778979999999901</cx:pt>
          <cx:pt idx="1561">18.009979999999899</cx:pt>
          <cx:pt idx="1562">13.1242499999999</cx:pt>
          <cx:pt idx="1563">13.1242499999999</cx:pt>
          <cx:pt idx="1564">13.1242499999999</cx:pt>
          <cx:pt idx="1565">40.600569999999706</cx:pt>
          <cx:pt idx="1566">3.9870200000000002</cx:pt>
          <cx:pt idx="1567">11.625359999999899</cx:pt>
          <cx:pt idx="1568">17.24098</cx:pt>
          <cx:pt idx="1569">2.3204199999999999</cx:pt>
          <cx:pt idx="1570">13.1242499999999</cx:pt>
          <cx:pt idx="1571">13.606860000000001</cx:pt>
          <cx:pt idx="1572">17.24098</cx:pt>
          <cx:pt idx="1573">13.1242499999999</cx:pt>
          <cx:pt idx="1574">13.1242499999999</cx:pt>
          <cx:pt idx="1575">15.04954</cx:pt>
          <cx:pt idx="1576">13.1242499999999</cx:pt>
          <cx:pt idx="1577">11.625359999999899</cx:pt>
          <cx:pt idx="1578">17.24098</cx:pt>
          <cx:pt idx="1579">13.1242499999999</cx:pt>
          <cx:pt idx="1580">15.04954</cx:pt>
          <cx:pt idx="1581">11.625359999999899</cx:pt>
          <cx:pt idx="1582">15.04954</cx:pt>
          <cx:pt idx="1583">13.1242499999999</cx:pt>
          <cx:pt idx="1584">13.1242499999999</cx:pt>
          <cx:pt idx="1585">18.4713799999999</cx:pt>
          <cx:pt idx="1586">11.625359999999899</cx:pt>
          <cx:pt idx="1587">17.24098</cx:pt>
          <cx:pt idx="1588">13.1242499999999</cx:pt>
          <cx:pt idx="1589">12.050159999999901</cx:pt>
          <cx:pt idx="1590">17.24098</cx:pt>
          <cx:pt idx="1591">17.24098</cx:pt>
          <cx:pt idx="1592">13.1242499999999</cx:pt>
          <cx:pt idx="1593">13.1242499999999</cx:pt>
          <cx:pt idx="1594">5.9126099999999893</cx:pt>
          <cx:pt idx="1595">35.495269999999898</cx:pt>
          <cx:pt idx="1596">9.3201899999999895</cx:pt>
          <cx:pt idx="1597">13.1242499999999</cx:pt>
          <cx:pt idx="1598">1.42302</cx:pt>
          <cx:pt idx="1599">14.0261999999999</cx:pt>
          <cx:pt idx="1600">1.42302</cx:pt>
          <cx:pt idx="1601">3.4613999999999998</cx:pt>
          <cx:pt idx="1602">17.548580000000001</cx:pt>
          <cx:pt idx="1603">11.625359999999899</cx:pt>
          <cx:pt idx="1604">17.24098</cx:pt>
          <cx:pt idx="1605">13.1242499999999</cx:pt>
          <cx:pt idx="1606">15.04954</cx:pt>
          <cx:pt idx="1607">10.5564</cx:pt>
          <cx:pt idx="1608">11.3421599999999</cx:pt>
          <cx:pt idx="1609">17.702379999999902</cx:pt>
          <cx:pt idx="1610">15.04954</cx:pt>
          <cx:pt idx="1611">17.702379999999902</cx:pt>
          <cx:pt idx="1612">13.1242499999999</cx:pt>
          <cx:pt idx="1613">13.1242499999999</cx:pt>
          <cx:pt idx="1614">13.1242499999999</cx:pt>
          <cx:pt idx="1615">13.1242499999999</cx:pt>
          <cx:pt idx="1616">40.600569999999706</cx:pt>
          <cx:pt idx="1617">17.24098</cx:pt>
          <cx:pt idx="1618">15.04954</cx:pt>
          <cx:pt idx="1619">4.3716200000000001</cx:pt>
          <cx:pt idx="1620">15.04954</cx:pt>
          <cx:pt idx="1621">13.1242499999999</cx:pt>
          <cx:pt idx="1622">15.04954</cx:pt>
          <cx:pt idx="1623">9.3201899999999789</cx:pt>
          <cx:pt idx="1624">15.04954</cx:pt>
          <cx:pt idx="1625">4.7433999999999994</cx:pt>
          <cx:pt idx="1626">13.1242499999999</cx:pt>
          <cx:pt idx="1627">13.1242499999999</cx:pt>
          <cx:pt idx="1628">4.4998199999999899</cx:pt>
          <cx:pt idx="1629">13.1242499999999</cx:pt>
          <cx:pt idx="1630">13.1242499999999</cx:pt>
          <cx:pt idx="1631">15.04954</cx:pt>
          <cx:pt idx="1632">13.1242499999999</cx:pt>
          <cx:pt idx="1633">13.1242499999999</cx:pt>
          <cx:pt idx="1634">15.04954</cx:pt>
          <cx:pt idx="1635">13.1242499999999</cx:pt>
          <cx:pt idx="1636">13.1242499999999</cx:pt>
          <cx:pt idx="1637">15.04954</cx:pt>
          <cx:pt idx="1638">37.376169999999995</cx:pt>
          <cx:pt idx="1639">15.04954</cx:pt>
          <cx:pt idx="1640">13.1242499999999</cx:pt>
          <cx:pt idx="1641">43.287569999999697</cx:pt>
          <cx:pt idx="1642">13.1242499999999</cx:pt>
          <cx:pt idx="1643">3.4742199999999896</cx:pt>
          <cx:pt idx="1644">13.1242499999999</cx:pt>
          <cx:pt idx="1645">13.1242499999999</cx:pt>
          <cx:pt idx="1646">13.1242499999999</cx:pt>
          <cx:pt idx="1647">11.625359999999899</cx:pt>
          <cx:pt idx="1648">15.04954</cx:pt>
          <cx:pt idx="1649">15.786539999999999</cx:pt>
          <cx:pt idx="1650">3.34601999999999</cx:pt>
          <cx:pt idx="1651">13.1242499999999</cx:pt>
          <cx:pt idx="1652">13.1242499999999</cx:pt>
          <cx:pt idx="1653">18.778979999999901</cx:pt>
          <cx:pt idx="1654">15.04954</cx:pt>
          <cx:pt idx="1655">13.1242499999999</cx:pt>
          <cx:pt idx="1656">3.7562600000000201</cx:pt>
          <cx:pt idx="1657">13.1242499999999</cx:pt>
          <cx:pt idx="1658">12.839249999999899</cx:pt>
          <cx:pt idx="1659">15.344340000000001</cx:pt>
          <cx:pt idx="1660">18.009979999999899</cx:pt>
          <cx:pt idx="1661">13.1242499999999</cx:pt>
          <cx:pt idx="1662">17.24098</cx:pt>
          <cx:pt idx="1663">10.973099999999999</cx:pt>
          <cx:pt idx="1664">15.04954</cx:pt>
          <cx:pt idx="1665">13.1242499999999</cx:pt>
          <cx:pt idx="1666">43.287569999999697</cx:pt>
          <cx:pt idx="1667">18.4713799999999</cx:pt>
          <cx:pt idx="1668">13.1242499999999</cx:pt>
          <cx:pt idx="1669">15.04954</cx:pt>
          <cx:pt idx="1670">13.1242499999999</cx:pt>
          <cx:pt idx="1671">3.08962</cx:pt>
          <cx:pt idx="1672">13.1242499999999</cx:pt>
          <cx:pt idx="1673">43.287569999999697</cx:pt>
          <cx:pt idx="1674">5.5061999999999998</cx:pt>
          <cx:pt idx="1675">13.1242499999999</cx:pt>
          <cx:pt idx="1676">15.04954</cx:pt>
          <cx:pt idx="1677">18.778979999999901</cx:pt>
          <cx:pt idx="1678">5.5061999999999998</cx:pt>
          <cx:pt idx="1679">17.24098</cx:pt>
          <cx:pt idx="1680">18.4713799999999</cx:pt>
          <cx:pt idx="1681">13.1242499999999</cx:pt>
          <cx:pt idx="1682">13.1242499999999</cx:pt>
          <cx:pt idx="1683">15.04954</cx:pt>
          <cx:pt idx="1684">13.1242499999999</cx:pt>
          <cx:pt idx="1685">15.04954</cx:pt>
          <cx:pt idx="1686">15.04954</cx:pt>
          <cx:pt idx="1687">4.6280199999999905</cx:pt>
          <cx:pt idx="1688">1.42302</cx:pt>
          <cx:pt idx="1689">13.1242499999999</cx:pt>
          <cx:pt idx="1690">13.1242499999999</cx:pt>
          <cx:pt idx="1691">13.1242499999999</cx:pt>
          <cx:pt idx="1692">8.2472000000000012</cx:pt>
          <cx:pt idx="1693">15.04954</cx:pt>
          <cx:pt idx="1694">13.1242499999999</cx:pt>
          <cx:pt idx="1695">17.24098</cx:pt>
          <cx:pt idx="1696">13.606860000000001</cx:pt>
          <cx:pt idx="1697">11.625359999999899</cx:pt>
          <cx:pt idx="1698">12.825000000000001</cx:pt>
          <cx:pt idx="1699">15.04954</cx:pt>
          <cx:pt idx="1700">13.1242499999999</cx:pt>
          <cx:pt idx="1701">15.04954</cx:pt>
          <cx:pt idx="1702">18.778979999999901</cx:pt>
          <cx:pt idx="1703">13.1242499999999</cx:pt>
          <cx:pt idx="1704">13.1242499999999</cx:pt>
          <cx:pt idx="1705">15.04954</cx:pt>
          <cx:pt idx="1706">15.04954</cx:pt>
          <cx:pt idx="1707">13.1242499999999</cx:pt>
          <cx:pt idx="1708">38.182270000000003</cx:pt>
          <cx:pt idx="1709">13.1242499999999</cx:pt>
          <cx:pt idx="1710">4.7433999999999994</cx:pt>
          <cx:pt idx="1711">4.4870000000000001</cx:pt>
          <cx:pt idx="1712">5.7815099999999902</cx:pt>
          <cx:pt idx="1713">13.1242499999999</cx:pt>
          <cx:pt idx="1714">11.625359999999899</cx:pt>
          <cx:pt idx="1715">17.994599999999998</cx:pt>
          <cx:pt idx="1716">13.1242499999999</cx:pt>
          <cx:pt idx="1717">13.1242499999999</cx:pt>
          <cx:pt idx="1718">13.1242499999999</cx:pt>
          <cx:pt idx="1719">17.548580000000001</cx:pt>
          <cx:pt idx="1720">15.04954</cx:pt>
          <cx:pt idx="1721">13.606859999999902</cx:pt>
          <cx:pt idx="1722">15.04954</cx:pt>
          <cx:pt idx="1723">15.04954</cx:pt>
          <cx:pt idx="1724">15.786539999999999</cx:pt>
          <cx:pt idx="1725">13.1242499999999</cx:pt>
          <cx:pt idx="1726">13.1242499999999</cx:pt>
          <cx:pt idx="1727">13.1242499999999</cx:pt>
          <cx:pt idx="1728">13.1242499999999</cx:pt>
          <cx:pt idx="1729">13.1242499999999</cx:pt>
          <cx:pt idx="1730">13.1242499999999</cx:pt>
          <cx:pt idx="1731">13.1242499999999</cx:pt>
          <cx:pt idx="1732">13.1242499999999</cx:pt>
          <cx:pt idx="1733">12.839249999999899</cx:pt>
          <cx:pt idx="1734">18.778979999999901</cx:pt>
          <cx:pt idx="1735">11.625359999999899</cx:pt>
          <cx:pt idx="1736">15.04954</cx:pt>
          <cx:pt idx="1737">15.491739999999901</cx:pt>
          <cx:pt idx="1738">11.625359999999899</cx:pt>
          <cx:pt idx="1739">13.1242499999999</cx:pt>
          <cx:pt idx="1740">12.839249999999899</cx:pt>
          <cx:pt idx="1741">12.3333599999999</cx:pt>
          <cx:pt idx="1742">37.644869999999706</cx:pt>
          <cx:pt idx="1743">11.328000000000001</cx:pt>
          <cx:pt idx="1744">3.6152400000000204</cx:pt>
          <cx:pt idx="1745">13.1242499999999</cx:pt>
          <cx:pt idx="1746">6.03059999999999</cx:pt>
          <cx:pt idx="1747">15.786539999999999</cx:pt>
          <cx:pt idx="1748">13.1242499999999</cx:pt>
          <cx:pt idx="1749">17.24098</cx:pt>
          <cx:pt idx="1750">15.344340000000001</cx:pt>
          <cx:pt idx="1751">15.04954</cx:pt>
          <cx:pt idx="1752">13.1242499999999</cx:pt>
          <cx:pt idx="1753">11.625359999999899</cx:pt>
          <cx:pt idx="1754">13.1242499999999</cx:pt>
          <cx:pt idx="1755">10.7091899999999</cx:pt>
          <cx:pt idx="1756">13.1242499999999</cx:pt>
          <cx:pt idx="1757">13.1242499999999</cx:pt>
          <cx:pt idx="1758">13.1242499999999</cx:pt>
          <cx:pt idx="1759">6.8171999999999997</cx:pt>
          <cx:pt idx="1760">13.1242499999999</cx:pt>
          <cx:pt idx="1761">16.93338</cx:pt>
          <cx:pt idx="1762">3.4742199999999896</cx:pt>
          <cx:pt idx="1763">15.344340000000001</cx:pt>
          <cx:pt idx="1764">13.1242499999999</cx:pt>
          <cx:pt idx="1765">13.1242499999999</cx:pt>
          <cx:pt idx="1766">13.1242499999999</cx:pt>
          <cx:pt idx="1767">15.786539999999999</cx:pt>
          <cx:pt idx="1768">18.778979999999901</cx:pt>
          <cx:pt idx="1769">9.7368899999999989</cx:pt>
          <cx:pt idx="1770">13.1242499999999</cx:pt>
          <cx:pt idx="1771">13.1242499999999</cx:pt>
          <cx:pt idx="1772">17.24098</cx:pt>
          <cx:pt idx="1773">12.050159999999901</cx:pt>
          <cx:pt idx="1774">13.1242499999999</cx:pt>
          <cx:pt idx="1775">12.333360000000001</cx:pt>
          <cx:pt idx="1776">11.625359999999899</cx:pt>
          <cx:pt idx="1777">13.1242499999999</cx:pt>
          <cx:pt idx="1778">15.04954</cx:pt>
          <cx:pt idx="1779">11.625359999999899</cx:pt>
          <cx:pt idx="1780">11.625359999999899</cx:pt>
          <cx:pt idx="1781">12.3333599999999</cx:pt>
          <cx:pt idx="1782">14.75474</cx:pt>
          <cx:pt idx="1783">13.1242499999999</cx:pt>
          <cx:pt idx="1784">17.24098</cx:pt>
          <cx:pt idx="1785">15.639140000000001</cx:pt>
          <cx:pt idx="1786">17.24098</cx:pt>
          <cx:pt idx="1787">15.04954</cx:pt>
          <cx:pt idx="1788">40.600569999999706</cx:pt>
          <cx:pt idx="1789">13.1242499999999</cx:pt>
          <cx:pt idx="1790">18.4713799999999</cx:pt>
          <cx:pt idx="1791">7.5712000000000002</cx:pt>
          <cx:pt idx="1792">5.89949999999999</cx:pt>
          <cx:pt idx="1793">13.1242499999999</cx:pt>
          <cx:pt idx="1794">15.04954</cx:pt>
          <cx:pt idx="1795">15.04954</cx:pt>
          <cx:pt idx="1796">15.786539999999999</cx:pt>
          <cx:pt idx="1797">13.1242499999999</cx:pt>
          <cx:pt idx="1798">13.1242499999999</cx:pt>
          <cx:pt idx="1799">18.009979999999899</cx:pt>
          <cx:pt idx="1800">13.1242499999999</cx:pt>
          <cx:pt idx="1801">13.1242499999999</cx:pt>
          <cx:pt idx="1802">4.3716200000000001</cx:pt>
          <cx:pt idx="1803">13.1242499999999</cx:pt>
          <cx:pt idx="1804">13.1242499999999</cx:pt>
          <cx:pt idx="1805">13.1242499999999</cx:pt>
          <cx:pt idx="1806">13.1242499999999</cx:pt>
          <cx:pt idx="1807">13.1242499999999</cx:pt>
          <cx:pt idx="1808">15.04954</cx:pt>
          <cx:pt idx="1809">51.079869999999907</cx:pt>
          <cx:pt idx="1810">13.1242499999999</cx:pt>
          <cx:pt idx="1811">13.1242499999999</cx:pt>
          <cx:pt idx="1812">18.009979999999899</cx:pt>
          <cx:pt idx="1813">15.04954</cx:pt>
          <cx:pt idx="1814">13.1242499999999</cx:pt>
          <cx:pt idx="1815">5.7683999999999997</cx:pt>
          <cx:pt idx="1816">13.1242499999999</cx:pt>
          <cx:pt idx="1817">13.1242499999999</cx:pt>
          <cx:pt idx="1818">3.8460000000000001</cx:pt>
          <cx:pt idx="1819">12.839249999999899</cx:pt>
          <cx:pt idx="1820">17.24098</cx:pt>
          <cx:pt idx="1821">13.1242499999999</cx:pt>
          <cx:pt idx="1822">12.98175</cx:pt>
          <cx:pt idx="1823">15.04954</cx:pt>
          <cx:pt idx="1824">13.1242499999999</cx:pt>
          <cx:pt idx="1825">13.1242499999999</cx:pt>
          <cx:pt idx="1826">13.1242499999999</cx:pt>
          <cx:pt idx="1827">15.04954</cx:pt>
          <cx:pt idx="1828">18.778979999999901</cx:pt>
          <cx:pt idx="1829">15.04954</cx:pt>
          <cx:pt idx="1830">13.1242499999999</cx:pt>
          <cx:pt idx="1831">4.7433999999999994</cx:pt>
          <cx:pt idx="1832">17.24098</cx:pt>
          <cx:pt idx="1833">11.625359999999899</cx:pt>
          <cx:pt idx="1834">11.3421599999999</cx:pt>
          <cx:pt idx="1835">13.1242499999999</cx:pt>
          <cx:pt idx="1836">15.04954</cx:pt>
          <cx:pt idx="1837">5.6504099999999999</cx:pt>
          <cx:pt idx="1838">13.1242499999999</cx:pt>
          <cx:pt idx="1839">18.778979999999901</cx:pt>
          <cx:pt idx="1840">13.1242499999999</cx:pt>
          <cx:pt idx="1841">15.04954</cx:pt>
          <cx:pt idx="1842">15.04954</cx:pt>
          <cx:pt idx="1843">12.3333599999999</cx:pt>
          <cx:pt idx="1844">13.1242499999999</cx:pt>
          <cx:pt idx="1845">7.7199199999999992</cx:pt>
          <cx:pt idx="1846">49.4676699999997</cx:pt>
          <cx:pt idx="1847">11.625359999999899</cx:pt>
          <cx:pt idx="1848">12.616559999999899</cx:pt>
          <cx:pt idx="1849">13.1242499999999</cx:pt>
          <cx:pt idx="1850">15.04954</cx:pt>
          <cx:pt idx="1851">13.606859999999902</cx:pt>
          <cx:pt idx="1852">12.839249999999899</cx:pt>
          <cx:pt idx="1853">15.04954</cx:pt>
          <cx:pt idx="1854">13.1242499999999</cx:pt>
          <cx:pt idx="1855">14.0406599999999</cx:pt>
          <cx:pt idx="1856">17.24098</cx:pt>
          <cx:pt idx="1857">10.6952999999999</cx:pt>
          <cx:pt idx="1858">17.702379999999902</cx:pt>
          <cx:pt idx="1859">13.1242499999999</cx:pt>
          <cx:pt idx="1860">13.1242499999999</cx:pt>
          <cx:pt idx="1861">15.344340000000001</cx:pt>
          <cx:pt idx="1862">13.606859999999902</cx:pt>
          <cx:pt idx="1863">11.625359999999899</cx:pt>
          <cx:pt idx="1864">15.04954</cx:pt>
          <cx:pt idx="1865">15.04954</cx:pt>
          <cx:pt idx="1866">13.606859999999902</cx:pt>
          <cx:pt idx="1867">13.1242499999999</cx:pt>
          <cx:pt idx="1868">13.1242499999999</cx:pt>
          <cx:pt idx="1869">44.899769999999997</cx:pt>
          <cx:pt idx="1870">13.1242499999999</cx:pt>
          <cx:pt idx="1871">4.7433999999999994</cx:pt>
          <cx:pt idx="1872">13.1242499999999</cx:pt>
          <cx:pt idx="1873">15.04954</cx:pt>
          <cx:pt idx="1874">13.1242499999999</cx:pt>
          <cx:pt idx="1875">15.04954</cx:pt>
          <cx:pt idx="1876">11.625359999999899</cx:pt>
          <cx:pt idx="1877">13.1242499999999</cx:pt>
          <cx:pt idx="1878">37.376169999999995</cx:pt>
          <cx:pt idx="1879">13.1242499999999</cx:pt>
          <cx:pt idx="1880">13.1242499999999</cx:pt>
          <cx:pt idx="1881">15.344340000000001</cx:pt>
          <cx:pt idx="1882">17.2256</cx:pt>
          <cx:pt idx="1883">13.1242499999999</cx:pt>
          <cx:pt idx="1884">13.1242499999999</cx:pt>
          <cx:pt idx="1885">15.04954</cx:pt>
          <cx:pt idx="1886">11.752799999999999</cx:pt>
          <cx:pt idx="1887">17.394779999999898</cx:pt>
          <cx:pt idx="1888">13.1242499999999</cx:pt>
          <cx:pt idx="1889">18.778979999999901</cx:pt>
          <cx:pt idx="1890">13.1242499999999</cx:pt>
          <cx:pt idx="1891">15.04954</cx:pt>
          <cx:pt idx="1892">13.1242499999999</cx:pt>
          <cx:pt idx="1893">13.1242499999999</cx:pt>
          <cx:pt idx="1894">13.1242499999999</cx:pt>
          <cx:pt idx="1895">11.625359999999899</cx:pt>
          <cx:pt idx="1896">13.1242499999999</cx:pt>
          <cx:pt idx="1897">15.04954</cx:pt>
          <cx:pt idx="1898">13.1242499999999</cx:pt>
          <cx:pt idx="1899">13.1242499999999</cx:pt>
          <cx:pt idx="1900">15.04954</cx:pt>
          <cx:pt idx="1901">15.04954</cx:pt>
          <cx:pt idx="1902">13.1242499999999</cx:pt>
          <cx:pt idx="1903">13.1242499999999</cx:pt>
          <cx:pt idx="1904">13.1242499999999</cx:pt>
          <cx:pt idx="1905">11.625359999999899</cx:pt>
          <cx:pt idx="1906">17.24098</cx:pt>
          <cx:pt idx="1907">13.1242499999999</cx:pt>
          <cx:pt idx="1908">13.1242499999999</cx:pt>
          <cx:pt idx="1909">18.778979999999901</cx:pt>
          <cx:pt idx="1910">15.04954</cx:pt>
          <cx:pt idx="1911">13.1242499999999</cx:pt>
          <cx:pt idx="1912">13.1242499999999</cx:pt>
          <cx:pt idx="1913">13.1242499999999</cx:pt>
          <cx:pt idx="1914">14.75474</cx:pt>
          <cx:pt idx="1915">2.7050200000000002</cx:pt>
          <cx:pt idx="1916">15.04954</cx:pt>
          <cx:pt idx="1917">13.1242499999999</cx:pt>
          <cx:pt idx="1918">15.04954</cx:pt>
          <cx:pt idx="1919">13.1242499999999</cx:pt>
          <cx:pt idx="1920">12.3333599999999</cx:pt>
          <cx:pt idx="1921">12.616559999999899</cx:pt>
          <cx:pt idx="1922">11.625359999999899</cx:pt>
          <cx:pt idx="1923">11.625359999999899</cx:pt>
          <cx:pt idx="1924">15.04954</cx:pt>
          <cx:pt idx="1925">13.1242499999999</cx:pt>
          <cx:pt idx="1926">15.04954</cx:pt>
          <cx:pt idx="1927">13.1242499999999</cx:pt>
          <cx:pt idx="1928">13.1242499999999</cx:pt>
          <cx:pt idx="1929">13.1242499999999</cx:pt>
          <cx:pt idx="1930">14.0406599999999</cx:pt>
          <cx:pt idx="1931">13.1242499999999</cx:pt>
          <cx:pt idx="1932">36.570070000000001</cx:pt>
          <cx:pt idx="1933">13.1242499999999</cx:pt>
          <cx:pt idx="1934">11.625359999999899</cx:pt>
          <cx:pt idx="1935">13.1242499999999</cx:pt>
          <cx:pt idx="1936">15.04954</cx:pt>
          <cx:pt idx="1937">13.1242499999999</cx:pt>
          <cx:pt idx="1938">15.04954</cx:pt>
          <cx:pt idx="1939">13.1242499999999</cx:pt>
          <cx:pt idx="1940">9.7368899999999989</cx:pt>
          <cx:pt idx="1941">13.1242499999999</cx:pt>
          <cx:pt idx="1942">11.625359999999899</cx:pt>
          <cx:pt idx="1943">17.24098</cx:pt>
          <cx:pt idx="1944">15.04954</cx:pt>
          <cx:pt idx="1945">15.344340000000001</cx:pt>
          <cx:pt idx="1946">13.1242499999999</cx:pt>
          <cx:pt idx="1947">13.1242499999999</cx:pt>
          <cx:pt idx="1948">4.7433999999999994</cx:pt>
          <cx:pt idx="1949">11.625359999999899</cx:pt>
          <cx:pt idx="1950">13.1242499999999</cx:pt>
          <cx:pt idx="1951">13.1242499999999</cx:pt>
          <cx:pt idx="1952">18.778979999999901</cx:pt>
          <cx:pt idx="1953">13.1242499999999</cx:pt>
          <cx:pt idx="1954">13.1242499999999</cx:pt>
          <cx:pt idx="1955">13.1242499999999</cx:pt>
          <cx:pt idx="1956">13.1242499999999</cx:pt>
          <cx:pt idx="1957">11.625359999999899</cx:pt>
          <cx:pt idx="1958">13.1242499999999</cx:pt>
          <cx:pt idx="1959">11.625359999999899</cx:pt>
          <cx:pt idx="1960">15.04954</cx:pt>
          <cx:pt idx="1961">14.75474</cx:pt>
          <cx:pt idx="1962">13.1242499999999</cx:pt>
          <cx:pt idx="1963">13.1242499999999</cx:pt>
          <cx:pt idx="1964">13.1242499999999</cx:pt>
          <cx:pt idx="1965">13.1242499999999</cx:pt>
          <cx:pt idx="1966">13.1242499999999</cx:pt>
          <cx:pt idx="1967">11.3421599999999</cx:pt>
          <cx:pt idx="1968">13.1242499999999</cx:pt>
          <cx:pt idx="1969">13.1242499999999</cx:pt>
          <cx:pt idx="1970">15.04954</cx:pt>
          <cx:pt idx="1971">12.3333599999999</cx:pt>
          <cx:pt idx="1972">9.3201899999999789</cx:pt>
          <cx:pt idx="1973">13.1242499999999</cx:pt>
          <cx:pt idx="1974">12.3333599999999</cx:pt>
          <cx:pt idx="1975">43.287569999999697</cx:pt>
          <cx:pt idx="1976">13.1242499999999</cx:pt>
          <cx:pt idx="1977">15.329599999999999</cx:pt>
          <cx:pt idx="1978">35.495269999999898</cx:pt>
          <cx:pt idx="1979">13.1242499999999</cx:pt>
          <cx:pt idx="1980">13.1242499999999</cx:pt>
          <cx:pt idx="1981">13.1242499999999</cx:pt>
          <cx:pt idx="1982">13.1242499999999</cx:pt>
          <cx:pt idx="1983">13.1242499999999</cx:pt>
          <cx:pt idx="1984">13.1242499999999</cx:pt>
          <cx:pt idx="1985">13.1242499999999</cx:pt>
          <cx:pt idx="1986">13.1242499999999</cx:pt>
          <cx:pt idx="1987">8.1120000000000001</cx:pt>
          <cx:pt idx="1988">13.1242499999999</cx:pt>
          <cx:pt idx="1989">17.24098</cx:pt>
          <cx:pt idx="1990">15.786539999999999</cx:pt>
          <cx:pt idx="1991">10.7091899999999</cx:pt>
          <cx:pt idx="1992">13.1242499999999</cx:pt>
          <cx:pt idx="1993">13.1242499999999</cx:pt>
          <cx:pt idx="1994">14.0406599999999</cx:pt>
          <cx:pt idx="1995">17.24098</cx:pt>
          <cx:pt idx="1996">13.1242499999999</cx:pt>
          <cx:pt idx="1997">17.702379999999902</cx:pt>
          <cx:pt idx="1998">15.04954</cx:pt>
          <cx:pt idx="1999">17.24098</cx:pt>
          <cx:pt idx="2000">15.04954</cx:pt>
          <cx:pt idx="2001">13.1242499999999</cx:pt>
          <cx:pt idx="2002">13.1242499999999</cx:pt>
          <cx:pt idx="2003">10.0146899999999</cx:pt>
          <cx:pt idx="2004">43.556270000000005</cx:pt>
          <cx:pt idx="2005">16.93338</cx:pt>
          <cx:pt idx="2006">11.625359999999899</cx:pt>
          <cx:pt idx="2007">6.1748099999999999</cx:pt>
          <cx:pt idx="2008">13.1242499999999</cx:pt>
          <cx:pt idx="2009">15.04954</cx:pt>
          <cx:pt idx="2010">13.1242499999999</cx:pt>
          <cx:pt idx="2011">11.48376</cx:pt>
          <cx:pt idx="2012">13.606860000000001</cx:pt>
          <cx:pt idx="2013">13.1242499999999</cx:pt>
          <cx:pt idx="2014">13.606859999999902</cx:pt>
          <cx:pt idx="2015">13.1242499999999</cx:pt>
          <cx:pt idx="2016">13.1242499999999</cx:pt>
          <cx:pt idx="2017">13.1242499999999</cx:pt>
          <cx:pt idx="2018">13.1242499999999</cx:pt>
          <cx:pt idx="2019">40.600569999999706</cx:pt>
          <cx:pt idx="2020">13.1242499999999</cx:pt>
          <cx:pt idx="2021">8.28776000000002</cx:pt>
          <cx:pt idx="2022">13.1242499999999</cx:pt>
          <cx:pt idx="2023">13.1242499999999</cx:pt>
          <cx:pt idx="2024">13.1242499999999</cx:pt>
          <cx:pt idx="2025">45.974569999999702</cx:pt>
          <cx:pt idx="2026">13.1242499999999</cx:pt>
          <cx:pt idx="2027">35.495269999999898</cx:pt>
          <cx:pt idx="2028">13.1242499999999</cx:pt>
          <cx:pt idx="2029">17.24098</cx:pt>
          <cx:pt idx="2030">13.1242499999999</cx:pt>
          <cx:pt idx="2031">13.1242499999999</cx:pt>
          <cx:pt idx="2032">15.04954</cx:pt>
          <cx:pt idx="2033">13.1242499999999</cx:pt>
          <cx:pt idx="2034">10.834199999999999</cx:pt>
          <cx:pt idx="2035">13.1242499999999</cx:pt>
          <cx:pt idx="2036">15.04954</cx:pt>
          <cx:pt idx="2037">17.24098</cx:pt>
          <cx:pt idx="2038">13.1242499999999</cx:pt>
          <cx:pt idx="2039">6.6860999999999908</cx:pt>
          <cx:pt idx="2040">15.344340000000001</cx:pt>
          <cx:pt idx="2041">12.967500000000001</cx:pt>
          <cx:pt idx="2042">13.1242499999999</cx:pt>
          <cx:pt idx="2043">13.1242499999999</cx:pt>
          <cx:pt idx="2044">15.04954</cx:pt>
          <cx:pt idx="2045">15.19694</cx:pt>
          <cx:pt idx="2046">13.1242499999999</cx:pt>
          <cx:pt idx="2047">1.42302</cx:pt>
          <cx:pt idx="2048">13.1242499999999</cx:pt>
          <cx:pt idx="2049">15.04954</cx:pt>
          <cx:pt idx="2050">11.752799999999999</cx:pt>
          <cx:pt idx="2051">11.3421599999999</cx:pt>
          <cx:pt idx="2052">11.625359999999899</cx:pt>
          <cx:pt idx="2053">43.556270000000005</cx:pt>
          <cx:pt idx="2054">11.625359999999899</cx:pt>
          <cx:pt idx="2055">2.3204199999999999</cx:pt>
          <cx:pt idx="2056">13.1242499999999</cx:pt>
          <cx:pt idx="2057">18.778979999999901</cx:pt>
          <cx:pt idx="2058">15.04954</cx:pt>
          <cx:pt idx="2059">12.3333599999999</cx:pt>
          <cx:pt idx="2060">18.456</cx:pt>
          <cx:pt idx="2061">17.24098</cx:pt>
          <cx:pt idx="2062">17.24098</cx:pt>
          <cx:pt idx="2063">13.1242499999999</cx:pt>
          <cx:pt idx="2064">11.625359999999899</cx:pt>
          <cx:pt idx="2065">13.1242499999999</cx:pt>
          <cx:pt idx="2066">13.1242499999999</cx:pt>
          <cx:pt idx="2067">15.04954</cx:pt>
          <cx:pt idx="2068">13.1242499999999</cx:pt>
          <cx:pt idx="2069">13.1242499999999</cx:pt>
          <cx:pt idx="2070">13.1242499999999</cx:pt>
          <cx:pt idx="2071">13.1242499999999</cx:pt>
          <cx:pt idx="2072">13.1242499999999</cx:pt>
          <cx:pt idx="2073">11.625359999999899</cx:pt>
          <cx:pt idx="2074">3.6152400000000204</cx:pt>
          <cx:pt idx="2075">10.7091899999999</cx:pt>
          <cx:pt idx="2076">19.547980000000003</cx:pt>
          <cx:pt idx="2077">17.24098</cx:pt>
          <cx:pt idx="2078">15.04954</cx:pt>
          <cx:pt idx="2079">7.3008000000000006</cx:pt>
          <cx:pt idx="2080">1.42302</cx:pt>
          <cx:pt idx="2081">13.1242499999999</cx:pt>
          <cx:pt idx="2082">13.1242499999999</cx:pt>
          <cx:pt idx="2083">7.4359999999999999</cx:pt>
          <cx:pt idx="2084">13.1242499999999</cx:pt>
          <cx:pt idx="2085">13.1242499999999</cx:pt>
          <cx:pt idx="2086">13.1242499999999</cx:pt>
          <cx:pt idx="2087">17.24098</cx:pt>
          <cx:pt idx="2088">15.04954</cx:pt>
          <cx:pt idx="2089">13.1242499999999</cx:pt>
          <cx:pt idx="2090">13.1242499999999</cx:pt>
          <cx:pt idx="2091">13.1242499999999</cx:pt>
          <cx:pt idx="2092">13.1242499999999</cx:pt>
          <cx:pt idx="2093">15.04954</cx:pt>
          <cx:pt idx="2094">40.600569999999706</cx:pt>
          <cx:pt idx="2095">17.24098</cx:pt>
          <cx:pt idx="2096">13.1242499999999</cx:pt>
          <cx:pt idx="2097">13.1242499999999</cx:pt>
          <cx:pt idx="2098">14.75474</cx:pt>
          <cx:pt idx="2099">12.839249999999899</cx:pt>
          <cx:pt idx="2100">15.04954</cx:pt>
          <cx:pt idx="2101">35.495269999999898</cx:pt>
          <cx:pt idx="2102">15.344340000000001</cx:pt>
          <cx:pt idx="2103">13.1242499999999</cx:pt>
          <cx:pt idx="2104">19.240380000000002</cx:pt>
          <cx:pt idx="2105">11.625359999999899</cx:pt>
          <cx:pt idx="2106">13.1242499999999</cx:pt>
          <cx:pt idx="2107">13.1242499999999</cx:pt>
          <cx:pt idx="2108">17.24098</cx:pt>
          <cx:pt idx="2109">17.24098</cx:pt>
          <cx:pt idx="2110">12.83925</cx:pt>
          <cx:pt idx="2111">13.1242499999999</cx:pt>
          <cx:pt idx="2112">7.1655999999999995</cx:pt>
          <cx:pt idx="2113">13.1242499999999</cx:pt>
          <cx:pt idx="2114">3.8460000000000001</cx:pt>
          <cx:pt idx="2115">18.148399999999899</cx:pt>
          <cx:pt idx="2116">11.625359999999899</cx:pt>
          <cx:pt idx="2117">15.04954</cx:pt>
          <cx:pt idx="2118">14.0406599999999</cx:pt>
          <cx:pt idx="2119">13.1242499999999</cx:pt>
          <cx:pt idx="2120">13.1242499999999</cx:pt>
          <cx:pt idx="2121">9.3340800000000197</cx:pt>
          <cx:pt idx="2122">4.1152199999999999</cx:pt>
          <cx:pt idx="2123">10.0008</cx:pt>
          <cx:pt idx="2124">13.1242499999999</cx:pt>
          <cx:pt idx="2125">18.778979999999901</cx:pt>
          <cx:pt idx="2126">5.7683999999999997</cx:pt>
          <cx:pt idx="2127">15.04954</cx:pt>
          <cx:pt idx="2128">12.3333599999999</cx:pt>
          <cx:pt idx="2129">13.1242499999999</cx:pt>
          <cx:pt idx="2130">13.1242499999999</cx:pt>
          <cx:pt idx="2131">1.42302</cx:pt>
          <cx:pt idx="2132">13.1242499999999</cx:pt>
          <cx:pt idx="2133">43.556270000000005</cx:pt>
          <cx:pt idx="2134">13.1242499999999</cx:pt>
          <cx:pt idx="2135">13.1242499999999</cx:pt>
          <cx:pt idx="2136">13.1242499999999</cx:pt>
          <cx:pt idx="2137">11.625359999999899</cx:pt>
          <cx:pt idx="2138">3.4742199999999896</cx:pt>
          <cx:pt idx="2139">3.9741999999999997</cx:pt>
          <cx:pt idx="2140">13.1242499999999</cx:pt>
          <cx:pt idx="2141">13.1242499999999</cx:pt>
          <cx:pt idx="2142">4.7433999999999994</cx:pt>
          <cx:pt idx="2143">13.1242499999999</cx:pt>
          <cx:pt idx="2144">18.917400000000001</cx:pt>
          <cx:pt idx="2145">13.1242499999999</cx:pt>
          <cx:pt idx="2146">12.050159999999901</cx:pt>
          <cx:pt idx="2147">14.0406599999999</cx:pt>
          <cx:pt idx="2148">12.3333599999999</cx:pt>
          <cx:pt idx="2149">19.086580000000001</cx:pt>
          <cx:pt idx="2150">15.04954</cx:pt>
          <cx:pt idx="2151">15.04954</cx:pt>
          <cx:pt idx="2152">13.5924</cx:pt>
          <cx:pt idx="2153">11.625359999999899</cx:pt>
          <cx:pt idx="2154">13.1242499999999</cx:pt>
          <cx:pt idx="2155">15.04954</cx:pt>
          <cx:pt idx="2156">13.1242499999999</cx:pt>
          <cx:pt idx="2157">13.1242499999999</cx:pt>
          <cx:pt idx="2158">13.1242499999999</cx:pt>
          <cx:pt idx="2159">13.1242499999999</cx:pt>
          <cx:pt idx="2160">5.1279999999999903</cx:pt>
          <cx:pt idx="2161">13.1242499999999</cx:pt>
          <cx:pt idx="2162">11.625359999999899</cx:pt>
          <cx:pt idx="2163">13.1242499999999</cx:pt>
          <cx:pt idx="2164">12.61656</cx:pt>
          <cx:pt idx="2165">13.1242499999999</cx:pt>
          <cx:pt idx="2166">13.1242499999999</cx:pt>
          <cx:pt idx="2167">13.1242499999999</cx:pt>
          <cx:pt idx="2168">35.495269999999898</cx:pt>
          <cx:pt idx="2169">15.04954</cx:pt>
          <cx:pt idx="2170">13.1242499999999</cx:pt>
          <cx:pt idx="2171">7.9767999999999892</cx:pt>
          <cx:pt idx="2172">13.1242499999999</cx:pt>
          <cx:pt idx="2173">39.230199999999897</cx:pt>
          <cx:pt idx="2174">15.344340000000001</cx:pt>
          <cx:pt idx="2175">11.625359999999899</cx:pt>
          <cx:pt idx="2176">15.04954</cx:pt>
          <cx:pt idx="2177">13.1242499999999</cx:pt>
          <cx:pt idx="2178">11.625359999999899</cx:pt>
          <cx:pt idx="2179">3.60242</cx:pt>
          <cx:pt idx="2180">7.5712000000000002</cx:pt>
          <cx:pt idx="2181">13.1242499999999</cx:pt>
          <cx:pt idx="2182">4.4870000000000001</cx:pt>
          <cx:pt idx="2183">6.8171999999999997</cx:pt>
          <cx:pt idx="2184">13.1242499999999</cx:pt>
          <cx:pt idx="2185">17.24098</cx:pt>
          <cx:pt idx="2186">15.04954</cx:pt>
          <cx:pt idx="2187">11.625359999999899</cx:pt>
          <cx:pt idx="2188">13.1242499999999</cx:pt>
          <cx:pt idx="2189">13.1242499999999</cx:pt>
          <cx:pt idx="2190">13.1242499999999</cx:pt>
          <cx:pt idx="2191">13.1242499999999</cx:pt>
          <cx:pt idx="2192">3.9998400000000198</cx:pt>
          <cx:pt idx="2193">18.778979999999901</cx:pt>
          <cx:pt idx="2194">15.04954</cx:pt>
          <cx:pt idx="2195">13.1242499999999</cx:pt>
          <cx:pt idx="2196">13.1242499999999</cx:pt>
          <cx:pt idx="2197">15.491739999999901</cx:pt>
          <cx:pt idx="2198">13.1242499999999</cx:pt>
          <cx:pt idx="2199">13.1242499999999</cx:pt>
          <cx:pt idx="2200">11.625359999999899</cx:pt>
          <cx:pt idx="2201">13.1242499999999</cx:pt>
          <cx:pt idx="2202">13.1242499999999</cx:pt>
          <cx:pt idx="2203">16.779579999999999</cx:pt>
          <cx:pt idx="2204">13.1242499999999</cx:pt>
          <cx:pt idx="2205">13.1242499999999</cx:pt>
          <cx:pt idx="2206">17.24098</cx:pt>
          <cx:pt idx="2207">7.5712000000000002</cx:pt>
          <cx:pt idx="2208">13.1242499999999</cx:pt>
          <cx:pt idx="2209">11.625359999999899</cx:pt>
          <cx:pt idx="2210">15.04954</cx:pt>
          <cx:pt idx="2211">48.661569999999699</cx:pt>
          <cx:pt idx="2212">11.625359999999899</cx:pt>
          <cx:pt idx="2213">11.625359999999899</cx:pt>
          <cx:pt idx="2214">13.1242499999999</cx:pt>
          <cx:pt idx="2215">15.04954</cx:pt>
          <cx:pt idx="2216">13.1242499999999</cx:pt>
          <cx:pt idx="2217">13.1242499999999</cx:pt>
          <cx:pt idx="2218">17.24098</cx:pt>
          <cx:pt idx="2219">12.839249999999899</cx:pt>
          <cx:pt idx="2220">15.04954</cx:pt>
          <cx:pt idx="2221">13.1242499999999</cx:pt>
          <cx:pt idx="2222">13.1242499999999</cx:pt>
          <cx:pt idx="2223">13.1242499999999</cx:pt>
          <cx:pt idx="2224">11.625359999999899</cx:pt>
          <cx:pt idx="2225">13.1242499999999</cx:pt>
          <cx:pt idx="2226">13.1242499999999</cx:pt>
          <cx:pt idx="2227">15.04954</cx:pt>
          <cx:pt idx="2228">13.1242499999999</cx:pt>
          <cx:pt idx="2229">10.292490000000001</cx:pt>
          <cx:pt idx="2230">13.1242499999999</cx:pt>
          <cx:pt idx="2231">13.1242499999999</cx:pt>
          <cx:pt idx="2232">18.778979999999901</cx:pt>
          <cx:pt idx="2233">11.625359999999899</cx:pt>
          <cx:pt idx="2234">17.24098</cx:pt>
          <cx:pt idx="2235">13.1242499999999</cx:pt>
          <cx:pt idx="2236">18.778979999999901</cx:pt>
          <cx:pt idx="2237">11.625359999999899</cx:pt>
          <cx:pt idx="2238">13.1242499999999</cx:pt>
          <cx:pt idx="2239">17.24098</cx:pt>
          <cx:pt idx="2240">13.1242499999999</cx:pt>
          <cx:pt idx="2241">11.625359999999899</cx:pt>
          <cx:pt idx="2242">40.600569999999706</cx:pt>
          <cx:pt idx="2243">13.1242499999999</cx:pt>
          <cx:pt idx="2244">13.1242499999999</cx:pt>
          <cx:pt idx="2245">15.344340000000001</cx:pt>
          <cx:pt idx="2246">15.04954</cx:pt>
          <cx:pt idx="2247">13.1242499999999</cx:pt>
          <cx:pt idx="2248">13.1242499999999</cx:pt>
          <cx:pt idx="2249">13.1242499999999</cx:pt>
          <cx:pt idx="2250">13.1242499999999</cx:pt>
          <cx:pt idx="2251">3.8460000000000001</cx:pt>
          <cx:pt idx="2252">13.1242499999999</cx:pt>
          <cx:pt idx="2253">13.1242499999999</cx:pt>
          <cx:pt idx="2254">13.1242499999999</cx:pt>
          <cx:pt idx="2255">13.1242499999999</cx:pt>
          <cx:pt idx="2256">13.1242499999999</cx:pt>
          <cx:pt idx="2257">15.04954</cx:pt>
          <cx:pt idx="2258">13.1242499999999</cx:pt>
          <cx:pt idx="2259">13.1242499999999</cx:pt>
          <cx:pt idx="2260">43.287569999999697</cx:pt>
          <cx:pt idx="2261">13.1242499999999</cx:pt>
          <cx:pt idx="2262">16.764200000000002</cx:pt>
          <cx:pt idx="2263">11.625359999999899</cx:pt>
          <cx:pt idx="2264">13.1242499999999</cx:pt>
          <cx:pt idx="2265">11.625359999999899</cx:pt>
          <cx:pt idx="2266">13.1242499999999</cx:pt>
          <cx:pt idx="2267">13.1242499999999</cx:pt>
          <cx:pt idx="2268">15.04954</cx:pt>
          <cx:pt idx="2269">15.04954</cx:pt>
          <cx:pt idx="2270">3.8588200000000001</cx:pt>
          <cx:pt idx="2271">8.3959200000000003</cx:pt>
          <cx:pt idx="2272">15.786539999999999</cx:pt>
          <cx:pt idx="2273">11.625359999999899</cx:pt>
          <cx:pt idx="2274">11.625359999999899</cx:pt>
          <cx:pt idx="2275">13.1242499999999</cx:pt>
          <cx:pt idx="2276">13.1242499999999</cx:pt>
          <cx:pt idx="2277">13.1242499999999</cx:pt>
          <cx:pt idx="2278">11.625359999999899</cx:pt>
          <cx:pt idx="2279">15.04954</cx:pt>
          <cx:pt idx="2280">3.8460000000000001</cx:pt>
          <cx:pt idx="2281">11.625359999999899</cx:pt>
          <cx:pt idx="2282">13.1242499999999</cx:pt>
          <cx:pt idx="2283">11.625359999999899</cx:pt>
          <cx:pt idx="2284">13.1242499999999</cx:pt>
          <cx:pt idx="2285">15.04954</cx:pt>
          <cx:pt idx="2286">15.04954</cx:pt>
          <cx:pt idx="2287">17.24098</cx:pt>
          <cx:pt idx="2288">13.1242499999999</cx:pt>
          <cx:pt idx="2289">5.89949999999999</cx:pt>
          <cx:pt idx="2290">13.1242499999999</cx:pt>
          <cx:pt idx="2291">10.834199999999999</cx:pt>
          <cx:pt idx="2292">4.4870000000000001</cx:pt>
          <cx:pt idx="2293">13.1242499999999</cx:pt>
          <cx:pt idx="2294">15.04954</cx:pt>
          <cx:pt idx="2295">15.344340000000001</cx:pt>
          <cx:pt idx="2296">13.1242499999999</cx:pt>
          <cx:pt idx="2297">15.04954</cx:pt>
          <cx:pt idx="2298">35.495269999999898</cx:pt>
          <cx:pt idx="2299">13.1242499999999</cx:pt>
          <cx:pt idx="2300">13.1242499999999</cx:pt>
          <cx:pt idx="2301">13.1242499999999</cx:pt>
          <cx:pt idx="2302">15.04954</cx:pt>
          <cx:pt idx="2303">6.4239000000000006</cx:pt>
          <cx:pt idx="2304">13.1242499999999</cx:pt>
          <cx:pt idx="2305">43.287569999999697</cx:pt>
          <cx:pt idx="2306">18.009979999999899</cx:pt>
          <cx:pt idx="2307">15.04954</cx:pt>
          <cx:pt idx="2308">15.04954</cx:pt>
          <cx:pt idx="2309">15.04954</cx:pt>
          <cx:pt idx="2310">5.5061999999999998</cx:pt>
          <cx:pt idx="2311">5.0126199999999894</cx:pt>
          <cx:pt idx="2312">13.1242499999999</cx:pt>
          <cx:pt idx="2313">15.04954</cx:pt>
          <cx:pt idx="2314">17.24098</cx:pt>
          <cx:pt idx="2315">6.6992099999999999</cx:pt>
          <cx:pt idx="2316">15.04954</cx:pt>
          <cx:pt idx="2317">13.1242499999999</cx:pt>
          <cx:pt idx="2318">9.0583999999999989</cx:pt>
          <cx:pt idx="2319">17.24098</cx:pt>
          <cx:pt idx="2320">13.1242499999999</cx:pt>
          <cx:pt idx="2321">13.1242499999999</cx:pt>
          <cx:pt idx="2322">15.04954</cx:pt>
          <cx:pt idx="2323">13.1242499999999</cx:pt>
          <cx:pt idx="2324">11.625359999999899</cx:pt>
          <cx:pt idx="2325">6.03059999999999</cx:pt>
          <cx:pt idx="2326">37.913569999999702</cx:pt>
          <cx:pt idx="2327">13.1242499999999</cx:pt>
          <cx:pt idx="2328">15.04954</cx:pt>
          <cx:pt idx="2329">13.1242499999999</cx:pt>
          <cx:pt idx="2330">13.1242499999999</cx:pt>
          <cx:pt idx="2331">15.639140000000001</cx:pt>
          <cx:pt idx="2332">15.04954</cx:pt>
          <cx:pt idx="2333">15.786539999999999</cx:pt>
          <cx:pt idx="2334">19.686400000000003</cx:pt>
          <cx:pt idx="2335">17.24098</cx:pt>
          <cx:pt idx="2336">12.3333599999999</cx:pt>
          <cx:pt idx="2337">15.04954</cx:pt>
          <cx:pt idx="2338">13.1242499999999</cx:pt>
          <cx:pt idx="2339">13.1242499999999</cx:pt>
          <cx:pt idx="2340">15.04954</cx:pt>
          <cx:pt idx="2341">3.4742199999999896</cx:pt>
          <cx:pt idx="2342">13.1242499999999</cx:pt>
          <cx:pt idx="2343">13.1242499999999</cx:pt>
          <cx:pt idx="2344">7.9903199999999801</cx:pt>
          <cx:pt idx="2345">6.8171999999999997</cx:pt>
          <cx:pt idx="2346">15.04954</cx:pt>
          <cx:pt idx="2347">13.1242499999999</cx:pt>
          <cx:pt idx="2348">13.1242499999999</cx:pt>
          <cx:pt idx="2349">15.491739999999901</cx:pt>
          <cx:pt idx="2350">11.3421599999999</cx:pt>
          <cx:pt idx="2351">13.1242499999999</cx:pt>
          <cx:pt idx="2352">15.04954</cx:pt>
          <cx:pt idx="2353">7.8415999999999997</cx:pt>
          <cx:pt idx="2354">9.3201899999999789</cx:pt>
          <cx:pt idx="2355">13.1242499999999</cx:pt>
          <cx:pt idx="2356">17.533199999999997</cx:pt>
          <cx:pt idx="2357">13.1242499999999</cx:pt>
          <cx:pt idx="2358">10.7091899999999</cx:pt>
          <cx:pt idx="2359">13.1242499999999</cx:pt>
          <cx:pt idx="2360">14.3154</cx:pt>
          <cx:pt idx="2361">9.0583999999999989</cx:pt>
          <cx:pt idx="2362">13.1242499999999</cx:pt>
          <cx:pt idx="2363">7.8415999999999997</cx:pt>
          <cx:pt idx="2364">15.04954</cx:pt>
          <cx:pt idx="2365">13.1242499999999</cx:pt>
          <cx:pt idx="2366">40.600569999999706</cx:pt>
          <cx:pt idx="2367">13.1242499999999</cx:pt>
          <cx:pt idx="2368">13.1242499999999</cx:pt>
          <cx:pt idx="2369">11.625359999999899</cx:pt>
          <cx:pt idx="2370">10.7091899999999</cx:pt>
          <cx:pt idx="2371">13.1242499999999</cx:pt>
          <cx:pt idx="2372">13.1242499999999</cx:pt>
          <cx:pt idx="2373">15.786539999999999</cx:pt>
          <cx:pt idx="2374">13.1242499999999</cx:pt>
          <cx:pt idx="2375">12.3333599999999</cx:pt>
          <cx:pt idx="2376">15.04954</cx:pt>
          <cx:pt idx="2377">5.5061999999999998</cx:pt>
          <cx:pt idx="2378">6.5549999999999997</cx:pt>
          <cx:pt idx="2379">8.6663199999999989</cx:pt>
          <cx:pt idx="2380">13.1242499999999</cx:pt>
          <cx:pt idx="2381">13.1242499999999</cx:pt>
          <cx:pt idx="2382">11.4696</cx:pt>
          <cx:pt idx="2383">11.625359999999899</cx:pt>
          <cx:pt idx="2384">17.548580000000001</cx:pt>
          <cx:pt idx="2385">13.1242499999999</cx:pt>
          <cx:pt idx="2386">13.1242499999999</cx:pt>
          <cx:pt idx="2387">13.1242499999999</cx:pt>
          <cx:pt idx="2388">18.778979999999901</cx:pt>
          <cx:pt idx="2389">13.1242499999999</cx:pt>
          <cx:pt idx="2390">7.9903199999999996</cx:pt>
          <cx:pt idx="2391">13.606859999999902</cx:pt>
          <cx:pt idx="2392">11.625359999999899</cx:pt>
          <cx:pt idx="2393">15.04954</cx:pt>
          <cx:pt idx="2394">13.1242499999999</cx:pt>
          <cx:pt idx="2395">17.24098</cx:pt>
          <cx:pt idx="2396">11.625359999999899</cx:pt>
          <cx:pt idx="2397">13.1242499999999</cx:pt>
          <cx:pt idx="2398">11.625359999999899</cx:pt>
          <cx:pt idx="2399">13.1242499999999</cx:pt>
          <cx:pt idx="2400">5.89949999999999</cx:pt>
          <cx:pt idx="2401">9.0583999999999989</cx:pt>
          <cx:pt idx="2402">13.1242499999999</cx:pt>
          <cx:pt idx="2403">3.9741999999999997</cx:pt>
          <cx:pt idx="2404">15.04954</cx:pt>
          <cx:pt idx="2405">15.04954</cx:pt>
          <cx:pt idx="2406">15.04954</cx:pt>
          <cx:pt idx="2407">17.533199999999997</cx:pt>
          <cx:pt idx="2408">13.1242499999999</cx:pt>
          <cx:pt idx="2409">18.3175799999999</cx:pt>
          <cx:pt idx="2410">13.1242499999999</cx:pt>
          <cx:pt idx="2411">15.04954</cx:pt>
          <cx:pt idx="2412">13.1242499999999</cx:pt>
          <cx:pt idx="2413">19.086580000000001</cx:pt>
          <cx:pt idx="2414">3.8460000000000001</cx:pt>
          <cx:pt idx="2415">13.1242499999999</cx:pt>
          <cx:pt idx="2416">15.786539999999999</cx:pt>
          <cx:pt idx="2417">15.04954</cx:pt>
          <cx:pt idx="2418">11.625359999999899</cx:pt>
          <cx:pt idx="2419">13.1242499999999</cx:pt>
          <cx:pt idx="2420">4.6151999999999997</cx:pt>
          <cx:pt idx="2421">15.04954</cx:pt>
          <cx:pt idx="2422">13.1242499999999</cx:pt>
          <cx:pt idx="2423">17.24098</cx:pt>
          <cx:pt idx="2424">11.625359999999899</cx:pt>
          <cx:pt idx="2425">15.04954</cx:pt>
          <cx:pt idx="2426">5.63729999999999</cx:pt>
          <cx:pt idx="2427">13.1242499999999</cx:pt>
          <cx:pt idx="2428">11.625359999999899</cx:pt>
          <cx:pt idx="2429">11.625359999999899</cx:pt>
          <cx:pt idx="2430">40.600569999999706</cx:pt>
          <cx:pt idx="2431">13.1242499999999</cx:pt>
          <cx:pt idx="2432">17.24098</cx:pt>
          <cx:pt idx="2433">13.1242499999999</cx:pt>
          <cx:pt idx="2434">4.6536600000000199</cx:pt>
          <cx:pt idx="2435">11.625359999999899</cx:pt>
          <cx:pt idx="2436">13.1242499999999</cx:pt>
          <cx:pt idx="2437">17.0718</cx:pt>
          <cx:pt idx="2438">13.1242499999999</cx:pt>
          <cx:pt idx="2439">13.1242499999999</cx:pt>
          <cx:pt idx="2440">17.24098</cx:pt>
          <cx:pt idx="2441">11.894399999999999</cx:pt>
          <cx:pt idx="2442">15.04954</cx:pt>
          <cx:pt idx="2443">13.1242499999999</cx:pt>
          <cx:pt idx="2444">15.04954</cx:pt>
          <cx:pt idx="2445">15.04954</cx:pt>
          <cx:pt idx="2446">12.3333599999999</cx:pt>
          <cx:pt idx="2447">13.1242499999999</cx:pt>
          <cx:pt idx="2448">4.7433999999999994</cx:pt>
          <cx:pt idx="2449">13.1242499999999</cx:pt>
          <cx:pt idx="2450">35.495269999999898</cx:pt>
          <cx:pt idx="2451">11.625359999999899</cx:pt>
          <cx:pt idx="2452">13.1242499999999</cx:pt>
          <cx:pt idx="2453">15.344340000000001</cx:pt>
          <cx:pt idx="2454">15.786539999999999</cx:pt>
          <cx:pt idx="2455">6.8171999999999997</cx:pt>
          <cx:pt idx="2456">13.1242499999999</cx:pt>
          <cx:pt idx="2457">11.625359999999899</cx:pt>
          <cx:pt idx="2458">17.24098</cx:pt>
          <cx:pt idx="2459">13.1242499999999</cx:pt>
          <cx:pt idx="2460">10.973099999999999</cx:pt>
          <cx:pt idx="2461">11.625359999999899</cx:pt>
          <cx:pt idx="2462">13.1242499999999</cx:pt>
          <cx:pt idx="2463">13.1242499999999</cx:pt>
          <cx:pt idx="2464">8.1120000000000001</cx:pt>
          <cx:pt idx="2465">1.42302</cx:pt>
          <cx:pt idx="2466">13.1242499999999</cx:pt>
          <cx:pt idx="2467">1.42302</cx:pt>
          <cx:pt idx="2468">11.3421599999999</cx:pt>
          <cx:pt idx="2469">13.1242499999999</cx:pt>
          <cx:pt idx="2470">13.1242499999999</cx:pt>
          <cx:pt idx="2471">13.1242499999999</cx:pt>
          <cx:pt idx="2472">13.1242499999999</cx:pt>
          <cx:pt idx="2473">13.1242499999999</cx:pt>
          <cx:pt idx="2474">13.1242499999999</cx:pt>
          <cx:pt idx="2475">15.04954</cx:pt>
          <cx:pt idx="2476">17.702379999999902</cx:pt>
          <cx:pt idx="2477">13.1242499999999</cx:pt>
          <cx:pt idx="2478">3.08962</cx:pt>
          <cx:pt idx="2479">13.1242499999999</cx:pt>
          <cx:pt idx="2480">13.1242499999999</cx:pt>
          <cx:pt idx="2481">13.1242499999999</cx:pt>
          <cx:pt idx="2482">15.04954</cx:pt>
          <cx:pt idx="2483">19.378799999999998</cx:pt>
          <cx:pt idx="2484">13.1242499999999</cx:pt>
          <cx:pt idx="2485">15.04954</cx:pt>
          <cx:pt idx="2486">13.1242499999999</cx:pt>
          <cx:pt idx="2487">13.1242499999999</cx:pt>
          <cx:pt idx="2488">13.1242499999999</cx:pt>
          <cx:pt idx="2489">15.04954</cx:pt>
          <cx:pt idx="2490">15.04954</cx:pt>
          <cx:pt idx="2491">13.1242499999999</cx:pt>
          <cx:pt idx="2492">13.1242499999999</cx:pt>
          <cx:pt idx="2493">13.1242499999999</cx:pt>
          <cx:pt idx="2494">13.606860000000001</cx:pt>
          <cx:pt idx="2495">13.1242499999999</cx:pt>
          <cx:pt idx="2496">15.04954</cx:pt>
          <cx:pt idx="2497">10.7091899999999</cx:pt>
          <cx:pt idx="2498">13.1242499999999</cx:pt>
          <cx:pt idx="2499">15.04954</cx:pt>
          <cx:pt idx="2500">13.1242499999999</cx:pt>
          <cx:pt idx="2501">15.04954</cx:pt>
          <cx:pt idx="2502">13.1242499999999</cx:pt>
          <cx:pt idx="2503">17.24098</cx:pt>
          <cx:pt idx="2504">15.04954</cx:pt>
          <cx:pt idx="2505">16.779579999999999</cx:pt>
          <cx:pt idx="2506">12.319199999999899</cx:pt>
          <cx:pt idx="2507">13.1242499999999</cx:pt>
          <cx:pt idx="2508">15.04954</cx:pt>
          <cx:pt idx="2509">15.04954</cx:pt>
          <cx:pt idx="2510">17.24098</cx:pt>
          <cx:pt idx="2511">13.1242499999999</cx:pt>
          <cx:pt idx="2512">13.1242499999999</cx:pt>
          <cx:pt idx="2513">10.139699999999999</cx:pt>
          <cx:pt idx="2514">13.1242499999999</cx:pt>
          <cx:pt idx="2515">40.600569999999706</cx:pt>
          <cx:pt idx="2516">13.1242499999999</cx:pt>
          <cx:pt idx="2517">35.495269999999898</cx:pt>
          <cx:pt idx="2518">13.1242499999999</cx:pt>
          <cx:pt idx="2519">13.1242499999999</cx:pt>
          <cx:pt idx="2520">13.5924</cx:pt>
          <cx:pt idx="2521">15.04954</cx:pt>
          <cx:pt idx="2522">17.994599999999998</cx:pt>
          <cx:pt idx="2523">13.1242499999999</cx:pt>
          <cx:pt idx="2524">13.1242499999999</cx:pt>
          <cx:pt idx="2525">11.625359999999899</cx:pt>
          <cx:pt idx="2526">15.04954</cx:pt>
          <cx:pt idx="2527">8.80152</cx:pt>
          <cx:pt idx="2528">15.04954</cx:pt>
          <cx:pt idx="2529">11.625359999999899</cx:pt>
          <cx:pt idx="2530">9.3201899999999789</cx:pt>
          <cx:pt idx="2531">15.04954</cx:pt>
          <cx:pt idx="2532">5.1279999999999903</cx:pt>
          <cx:pt idx="2533">6.8171999999999997</cx:pt>
          <cx:pt idx="2534">15.04954</cx:pt>
          <cx:pt idx="2535">17.24098</cx:pt>
          <cx:pt idx="2536">13.1242499999999</cx:pt>
          <cx:pt idx="2537">13.1242499999999</cx:pt>
          <cx:pt idx="2538">15.04954</cx:pt>
          <cx:pt idx="2539">6.8171999999999997</cx:pt>
          <cx:pt idx="2540">38.182270000000003</cx:pt>
          <cx:pt idx="2541">13.1242499999999</cx:pt>
          <cx:pt idx="2542">13.1242499999999</cx:pt>
          <cx:pt idx="2543">15.04954</cx:pt>
          <cx:pt idx="2544">13.1242499999999</cx:pt>
          <cx:pt idx="2545">15.04954</cx:pt>
          <cx:pt idx="2546">15.04954</cx:pt>
          <cx:pt idx="2547">13.1242499999999</cx:pt>
          <cx:pt idx="2548">11.625359999999899</cx:pt>
          <cx:pt idx="2549">15.04954</cx:pt>
          <cx:pt idx="2550">13.1242499999999</cx:pt>
          <cx:pt idx="2551">13.1242499999999</cx:pt>
          <cx:pt idx="2552">13.1242499999999</cx:pt>
          <cx:pt idx="2553">15.04954</cx:pt>
          <cx:pt idx="2554">4.2434199999999995</cx:pt>
          <cx:pt idx="2555">13.1242499999999</cx:pt>
          <cx:pt idx="2556">13.1242499999999</cx:pt>
          <cx:pt idx="2557">13.1242499999999</cx:pt>
          <cx:pt idx="2558">1.80762</cx:pt>
          <cx:pt idx="2559">35.495269999999898</cx:pt>
          <cx:pt idx="2560">13.1242499999999</cx:pt>
          <cx:pt idx="2561">18.778979999999901</cx:pt>
          <cx:pt idx="2562">13.1242499999999</cx:pt>
          <cx:pt idx="2563">6.5549999999999997</cx:pt>
          <cx:pt idx="2564">12.839249999999899</cx:pt>
          <cx:pt idx="2565">11.625359999999899</cx:pt>
          <cx:pt idx="2566">13.1242499999999</cx:pt>
          <cx:pt idx="2567">15.04954</cx:pt>
          <cx:pt idx="2568">15.04954</cx:pt>
          <cx:pt idx="2569">15.04954</cx:pt>
          <cx:pt idx="2570">18.778979999999901</cx:pt>
          <cx:pt idx="2571">15.04954</cx:pt>
          <cx:pt idx="2572">18.778979999999901</cx:pt>
          <cx:pt idx="2573">13.1242499999999</cx:pt>
          <cx:pt idx="2574">4.7433999999999994</cx:pt>
          <cx:pt idx="2575">13.1242499999999</cx:pt>
          <cx:pt idx="2576">13.1242499999999</cx:pt>
          <cx:pt idx="2577">17.0718</cx:pt>
          <cx:pt idx="2578">13.1242499999999</cx:pt>
          <cx:pt idx="2579">43.556270000000005</cx:pt>
          <cx:pt idx="2580">13.1242499999999</cx:pt>
          <cx:pt idx="2581">17.24098</cx:pt>
          <cx:pt idx="2582">43.824969999999702</cx:pt>
          <cx:pt idx="2583">15.344340000000001</cx:pt>
          <cx:pt idx="2584">13.1242499999999</cx:pt>
          <cx:pt idx="2585">12.3333599999999</cx:pt>
          <cx:pt idx="2586">19.547980000000003</cx:pt>
          <cx:pt idx="2587">11.625359999999899</cx:pt>
          <cx:pt idx="2588">14.0406599999999</cx:pt>
          <cx:pt idx="2589">13.1242499999999</cx:pt>
          <cx:pt idx="2590">5.5061999999999998</cx:pt>
          <cx:pt idx="2591">15.04954</cx:pt>
          <cx:pt idx="2592">18.009979999999899</cx:pt>
          <cx:pt idx="2593">13.1242499999999</cx:pt>
          <cx:pt idx="2594">18.3175799999999</cx:pt>
          <cx:pt idx="2595">45.168469999999701</cx:pt>
          <cx:pt idx="2596">15.04954</cx:pt>
          <cx:pt idx="2597">11.3421599999999</cx:pt>
          <cx:pt idx="2598">13.1242499999999</cx:pt>
          <cx:pt idx="2599">3.4742199999999896</cx:pt>
          <cx:pt idx="2600">11.625359999999899</cx:pt>
          <cx:pt idx="2601">13.1242499999999</cx:pt>
          <cx:pt idx="2602">13.1242499999999</cx:pt>
          <cx:pt idx="2603">17.24098</cx:pt>
          <cx:pt idx="2604">13.1242499999999</cx:pt>
          <cx:pt idx="2605">11.625359999999899</cx:pt>
          <cx:pt idx="2606">13.1242499999999</cx:pt>
          <cx:pt idx="2607">11.625359999999899</cx:pt>
          <cx:pt idx="2608">13.1242499999999</cx:pt>
          <cx:pt idx="2609">13.1242499999999</cx:pt>
          <cx:pt idx="2610">11.625359999999899</cx:pt>
          <cx:pt idx="2611">13.1242499999999</cx:pt>
          <cx:pt idx="2612">37.913569999999702</cx:pt>
          <cx:pt idx="2613">13.1242499999999</cx:pt>
          <cx:pt idx="2614">14.75474</cx:pt>
          <cx:pt idx="2615">15.04954</cx:pt>
          <cx:pt idx="2616">11.625359999999899</cx:pt>
          <cx:pt idx="2617">13.1242499999999</cx:pt>
          <cx:pt idx="2618">41.137969999999704</cx:pt>
          <cx:pt idx="2619">15.491739999999901</cx:pt>
          <cx:pt idx="2620">15.491739999999901</cx:pt>
          <cx:pt idx="2621">43.287569999999697</cx:pt>
          <cx:pt idx="2622">7.4495199999999997</cx:pt>
          <cx:pt idx="2623">15.04954</cx:pt>
          <cx:pt idx="2624">13.1242499999999</cx:pt>
          <cx:pt idx="2625">13.1242499999999</cx:pt>
          <cx:pt idx="2626">18.778979999999901</cx:pt>
          <cx:pt idx="2627">13.1242499999999</cx:pt>
          <cx:pt idx="2628">11.3421599999999</cx:pt>
          <cx:pt idx="2629">13.1242499999999</cx:pt>
          <cx:pt idx="2630">17.24098</cx:pt>
          <cx:pt idx="2631">13.1242499999999</cx:pt>
          <cx:pt idx="2632">13.1242499999999</cx:pt>
          <cx:pt idx="2633">15.04954</cx:pt>
          <cx:pt idx="2634">13.1242499999999</cx:pt>
          <cx:pt idx="2635">4.9998000000000005</cx:pt>
          <cx:pt idx="2636">13.1242499999999</cx:pt>
          <cx:pt idx="2637">13.1242499999999</cx:pt>
          <cx:pt idx="2638">17.24098</cx:pt>
          <cx:pt idx="2639">12.19176</cx:pt>
          <cx:pt idx="2640">5.5061999999999998</cx:pt>
          <cx:pt idx="2641">35.495269999999898</cx:pt>
          <cx:pt idx="2642">13.1242499999999</cx:pt>
          <cx:pt idx="2643">34.95787</cx:pt>
          <cx:pt idx="2644">1.42302</cx:pt>
          <cx:pt idx="2645">4.4998199999999899</cx:pt>
          <cx:pt idx="2646">18.009979999999899</cx:pt>
          <cx:pt idx="2647">13.1242499999999</cx:pt>
          <cx:pt idx="2648">1.16662</cx:pt>
          <cx:pt idx="2649">13.1242499999999</cx:pt>
          <cx:pt idx="2650">13.1242499999999</cx:pt>
          <cx:pt idx="2651">13.1242499999999</cx:pt>
          <cx:pt idx="2652">9.3201899999999789</cx:pt>
          <cx:pt idx="2653">13.1242499999999</cx:pt>
          <cx:pt idx="2654">2.44862</cx:pt>
          <cx:pt idx="2655">11.625359999999899</cx:pt>
          <cx:pt idx="2656">13.1242499999999</cx:pt>
          <cx:pt idx="2657">4.7433999999999994</cx:pt>
          <cx:pt idx="2658">8.1255199999999999</cx:pt>
          <cx:pt idx="2659">4.7433999999999994</cx:pt>
          <cx:pt idx="2660">13.1242499999999</cx:pt>
          <cx:pt idx="2661">11.625359999999899</cx:pt>
          <cx:pt idx="2662">11.752799999999999</cx:pt>
          <cx:pt idx="2663">13.1242499999999</cx:pt>
          <cx:pt idx="2664">5.1279999999999903</cx:pt>
          <cx:pt idx="2665">15.04954</cx:pt>
          <cx:pt idx="2666">13.1242499999999</cx:pt>
          <cx:pt idx="2667">13.1242499999999</cx:pt>
          <cx:pt idx="2668">13.1242499999999</cx:pt>
          <cx:pt idx="2669">13.1242499999999</cx:pt>
          <cx:pt idx="2670">3.9741999999999997</cx:pt>
          <cx:pt idx="2671">11.625359999999899</cx:pt>
          <cx:pt idx="2672">13.1242499999999</cx:pt>
          <cx:pt idx="2673">17.24098</cx:pt>
          <cx:pt idx="2674">12.839249999999899</cx:pt>
          <cx:pt idx="2675">15.04954</cx:pt>
          <cx:pt idx="2676">13.1242499999999</cx:pt>
          <cx:pt idx="2677">13.1242499999999</cx:pt>
          <cx:pt idx="2678">13.1242499999999</cx:pt>
          <cx:pt idx="2679">11.625359999999899</cx:pt>
          <cx:pt idx="2680">13.606859999999902</cx:pt>
          <cx:pt idx="2681">4.9998000000000005</cx:pt>
          <cx:pt idx="2682">15.04954</cx:pt>
          <cx:pt idx="2683">13.1242499999999</cx:pt>
          <cx:pt idx="2684">13.1242499999999</cx:pt>
          <cx:pt idx="2685">13.1242499999999</cx:pt>
          <cx:pt idx="2686">18.778979999999901</cx:pt>
          <cx:pt idx="2687">13.1242499999999</cx:pt>
          <cx:pt idx="2688">11.625359999999899</cx:pt>
          <cx:pt idx="2689">15.04954</cx:pt>
          <cx:pt idx="2690">6.8171999999999997</cx:pt>
          <cx:pt idx="2691">18.4713799999999</cx:pt>
          <cx:pt idx="2692">15.04954</cx:pt>
          <cx:pt idx="2693">14.75474</cx:pt>
          <cx:pt idx="2694">11.625359999999899</cx:pt>
          <cx:pt idx="2695">15.04954</cx:pt>
          <cx:pt idx="2696">13.1242499999999</cx:pt>
          <cx:pt idx="2697">19.240380000000002</cx:pt>
          <cx:pt idx="2698">15.786539999999999</cx:pt>
          <cx:pt idx="2699">13.1242499999999</cx:pt>
          <cx:pt idx="2700">13.1242499999999</cx:pt>
          <cx:pt idx="2701">6.03059999999999</cx:pt>
          <cx:pt idx="2702">15.344340000000001</cx:pt>
          <cx:pt idx="2703">9.3201899999999789</cx:pt>
          <cx:pt idx="2704">13.1242499999999</cx:pt>
          <cx:pt idx="2705">13.1242499999999</cx:pt>
          <cx:pt idx="2706">13.1242499999999</cx:pt>
          <cx:pt idx="2707">7.9903199999999996</cx:pt>
          <cx:pt idx="2708">10.6952999999999</cx:pt>
          <cx:pt idx="2709">13.1242499999999</cx:pt>
          <cx:pt idx="2710">35.495269999999898</cx:pt>
          <cx:pt idx="2711">3.4742199999999896</cx:pt>
          <cx:pt idx="2712">13.1242499999999</cx:pt>
          <cx:pt idx="2713">18.009979999999899</cx:pt>
          <cx:pt idx="2714">15.04954</cx:pt>
          <cx:pt idx="2715">3.08962</cx:pt>
          <cx:pt idx="2716">11.625359999999899</cx:pt>
          <cx:pt idx="2717">12.3333599999999</cx:pt>
          <cx:pt idx="2718">13.1242499999999</cx:pt>
          <cx:pt idx="2719">13.1242499999999</cx:pt>
          <cx:pt idx="2720">17.24098</cx:pt>
          <cx:pt idx="2721">15.19694</cx:pt>
          <cx:pt idx="2722">12.3333599999999</cx:pt>
          <cx:pt idx="2723">17.24098</cx:pt>
          <cx:pt idx="2724">13.1242499999999</cx:pt>
          <cx:pt idx="2725">11.625359999999899</cx:pt>
          <cx:pt idx="2726">13.1242499999999</cx:pt>
          <cx:pt idx="2727">37.913569999999702</cx:pt>
          <cx:pt idx="2728">3.34601999999999</cx:pt>
          <cx:pt idx="2729">3.08962</cx:pt>
          <cx:pt idx="2730">13.1242499999999</cx:pt>
          <cx:pt idx="2731">13.1242499999999</cx:pt>
          <cx:pt idx="2732">13.1242499999999</cx:pt>
          <cx:pt idx="2733">13.1242499999999</cx:pt>
          <cx:pt idx="2734">15.04954</cx:pt>
          <cx:pt idx="2735">11.625359999999899</cx:pt>
          <cx:pt idx="2736">13.1242499999999</cx:pt>
          <cx:pt idx="2737">4.4998199999999899</cx:pt>
          <cx:pt idx="2738">13.1242499999999</cx:pt>
          <cx:pt idx="2739">11.625359999999899</cx:pt>
          <cx:pt idx="2740">13.1242499999999</cx:pt>
          <cx:pt idx="2741">5.7683999999999997</cx:pt>
          <cx:pt idx="2742">17.24098</cx:pt>
          <cx:pt idx="2743">13.1242499999999</cx:pt>
          <cx:pt idx="2744">11.625359999999899</cx:pt>
          <cx:pt idx="2745">3.4742199999999896</cx:pt>
          <cx:pt idx="2746">13.1242499999999</cx:pt>
          <cx:pt idx="2747">13.1242499999999</cx:pt>
          <cx:pt idx="2748">13.1242499999999</cx:pt>
          <cx:pt idx="2749">5.5061999999999998</cx:pt>
          <cx:pt idx="2750">11.625359999999899</cx:pt>
          <cx:pt idx="2751">18.778979999999901</cx:pt>
          <cx:pt idx="2752">15.04954</cx:pt>
          <cx:pt idx="2753">13.1242499999999</cx:pt>
          <cx:pt idx="2754">13.1242499999999</cx:pt>
          <cx:pt idx="2755">15.04954</cx:pt>
          <cx:pt idx="2756">13.1242499999999</cx:pt>
          <cx:pt idx="2757">9.0583999999999989</cx:pt>
          <cx:pt idx="2758">11.625359999999899</cx:pt>
          <cx:pt idx="2759">13.1242499999999</cx:pt>
          <cx:pt idx="2760">11.625359999999899</cx:pt>
          <cx:pt idx="2761">13.1242499999999</cx:pt>
          <cx:pt idx="2762">14.0406599999999</cx:pt>
          <cx:pt idx="2763">15.04954</cx:pt>
          <cx:pt idx="2764">15.04954</cx:pt>
          <cx:pt idx="2765">18.778979999999901</cx:pt>
          <cx:pt idx="2766">18.778979999999901</cx:pt>
          <cx:pt idx="2767">15.786539999999999</cx:pt>
          <cx:pt idx="2768">15.04954</cx:pt>
          <cx:pt idx="2769">15.04954</cx:pt>
          <cx:pt idx="2770">13.1242499999999</cx:pt>
          <cx:pt idx="2771">37.886699999999998</cx:pt>
          <cx:pt idx="2772">13.1242499999999</cx:pt>
          <cx:pt idx="2773">13.1242499999999</cx:pt>
          <cx:pt idx="2774">13.1242499999999</cx:pt>
          <cx:pt idx="2775">13.1242499999999</cx:pt>
          <cx:pt idx="2776">7.7063999999999995</cx:pt>
          <cx:pt idx="2777">11.625359999999899</cx:pt>
          <cx:pt idx="2778">15.344340000000001</cx:pt>
          <cx:pt idx="2779">13.1242499999999</cx:pt>
          <cx:pt idx="2780">13.1242499999999</cx:pt>
          <cx:pt idx="2781">4.3716200000000001</cx:pt>
          <cx:pt idx="2782">11.625359999999899</cx:pt>
          <cx:pt idx="2783">18.778979999999901</cx:pt>
          <cx:pt idx="2784">13.1242499999999</cx:pt>
          <cx:pt idx="2785">13.1242499999999</cx:pt>
          <cx:pt idx="2786">12.839249999999899</cx:pt>
          <cx:pt idx="2787">13.1242499999999</cx:pt>
          <cx:pt idx="2788">11.7669599999999</cx:pt>
          <cx:pt idx="2789">2.5768200000000001</cx:pt>
          <cx:pt idx="2790">13.1242499999999</cx:pt>
          <cx:pt idx="2791">13.1242499999999</cx:pt>
          <cx:pt idx="2792">16.93338</cx:pt>
          <cx:pt idx="2793">11.3421599999999</cx:pt>
          <cx:pt idx="2794">17.24098</cx:pt>
          <cx:pt idx="2795">10.139699999999999</cx:pt>
          <cx:pt idx="2796">13.1242499999999</cx:pt>
          <cx:pt idx="2797">13.1242499999999</cx:pt>
          <cx:pt idx="2798">15.344340000000001</cx:pt>
          <cx:pt idx="2799">13.1242499999999</cx:pt>
          <cx:pt idx="2800">13.1242499999999</cx:pt>
          <cx:pt idx="2801">41.137969999999704</cx:pt>
          <cx:pt idx="2802">5.89949999999999</cx:pt>
          <cx:pt idx="2803">13.1242499999999</cx:pt>
          <cx:pt idx="2804">43.287569999999697</cx:pt>
          <cx:pt idx="2805">13.1242499999999</cx:pt>
          <cx:pt idx="2806">15.04954</cx:pt>
          <cx:pt idx="2807">17.702379999999902</cx:pt>
          <cx:pt idx="2808">14.75474</cx:pt>
          <cx:pt idx="2809">12.839249999999899</cx:pt>
          <cx:pt idx="2810">13.1242499999999</cx:pt>
          <cx:pt idx="2811">5.6504099999999999</cx:pt>
          <cx:pt idx="2812">14.75474</cx:pt>
          <cx:pt idx="2813">15.04954</cx:pt>
          <cx:pt idx="2814">15.04954</cx:pt>
          <cx:pt idx="2815">5.2818400000000203</cx:pt>
          <cx:pt idx="2816">15.04954</cx:pt>
          <cx:pt idx="2817">13.1242499999999</cx:pt>
          <cx:pt idx="2818">13.1242499999999</cx:pt>
          <cx:pt idx="2819">13.1242499999999</cx:pt>
          <cx:pt idx="2820">10.848089999999901</cx:pt>
          <cx:pt idx="2821">15.04954</cx:pt>
          <cx:pt idx="2822">13.1242499999999</cx:pt>
          <cx:pt idx="2823">13.1242499999999</cx:pt>
          <cx:pt idx="2824">13.1242499999999</cx:pt>
          <cx:pt idx="2825">13.1242499999999</cx:pt>
          <cx:pt idx="2826">15.04954</cx:pt>
          <cx:pt idx="2827">9.5979900000000011</cx:pt>
          <cx:pt idx="2828">15.04954</cx:pt>
          <cx:pt idx="2829">48.93027</cx:pt>
          <cx:pt idx="2830">36.838769999999997</cx:pt>
          <cx:pt idx="2831">13.1242499999999</cx:pt>
          <cx:pt idx="2832">13.1242499999999</cx:pt>
          <cx:pt idx="2833">11.625359999999899</cx:pt>
          <cx:pt idx="2834">2.3204199999999999</cx:pt>
          <cx:pt idx="2835">11.4696</cx:pt>
          <cx:pt idx="2836">13.1242499999999</cx:pt>
          <cx:pt idx="2837">13.1242499999999</cx:pt>
          <cx:pt idx="2838">15.04954</cx:pt>
          <cx:pt idx="2839">15.04954</cx:pt>
          <cx:pt idx="2840">13.1242499999999</cx:pt>
          <cx:pt idx="2841">10.5564</cx:pt>
          <cx:pt idx="2842">13.1242499999999</cx:pt>
          <cx:pt idx="2843">13.1242499999999</cx:pt>
          <cx:pt idx="2844">15.04954</cx:pt>
          <cx:pt idx="2845">15.04954</cx:pt>
          <cx:pt idx="2846">11.625359999999899</cx:pt>
          <cx:pt idx="2847">43.556270000000005</cx:pt>
          <cx:pt idx="2848">13.1242499999999</cx:pt>
          <cx:pt idx="2849">18.778979999999901</cx:pt>
          <cx:pt idx="2850">18.009979999999899</cx:pt>
          <cx:pt idx="2851">13.1242499999999</cx:pt>
          <cx:pt idx="2852">15.04954</cx:pt>
          <cx:pt idx="2853">15.491739999999901</cx:pt>
          <cx:pt idx="2854">13.1242499999999</cx:pt>
          <cx:pt idx="2855">15.04954</cx:pt>
          <cx:pt idx="2856">12.3333599999999</cx:pt>
          <cx:pt idx="2857">11.625359999999899</cx:pt>
          <cx:pt idx="2858">13.1242499999999</cx:pt>
          <cx:pt idx="2859">15.04954</cx:pt>
          <cx:pt idx="2860">43.287569999999697</cx:pt>
          <cx:pt idx="2861">4.7818600000000195</cx:pt>
          <cx:pt idx="2862">11.625359999999899</cx:pt>
          <cx:pt idx="2863">13.1242499999999</cx:pt>
          <cx:pt idx="2864">17.24098</cx:pt>
          <cx:pt idx="2865">15.04954</cx:pt>
          <cx:pt idx="2866">15.04954</cx:pt>
          <cx:pt idx="2867">15.04954</cx:pt>
          <cx:pt idx="2868">13.1242499999999</cx:pt>
          <cx:pt idx="2869">11.625359999999899</cx:pt>
          <cx:pt idx="2870">13.1242499999999</cx:pt>
          <cx:pt idx="2871">13.1242499999999</cx:pt>
          <cx:pt idx="2872">13.1242499999999</cx:pt>
          <cx:pt idx="2873">44.362369999999999</cx:pt>
          <cx:pt idx="2874">15.04954</cx:pt>
          <cx:pt idx="2875">13.1242499999999</cx:pt>
          <cx:pt idx="2876">5.5061999999999998</cx:pt>
          <cx:pt idx="2877">18.778979999999901</cx:pt>
          <cx:pt idx="2878">11.3421599999999</cx:pt>
          <cx:pt idx="2879">18.009979999999899</cx:pt>
          <cx:pt idx="2880">13.1242499999999</cx:pt>
          <cx:pt idx="2881">11.625359999999899</cx:pt>
          <cx:pt idx="2882">13.1242499999999</cx:pt>
          <cx:pt idx="2883">15.04954</cx:pt>
          <cx:pt idx="2884">11.625359999999899</cx:pt>
          <cx:pt idx="2885">13.1242499999999</cx:pt>
          <cx:pt idx="2886">15.04954</cx:pt>
          <cx:pt idx="2887">15.476999999999999</cx:pt>
          <cx:pt idx="2888">14.75474</cx:pt>
          <cx:pt idx="2889">15.786539999999999</cx:pt>
          <cx:pt idx="2890">4.4998199999999899</cx:pt>
          <cx:pt idx="2891">13.1242499999999</cx:pt>
          <cx:pt idx="2892">13.1242499999999</cx:pt>
          <cx:pt idx="2893">11.625359999999899</cx:pt>
          <cx:pt idx="2894">8.6527999999999992</cx:pt>
          <cx:pt idx="2895">13.1242499999999</cx:pt>
          <cx:pt idx="2896">13.1242499999999</cx:pt>
          <cx:pt idx="2897">13.1242499999999</cx:pt>
          <cx:pt idx="2898">17.24098</cx:pt>
          <cx:pt idx="2899">13.1242499999999</cx:pt>
          <cx:pt idx="2900">6.03059999999999</cx:pt>
          <cx:pt idx="2901">9.3201899999999789</cx:pt>
          <cx:pt idx="2902">3.8460000000000001</cx:pt>
          <cx:pt idx="2903">17.24098</cx:pt>
          <cx:pt idx="2904">4.5254600000000202</cx:pt>
          <cx:pt idx="2905">13.1242499999999</cx:pt>
          <cx:pt idx="2906">13.1242499999999</cx:pt>
          <cx:pt idx="2907">18.009979999999899</cx:pt>
          <cx:pt idx="2908">13.1242499999999</cx:pt>
          <cx:pt idx="2909">12.839249999999899</cx:pt>
          <cx:pt idx="2910">15.04954</cx:pt>
          <cx:pt idx="2911">11.625359999999899</cx:pt>
          <cx:pt idx="2912">13.1242499999999</cx:pt>
          <cx:pt idx="2913">13.1242499999999</cx:pt>
          <cx:pt idx="2914">11.625359999999899</cx:pt>
          <cx:pt idx="2915">13.1242499999999</cx:pt>
          <cx:pt idx="2916">13.1242499999999</cx:pt>
          <cx:pt idx="2917">13.1242499999999</cx:pt>
          <cx:pt idx="2918">42.454599999999999</cx:pt>
          <cx:pt idx="2919">13.1242499999999</cx:pt>
          <cx:pt idx="2920">40.86927</cx:pt>
          <cx:pt idx="2921">13.1242499999999</cx:pt>
          <cx:pt idx="2922">13.1242499999999</cx:pt>
          <cx:pt idx="2923">15.786539999999999</cx:pt>
          <cx:pt idx="2924">34.95787</cx:pt>
          <cx:pt idx="2925">13.1242499999999</cx:pt>
          <cx:pt idx="2926">13.1242499999999</cx:pt>
          <cx:pt idx="2927">13.1242499999999</cx:pt>
          <cx:pt idx="2928">13.1242499999999</cx:pt>
          <cx:pt idx="2929">15.344340000000001</cx:pt>
          <cx:pt idx="2930">13.1242499999999</cx:pt>
          <cx:pt idx="2931">13.1242499999999</cx:pt>
          <cx:pt idx="2932">13.1242499999999</cx:pt>
          <cx:pt idx="2933">15.04954</cx:pt>
          <cx:pt idx="2934">17.24098</cx:pt>
          <cx:pt idx="2935">13.1242499999999</cx:pt>
          <cx:pt idx="2936">15.04954</cx:pt>
          <cx:pt idx="2937">11.625359999999899</cx:pt>
          <cx:pt idx="2938">11.625359999999899</cx:pt>
          <cx:pt idx="2939">3.08962</cx:pt>
          <cx:pt idx="2940">3.7178000000000004</cx:pt>
          <cx:pt idx="2941">13.1242499999999</cx:pt>
          <cx:pt idx="2942">15.04954</cx:pt>
          <cx:pt idx="2943">15.04954</cx:pt>
          <cx:pt idx="2944">11.625359999999899</cx:pt>
          <cx:pt idx="2945">14.0261999999999</cx:pt>
          <cx:pt idx="2946">15.04954</cx:pt>
          <cx:pt idx="2947">13.1242499999999</cx:pt>
          <cx:pt idx="2948">11.625359999999899</cx:pt>
          <cx:pt idx="2949">6.8171999999999997</cx:pt>
          <cx:pt idx="2950">13.1242499999999</cx:pt>
          <cx:pt idx="2951">35.495269999999898</cx:pt>
          <cx:pt idx="2952">17.24098</cx:pt>
          <cx:pt idx="2953">13.1242499999999</cx:pt>
          <cx:pt idx="2954">40.600569999999706</cx:pt>
          <cx:pt idx="2955">12.3333599999999</cx:pt>
          <cx:pt idx="2956">15.04954</cx:pt>
          <cx:pt idx="2957">15.786539999999999</cx:pt>
          <cx:pt idx="2958">13.1242499999999</cx:pt>
          <cx:pt idx="2959">11.625359999999899</cx:pt>
          <cx:pt idx="2960">13.1242499999999</cx:pt>
          <cx:pt idx="2961">7.5712000000000002</cx:pt>
          <cx:pt idx="2962">13.1242499999999</cx:pt>
          <cx:pt idx="2963">41.164840000000005</cx:pt>
          <cx:pt idx="2964">3.3332000000000002</cx:pt>
          <cx:pt idx="2965">17.24098</cx:pt>
          <cx:pt idx="2966">15.04954</cx:pt>
          <cx:pt idx="2967">13.1242499999999</cx:pt>
          <cx:pt idx="2968">13.1242499999999</cx:pt>
          <cx:pt idx="2969">13.1242499999999</cx:pt>
          <cx:pt idx="2970">13.1242499999999</cx:pt>
          <cx:pt idx="2971">13.1242499999999</cx:pt>
          <cx:pt idx="2972">13.1242499999999</cx:pt>
          <cx:pt idx="2973">14.75474</cx:pt>
          <cx:pt idx="2974">4.1152199999999999</cx:pt>
          <cx:pt idx="2975">15.04954</cx:pt>
          <cx:pt idx="2976">13.1242499999999</cx:pt>
          <cx:pt idx="2977">15.04954</cx:pt>
          <cx:pt idx="2978">17.548580000000001</cx:pt>
          <cx:pt idx="2979">8.260720000000001</cx:pt>
          <cx:pt idx="2980">13.1242499999999</cx:pt>
          <cx:pt idx="2981">15.04954</cx:pt>
          <cx:pt idx="2982">13.1242499999999</cx:pt>
          <cx:pt idx="2983">15.04954</cx:pt>
          <cx:pt idx="2984">13.1242499999999</cx:pt>
          <cx:pt idx="2985">13.1242499999999</cx:pt>
          <cx:pt idx="2986">2.3204199999999999</cx:pt>
          <cx:pt idx="2987">13.1242499999999</cx:pt>
          <cx:pt idx="2988">11.4696</cx:pt>
          <cx:pt idx="2989">13.1242499999999</cx:pt>
          <cx:pt idx="2990">15.04954</cx:pt>
          <cx:pt idx="2991">13.1242499999999</cx:pt>
          <cx:pt idx="2992">13.1242499999999</cx:pt>
          <cx:pt idx="2993">13.1242499999999</cx:pt>
          <cx:pt idx="2994">13.1242499999999</cx:pt>
          <cx:pt idx="2995">12.460799999999999</cx:pt>
          <cx:pt idx="2996">15.786539999999999</cx:pt>
          <cx:pt idx="2997">13.1242499999999</cx:pt>
          <cx:pt idx="2998">13.1242499999999</cx:pt>
          <cx:pt idx="2999">13.1242499999999</cx:pt>
          <cx:pt idx="3000">11.625359999999899</cx:pt>
          <cx:pt idx="3001">13.1242499999999</cx:pt>
          <cx:pt idx="3002">15.04954</cx:pt>
          <cx:pt idx="3003">9.4451999999999998</cx:pt>
          <cx:pt idx="3004">13.1242499999999</cx:pt>
          <cx:pt idx="3005">13.1242499999999</cx:pt>
          <cx:pt idx="3006">15.04954</cx:pt>
          <cx:pt idx="3007">8.6663199999999989</cx:pt>
          <cx:pt idx="3008">15.786539999999999</cx:pt>
          <cx:pt idx="3009">13.1242499999999</cx:pt>
          <cx:pt idx="3010">11.625359999999899</cx:pt>
          <cx:pt idx="3011">15.04954</cx:pt>
          <cx:pt idx="3012">11.625359999999899</cx:pt>
          <cx:pt idx="3013">15.04954</cx:pt>
          <cx:pt idx="3014">15.04954</cx:pt>
          <cx:pt idx="3015">15.04954</cx:pt>
          <cx:pt idx="3016">15.04954</cx:pt>
          <cx:pt idx="3017">18.009979999999899</cx:pt>
          <cx:pt idx="3018">2.8332199999999998</cx:pt>
          <cx:pt idx="3019">13.1242499999999</cx:pt>
          <cx:pt idx="3020">13.1242499999999</cx:pt>
          <cx:pt idx="3021">13.1242499999999</cx:pt>
          <cx:pt idx="3022">13.1242499999999</cx:pt>
          <cx:pt idx="3023">7.0439199999999991</cx:pt>
          <cx:pt idx="3024">13.1242499999999</cx:pt>
          <cx:pt idx="3025">15.491739999999901</cx:pt>
          <cx:pt idx="3026">11.611199999999899</cx:pt>
          <cx:pt idx="3027">7.4359999999999999</cx:pt>
          <cx:pt idx="3028">11.3421599999999</cx:pt>
          <cx:pt idx="3029">13.1242499999999</cx:pt>
          <cx:pt idx="3030">15.04954</cx:pt>
          <cx:pt idx="3031">13.1242499999999</cx:pt>
          <cx:pt idx="3032">13.1242499999999</cx:pt>
          <cx:pt idx="3033">6.8171999999999997</cx:pt>
          <cx:pt idx="3034">13.1242499999999</cx:pt>
          <cx:pt idx="3035">13.1242499999999</cx:pt>
          <cx:pt idx="3036">13.1242499999999</cx:pt>
          <cx:pt idx="3037">11.625359999999899</cx:pt>
          <cx:pt idx="3038">18.778979999999901</cx:pt>
          <cx:pt idx="3039">15.491739999999901</cx:pt>
          <cx:pt idx="3040">13.1242499999999</cx:pt>
          <cx:pt idx="3041">13.1242499999999</cx:pt>
          <cx:pt idx="3042">13.1242499999999</cx:pt>
          <cx:pt idx="3043">12.3333599999999</cx:pt>
          <cx:pt idx="3044">15.04954</cx:pt>
          <cx:pt idx="3045">46.780669999999702</cx:pt>
          <cx:pt idx="3046">6.03059999999999</cx:pt>
          <cx:pt idx="3047">13.1242499999999</cx:pt>
          <cx:pt idx="3048">17.24098</cx:pt>
          <cx:pt idx="3049">13.1242499999999</cx:pt>
          <cx:pt idx="3050">13.1242499999999</cx:pt>
          <cx:pt idx="3051">12.839249999999899</cx:pt>
          <cx:pt idx="3052">19.240380000000002</cx:pt>
          <cx:pt idx="3053">13.1242499999999</cx:pt>
          <cx:pt idx="3054">13.1242499999999</cx:pt>
          <cx:pt idx="3055">13.1242499999999</cx:pt>
          <cx:pt idx="3056">12.98175</cx:pt>
          <cx:pt idx="3057">13.1242499999999</cx:pt>
          <cx:pt idx="3058">13.1242499999999</cx:pt>
          <cx:pt idx="3059">13.1242499999999</cx:pt>
          <cx:pt idx="3060">13.1242499999999</cx:pt>
          <cx:pt idx="3061">40.600569999999706</cx:pt>
          <cx:pt idx="3062">13.1242499999999</cx:pt>
          <cx:pt idx="3063">15.04954</cx:pt>
          <cx:pt idx="3064">35.495269999999898</cx:pt>
          <cx:pt idx="3065">13.1242499999999</cx:pt>
          <cx:pt idx="3066">13.1242499999999</cx:pt>
          <cx:pt idx="3067">13.1242499999999</cx:pt>
          <cx:pt idx="3068">15.04954</cx:pt>
          <cx:pt idx="3069">8.3959200000000003</cx:pt>
          <cx:pt idx="3070">15.04954</cx:pt>
          <cx:pt idx="3071">14.0406599999999</cx:pt>
          <cx:pt idx="3072">15.04954</cx:pt>
          <cx:pt idx="3073">15.04954</cx:pt>
          <cx:pt idx="3074">15.04954</cx:pt>
          <cx:pt idx="3075">15.04954</cx:pt>
          <cx:pt idx="3076">15.04954</cx:pt>
          <cx:pt idx="3077">13.1242499999999</cx:pt>
          <cx:pt idx="3078">37.913569999999702</cx:pt>
          <cx:pt idx="3079">15.786539999999999</cx:pt>
          <cx:pt idx="3080">15.04954</cx:pt>
          <cx:pt idx="3081">13.1242499999999</cx:pt>
          <cx:pt idx="3082">13.1242499999999</cx:pt>
          <cx:pt idx="3083">17.24098</cx:pt>
          <cx:pt idx="3084">11.3421599999999</cx:pt>
          <cx:pt idx="3085">13.1242499999999</cx:pt>
          <cx:pt idx="3086">41.7291099999997</cx:pt>
          <cx:pt idx="3087">13.1242499999999</cx:pt>
          <cx:pt idx="3088">11.625359999999899</cx:pt>
          <cx:pt idx="3089">35.495269999999898</cx:pt>
          <cx:pt idx="3090">3.08962</cx:pt>
          <cx:pt idx="3091">0.91021999999999992</cx:pt>
          <cx:pt idx="3092">13.1242499999999</cx:pt>
          <cx:pt idx="3093">17.24098</cx:pt>
          <cx:pt idx="3094">13.1242499999999</cx:pt>
          <cx:pt idx="3095">13.1242499999999</cx:pt>
          <cx:pt idx="3096">13.1242499999999</cx:pt>
          <cx:pt idx="3097">13.1242499999999</cx:pt>
          <cx:pt idx="3098">15.04954</cx:pt>
          <cx:pt idx="3099">4.6280199999999905</cx:pt>
          <cx:pt idx="3100">11.625359999999899</cx:pt>
          <cx:pt idx="3101">13.1242499999999</cx:pt>
          <cx:pt idx="3102">15.04954</cx:pt>
          <cx:pt idx="3103">13.1242499999999</cx:pt>
          <cx:pt idx="3104">13.1242499999999</cx:pt>
          <cx:pt idx="3105">18.778979999999901</cx:pt>
          <cx:pt idx="3106">13.1242499999999</cx:pt>
          <cx:pt idx="3107">13.1242499999999</cx:pt>
          <cx:pt idx="3108">13.1242499999999</cx:pt>
          <cx:pt idx="3109">15.04954</cx:pt>
          <cx:pt idx="3110">36.838769999999997</cx:pt>
          <cx:pt idx="3111">15.04954</cx:pt>
          <cx:pt idx="3112">13.1242499999999</cx:pt>
          <cx:pt idx="3113">14.0406599999999</cx:pt>
          <cx:pt idx="3114">40.600569999999706</cx:pt>
          <cx:pt idx="3115">11.625359999999899</cx:pt>
          <cx:pt idx="3116">11.625359999999899</cx:pt>
          <cx:pt idx="3117">13.1242499999999</cx:pt>
          <cx:pt idx="3118">13.606860000000001</cx:pt>
          <cx:pt idx="3119">15.04954</cx:pt>
          <cx:pt idx="3120">17.24098</cx:pt>
          <cx:pt idx="3121">13.1242499999999</cx:pt>
          <cx:pt idx="3122">13.1242499999999</cx:pt>
          <cx:pt idx="3123">15.04954</cx:pt>
          <cx:pt idx="3124">8.6663199999999989</cx:pt>
          <cx:pt idx="3125">13.1242499999999</cx:pt>
          <cx:pt idx="3126">35.495269999999898</cx:pt>
          <cx:pt idx="3127">11.625359999999899</cx:pt>
          <cx:pt idx="3128">13.1242499999999</cx:pt>
          <cx:pt idx="3129">15.04954</cx:pt>
          <cx:pt idx="3130">13.1242499999999</cx:pt>
          <cx:pt idx="3131">6.0437099999999999</cx:pt>
          <cx:pt idx="3132">15.04954</cx:pt>
          <cx:pt idx="3133">13.1242499999999</cx:pt>
          <cx:pt idx="3134">13.1242499999999</cx:pt>
          <cx:pt idx="3135">3.08962</cx:pt>
          <cx:pt idx="3136">17.702379999999902</cx:pt>
          <cx:pt idx="3137">13.1242499999999</cx:pt>
          <cx:pt idx="3138">13.606860000000001</cx:pt>
          <cx:pt idx="3139">13.1242499999999</cx:pt>
          <cx:pt idx="3140">43.287569999999697</cx:pt>
          <cx:pt idx="3141">17.24098</cx:pt>
          <cx:pt idx="3142">15.639140000000001</cx:pt>
          <cx:pt idx="3143">15.04954</cx:pt>
          <cx:pt idx="3144">10.0008</cx:pt>
          <cx:pt idx="3145">36.838769999999997</cx:pt>
          <cx:pt idx="3146">5.1279999999999903</cx:pt>
          <cx:pt idx="3147">5.5061999999999998</cx:pt>
          <cx:pt idx="3148">13.1242499999999</cx:pt>
          <cx:pt idx="3149">13.1242499999999</cx:pt>
          <cx:pt idx="3150">17.24098</cx:pt>
          <cx:pt idx="3151">15.04954</cx:pt>
          <cx:pt idx="3152">11.625359999999899</cx:pt>
          <cx:pt idx="3153">13.1242499999999</cx:pt>
          <cx:pt idx="3154">13.1242499999999</cx:pt>
          <cx:pt idx="3155">13.1242499999999</cx:pt>
          <cx:pt idx="3156">13.1242499999999</cx:pt>
          <cx:pt idx="3157">10.4175</cx:pt>
          <cx:pt idx="3158">15.786539999999999</cx:pt>
          <cx:pt idx="3159">6.6860999999999908</cx:pt>
          <cx:pt idx="3160">13.1242499999999</cx:pt>
          <cx:pt idx="3161">15.04954</cx:pt>
          <cx:pt idx="3162">13.1242499999999</cx:pt>
          <cx:pt idx="3163">13.1242499999999</cx:pt>
          <cx:pt idx="3164">15.04954</cx:pt>
          <cx:pt idx="3165">3.9998400000000198</cx:pt>
          <cx:pt idx="3166">15.786539999999999</cx:pt>
          <cx:pt idx="3167">13.1242499999999</cx:pt>
          <cx:pt idx="3168">36.005800000000001</cx:pt>
          <cx:pt idx="3169">2.5639999999999898</cx:pt>
          <cx:pt idx="3170">14.0406599999999</cx:pt>
          <cx:pt idx="3171">12.839249999999899</cx:pt>
          <cx:pt idx="3172">12.839249999999899</cx:pt>
          <cx:pt idx="3173">17.24098</cx:pt>
          <cx:pt idx="3174">3.4742199999999896</cx:pt>
          <cx:pt idx="3175">40.06317</cx:pt>
          <cx:pt idx="3176">15.04954</cx:pt>
          <cx:pt idx="3177">11.894399999999999</cx:pt>
          <cx:pt idx="3178">35.495269999999898</cx:pt>
          <cx:pt idx="3179">13.1242499999999</cx:pt>
          <cx:pt idx="3180">13.1242499999999</cx:pt>
          <cx:pt idx="3181">15.786539999999999</cx:pt>
          <cx:pt idx="3182">13.1242499999999</cx:pt>
          <cx:pt idx="3183">13.1242499999999</cx:pt>
          <cx:pt idx="3184">13.1242499999999</cx:pt>
          <cx:pt idx="3185">13.1242499999999</cx:pt>
          <cx:pt idx="3186">15.04954</cx:pt>
          <cx:pt idx="3187">13.1242499999999</cx:pt>
          <cx:pt idx="3188">11.625359999999899</cx:pt>
          <cx:pt idx="3189">11.625359999999899</cx:pt>
          <cx:pt idx="3190">15.04954</cx:pt>
          <cx:pt idx="3191">13.1242499999999</cx:pt>
          <cx:pt idx="3192">17.24098</cx:pt>
          <cx:pt idx="3193">13.1242499999999</cx:pt>
          <cx:pt idx="3194">13.1242499999999</cx:pt>
          <cx:pt idx="3195">17.24098</cx:pt>
          <cx:pt idx="3196">13.1242499999999</cx:pt>
          <cx:pt idx="3197">44.093669999999705</cx:pt>
          <cx:pt idx="3198">15.04954</cx:pt>
          <cx:pt idx="3199">4.6280199999999905</cx:pt>
          <cx:pt idx="3200">35.495269999999898</cx:pt>
          <cx:pt idx="3201">13.1242499999999</cx:pt>
          <cx:pt idx="3202">18.778979999999901</cx:pt>
          <cx:pt idx="3203">13.1242499999999</cx:pt>
          <cx:pt idx="3204">13.1242499999999</cx:pt>
          <cx:pt idx="3205">13.1242499999999</cx:pt>
          <cx:pt idx="3206">13.1242499999999</cx:pt>
          <cx:pt idx="3207">12.3333599999999</cx:pt>
          <cx:pt idx="3208">13.1242499999999</cx:pt>
          <cx:pt idx="3209">13.1242499999999</cx:pt>
          <cx:pt idx="3210">18.917400000000001</cx:pt>
          <cx:pt idx="3211">15.04954</cx:pt>
          <cx:pt idx="3212">37.376169999999995</cx:pt>
          <cx:pt idx="3213">18.778979999999901</cx:pt>
          <cx:pt idx="3214">13.1242499999999</cx:pt>
          <cx:pt idx="3215">13.1242499999999</cx:pt>
          <cx:pt idx="3216">15.04954</cx:pt>
          <cx:pt idx="3217">17.24098</cx:pt>
          <cx:pt idx="3218">13.1242499999999</cx:pt>
          <cx:pt idx="3219">7.1655999999999995</cx:pt>
          <cx:pt idx="3220">13.1242499999999</cx:pt>
          <cx:pt idx="3221">15.04954</cx:pt>
          <cx:pt idx="3222">4.3716200000000001</cx:pt>
          <cx:pt idx="3223">11.625359999999899</cx:pt>
          <cx:pt idx="3224">2.7050200000000002</cx:pt>
          <cx:pt idx="3225">4.9998000000000005</cx:pt>
          <cx:pt idx="3226">15.344340000000001</cx:pt>
          <cx:pt idx="3227">13.1242499999999</cx:pt>
          <cx:pt idx="3228">11.625359999999899</cx:pt>
          <cx:pt idx="3229">15.6244</cx:pt>
          <cx:pt idx="3230">13.1242499999999</cx:pt>
          <cx:pt idx="3231">6.8171999999999997</cx:pt>
          <cx:pt idx="3232">11.625359999999899</cx:pt>
          <cx:pt idx="3233">13.1242499999999</cx:pt>
          <cx:pt idx="3234">17.24098</cx:pt>
          <cx:pt idx="3235">13.1242499999999</cx:pt>
          <cx:pt idx="3236">15.19694</cx:pt>
          <cx:pt idx="3237">4.7433999999999994</cx:pt>
          <cx:pt idx="3238">13.1242499999999</cx:pt>
          <cx:pt idx="3239">13.1242499999999</cx:pt>
          <cx:pt idx="3240">13.1242499999999</cx:pt>
          <cx:pt idx="3241">13.1242499999999</cx:pt>
          <cx:pt idx="3242">13.1242499999999</cx:pt>
          <cx:pt idx="3243">18.778979999999901</cx:pt>
          <cx:pt idx="3244">3.8588200000000001</cx:pt>
          <cx:pt idx="3245">13.1242499999999</cx:pt>
          <cx:pt idx="3246">13.1242499999999</cx:pt>
          <cx:pt idx="3247">7.3008000000000006</cx:pt>
          <cx:pt idx="3248">15.04954</cx:pt>
          <cx:pt idx="3249">13.1242499999999</cx:pt>
          <cx:pt idx="3250">40.600569999999706</cx:pt>
          <cx:pt idx="3251">13.1242499999999</cx:pt>
          <cx:pt idx="3252">13.1242499999999</cx:pt>
          <cx:pt idx="3253">3.60242</cx:pt>
          <cx:pt idx="3254">13.1242499999999</cx:pt>
          <cx:pt idx="3255">15.491739999999901</cx:pt>
          <cx:pt idx="3256">15.04954</cx:pt>
          <cx:pt idx="3257">13.1242499999999</cx:pt>
          <cx:pt idx="3258">3.4742199999999896</cx:pt>
          <cx:pt idx="3259">13.1242499999999</cx:pt>
          <cx:pt idx="3260">13.1242499999999</cx:pt>
          <cx:pt idx="3261">15.04954</cx:pt>
          <cx:pt idx="3262">7.1655999999999995</cx:pt>
          <cx:pt idx="3263">15.344340000000001</cx:pt>
          <cx:pt idx="3264">13.1242499999999</cx:pt>
          <cx:pt idx="3265">11.611199999999899</cx:pt>
          <cx:pt idx="3266">18.778979999999901</cx:pt>
          <cx:pt idx="3267">13.1242499999999</cx:pt>
          <cx:pt idx="3268">15.04954</cx:pt>
          <cx:pt idx="3269">18.778979999999901</cx:pt>
          <cx:pt idx="3270">13.1242499999999</cx:pt>
          <cx:pt idx="3271">13.1242499999999</cx:pt>
          <cx:pt idx="3272">15.04954</cx:pt>
          <cx:pt idx="3273">13.1242499999999</cx:pt>
          <cx:pt idx="3274">12.3333599999999</cx:pt>
          <cx:pt idx="3275">13.1242499999999</cx:pt>
          <cx:pt idx="3276">13.1242499999999</cx:pt>
          <cx:pt idx="3277">11.625359999999899</cx:pt>
          <cx:pt idx="3278">15.04954</cx:pt>
          <cx:pt idx="3279">15.04954</cx:pt>
          <cx:pt idx="3280">13.1242499999999</cx:pt>
          <cx:pt idx="3281">13.1242499999999</cx:pt>
          <cx:pt idx="3282">13.1242499999999</cx:pt>
          <cx:pt idx="3283">11.625359999999899</cx:pt>
          <cx:pt idx="3284">9.3201899999999789</cx:pt>
          <cx:pt idx="3285">17.548580000000001</cx:pt>
          <cx:pt idx="3286">13.1242499999999</cx:pt>
          <cx:pt idx="3287">15.786539999999999</cx:pt>
          <cx:pt idx="3288">13.1242499999999</cx:pt>
          <cx:pt idx="3289">15.04954</cx:pt>
          <cx:pt idx="3290">13.1242499999999</cx:pt>
          <cx:pt idx="3291">13.1242499999999</cx:pt>
          <cx:pt idx="3292">11.625359999999899</cx:pt>
          <cx:pt idx="3293">13.1242499999999</cx:pt>
          <cx:pt idx="3294">18.778979999999901</cx:pt>
          <cx:pt idx="3295">17.24098</cx:pt>
          <cx:pt idx="3296">13.1242499999999</cx:pt>
          <cx:pt idx="3297">13.1242499999999</cx:pt>
          <cx:pt idx="3298">7.1655999999999995</cx:pt>
          <cx:pt idx="3299">13.1242499999999</cx:pt>
          <cx:pt idx="3300">4.7562199999999999</cx:pt>
          <cx:pt idx="3301">13.1242499999999</cx:pt>
          <cx:pt idx="3302">13.1242499999999</cx:pt>
          <cx:pt idx="3303">15.786539999999999</cx:pt>
          <cx:pt idx="3304">13.1242499999999</cx:pt>
          <cx:pt idx="3305">15.04954</cx:pt>
          <cx:pt idx="3306">11.625359999999899</cx:pt>
          <cx:pt idx="3307">13.1242499999999</cx:pt>
          <cx:pt idx="3308">15.04954</cx:pt>
          <cx:pt idx="3309">14.75474</cx:pt>
          <cx:pt idx="3310">15.04954</cx:pt>
          <cx:pt idx="3311">16.764200000000002</cx:pt>
          <cx:pt idx="3312">13.1242499999999</cx:pt>
          <cx:pt idx="3313">13.1242499999999</cx:pt>
          <cx:pt idx="3314">13.1242499999999</cx:pt>
          <cx:pt idx="3315">3.9870200000000002</cx:pt>
          <cx:pt idx="3316">13.1242499999999</cx:pt>
          <cx:pt idx="3317">15.19694</cx:pt>
          <cx:pt idx="3318">11.625359999999899</cx:pt>
          <cx:pt idx="3319">4.3588000000000005</cx:pt>
          <cx:pt idx="3320">15.04954</cx:pt>
          <cx:pt idx="3321">13.1242499999999</cx:pt>
          <cx:pt idx="3322">15.04954</cx:pt>
          <cx:pt idx="3323">11.625359999999899</cx:pt>
          <cx:pt idx="3324">17.24098</cx:pt>
          <cx:pt idx="3325">15.04954</cx:pt>
          <cx:pt idx="3326">18.778979999999901</cx:pt>
          <cx:pt idx="3327">11.625359999999899</cx:pt>
          <cx:pt idx="3328">11.625359999999899</cx:pt>
          <cx:pt idx="3329">4.8715999999999999</cx:pt>
          <cx:pt idx="3330">10.01469</cx:pt>
          <cx:pt idx="3331">13.1242499999999</cx:pt>
          <cx:pt idx="3332">12.319199999999899</cx:pt>
          <cx:pt idx="3333">15.04954</cx:pt>
          <cx:pt idx="3334">15.04954</cx:pt>
          <cx:pt idx="3335">15.04954</cx:pt>
          <cx:pt idx="3336">13.1242499999999</cx:pt>
          <cx:pt idx="3337">13.1242499999999</cx:pt>
          <cx:pt idx="3338">15.04954</cx:pt>
          <cx:pt idx="3339">13.1242499999999</cx:pt>
          <cx:pt idx="3340">13.1242499999999</cx:pt>
          <cx:pt idx="3341">13.1242499999999</cx:pt>
          <cx:pt idx="3342">13.1242499999999</cx:pt>
          <cx:pt idx="3343">13.1242499999999</cx:pt>
          <cx:pt idx="3344">13.1242499999999</cx:pt>
          <cx:pt idx="3345">43.287569999999697</cx:pt>
          <cx:pt idx="3346">10.7091899999999</cx:pt>
          <cx:pt idx="3347">18.778979999999901</cx:pt>
          <cx:pt idx="3348">12.050159999999901</cx:pt>
          <cx:pt idx="3349">13.1242499999999</cx:pt>
          <cx:pt idx="3350">11.625359999999899</cx:pt>
          <cx:pt idx="3351">13.1242499999999</cx:pt>
          <cx:pt idx="3352">11.625359999999899</cx:pt>
          <cx:pt idx="3353">13.1242499999999</cx:pt>
          <cx:pt idx="3354">13.1242499999999</cx:pt>
          <cx:pt idx="3355">39.525770000000001</cx:pt>
          <cx:pt idx="3356">11.625359999999899</cx:pt>
          <cx:pt idx="3357">13.1242499999999</cx:pt>
          <cx:pt idx="3358">10.834199999999999</cx:pt>
          <cx:pt idx="3359">15.786539999999999</cx:pt>
          <cx:pt idx="3360">18.778979999999901</cx:pt>
          <cx:pt idx="3361">17.24098</cx:pt>
          <cx:pt idx="3362">13.1242499999999</cx:pt>
          <cx:pt idx="3363">35.495269999999898</cx:pt>
          <cx:pt idx="3364">13.1242499999999</cx:pt>
          <cx:pt idx="3365">13.1242499999999</cx:pt>
          <cx:pt idx="3366">18.778979999999901</cx:pt>
          <cx:pt idx="3367">17.24098</cx:pt>
          <cx:pt idx="3368">13.1242499999999</cx:pt>
          <cx:pt idx="3369">15.04954</cx:pt>
          <cx:pt idx="3370">17.24098</cx:pt>
          <cx:pt idx="3371">6.03059999999999</cx:pt>
          <cx:pt idx="3372">17.24098</cx:pt>
          <cx:pt idx="3373">15.04954</cx:pt>
          <cx:pt idx="3374">2.7050200000000002</cx:pt>
          <cx:pt idx="3375">13.1242499999999</cx:pt>
          <cx:pt idx="3376">17.24098</cx:pt>
          <cx:pt idx="3377">13.1242499999999</cx:pt>
          <cx:pt idx="3378">7.5847200000000008</cx:pt>
          <cx:pt idx="3379">43.287569999999697</cx:pt>
          <cx:pt idx="3380">13.1242499999999</cx:pt>
          <cx:pt idx="3381">2.1922199999999998</cx:pt>
          <cx:pt idx="3382">35.495269999999898</cx:pt>
          <cx:pt idx="3383">11.625359999999899</cx:pt>
          <cx:pt idx="3384">11.625359999999899</cx:pt>
          <cx:pt idx="3385">38.988369999999698</cx:pt>
          <cx:pt idx="3386">15.04954</cx:pt>
          <cx:pt idx="3387">13.1242499999999</cx:pt>
          <cx:pt idx="3388">34.95787</cx:pt>
          <cx:pt idx="3389">13.1242499999999</cx:pt>
          <cx:pt idx="3390">4.3716200000000001</cx:pt>
          <cx:pt idx="3391">13.1242499999999</cx:pt>
          <cx:pt idx="3392">18.148399999999899</cx:pt>
          <cx:pt idx="3393">13.1242499999999</cx:pt>
          <cx:pt idx="3394">13.1242499999999</cx:pt>
          <cx:pt idx="3395">15.04954</cx:pt>
          <cx:pt idx="3396">2.5639999999999898</cx:pt>
          <cx:pt idx="3397">15.04954</cx:pt>
          <cx:pt idx="3398">13.1242499999999</cx:pt>
          <cx:pt idx="3399">11.625359999999899</cx:pt>
          <cx:pt idx="3400">5.2561999999999998</cx:pt>
          <cx:pt idx="3401">15.786539999999999</cx:pt>
          <cx:pt idx="3402">15.04954</cx:pt>
          <cx:pt idx="3403">13.1242499999999</cx:pt>
          <cx:pt idx="3404">15.04954</cx:pt>
          <cx:pt idx="3405">2.7050200000000002</cx:pt>
          <cx:pt idx="3406">13.1242499999999</cx:pt>
          <cx:pt idx="3407">13.1242499999999</cx:pt>
          <cx:pt idx="3408">11.625359999999899</cx:pt>
          <cx:pt idx="3409">36.032670000000003</cx:pt>
          <cx:pt idx="3410">11.625359999999899</cx:pt>
          <cx:pt idx="3411">17.24098</cx:pt>
          <cx:pt idx="3412">13.1242499999999</cx:pt>
          <cx:pt idx="3413">13.751459999999899</cx:pt>
          <cx:pt idx="3414">4.8715999999999999</cx:pt>
          <cx:pt idx="3415">14.18526</cx:pt>
          <cx:pt idx="3416">13.1242499999999</cx:pt>
          <cx:pt idx="3417">12.839249999999899</cx:pt>
          <cx:pt idx="3418">18.009979999999899</cx:pt>
          <cx:pt idx="3419">35.495269999999898</cx:pt>
          <cx:pt idx="3420">17.702379999999902</cx:pt>
          <cx:pt idx="3421">13.1242499999999</cx:pt>
          <cx:pt idx="3422">18.778979999999901</cx:pt>
          <cx:pt idx="3423">13.1242499999999</cx:pt>
          <cx:pt idx="3424">19.240380000000002</cx:pt>
          <cx:pt idx="3425">13.1242499999999</cx:pt>
          <cx:pt idx="3426">41.137970000000003</cx:pt>
          <cx:pt idx="3427">15.04954</cx:pt>
          <cx:pt idx="3428">13.1242499999999</cx:pt>
          <cx:pt idx="3429">12.3333599999999</cx:pt>
          <cx:pt idx="3430">13.1242499999999</cx:pt>
          <cx:pt idx="3431">17.24098</cx:pt>
          <cx:pt idx="3432">13.1242499999999</cx:pt>
          <cx:pt idx="3433">6.8171999999999997</cx:pt>
          <cx:pt idx="3434">18.778979999999901</cx:pt>
          <cx:pt idx="3435">15.04954</cx:pt>
          <cx:pt idx="3436">13.1242499999999</cx:pt>
          <cx:pt idx="3437">14.75474</cx:pt>
          <cx:pt idx="3438">15.04954</cx:pt>
          <cx:pt idx="3439">15.04954</cx:pt>
          <cx:pt idx="3440">18.778979999999901</cx:pt>
          <cx:pt idx="3441">11.625359999999899</cx:pt>
          <cx:pt idx="3442">2.7050200000000002</cx:pt>
          <cx:pt idx="3443">13.1242499999999</cx:pt>
          <cx:pt idx="3444">13.1242499999999</cx:pt>
          <cx:pt idx="3445">11.3421599999999</cx:pt>
          <cx:pt idx="3446">15.04954</cx:pt>
          <cx:pt idx="3447">13.1242499999999</cx:pt>
          <cx:pt idx="3448">13.1242499999999</cx:pt>
          <cx:pt idx="3449">8.9367199999999993</cx:pt>
          <cx:pt idx="3450">15.491739999999901</cx:pt>
          <cx:pt idx="3451">15.786539999999999</cx:pt>
          <cx:pt idx="3452">12.839249999999899</cx:pt>
          <cx:pt idx="3453">15.04954</cx:pt>
          <cx:pt idx="3454">11.625359999999899</cx:pt>
          <cx:pt idx="3455">15.04954</cx:pt>
          <cx:pt idx="3456">13.1242499999999</cx:pt>
          <cx:pt idx="3457">13.1242499999999</cx:pt>
          <cx:pt idx="3458">11.625359999999899</cx:pt>
          <cx:pt idx="3459">13.1242499999999</cx:pt>
          <cx:pt idx="3460">13.1242499999999</cx:pt>
          <cx:pt idx="3461">4.7433999999999994</cx:pt>
          <cx:pt idx="3462">12.839249999999899</cx:pt>
          <cx:pt idx="3463">13.1242499999999</cx:pt>
          <cx:pt idx="3464">13.1242499999999</cx:pt>
          <cx:pt idx="3465">15.04954</cx:pt>
          <cx:pt idx="3466">16.779579999999999</cx:pt>
          <cx:pt idx="3467">13.1242499999999</cx:pt>
          <cx:pt idx="3468">14.0406599999999</cx:pt>
          <cx:pt idx="3469">13.1242499999999</cx:pt>
          <cx:pt idx="3470">10.4175</cx:pt>
          <cx:pt idx="3471">13.1242499999999</cx:pt>
          <cx:pt idx="3472">15.04954</cx:pt>
          <cx:pt idx="3473">13.1242499999999</cx:pt>
          <cx:pt idx="3474">5.63729999999999</cx:pt>
          <cx:pt idx="3475">13.1242499999999</cx:pt>
          <cx:pt idx="3476">12.3333599999999</cx:pt>
          <cx:pt idx="3477">13.1242499999999</cx:pt>
          <cx:pt idx="3478">15.344340000000001</cx:pt>
          <cx:pt idx="3479">13.1242499999999</cx:pt>
          <cx:pt idx="3480">13.1242499999999</cx:pt>
          <cx:pt idx="3481">13.1242499999999</cx:pt>
          <cx:pt idx="3482">13.1242499999999</cx:pt>
          <cx:pt idx="3483">14.75474</cx:pt>
          <cx:pt idx="3484">12.616559999999899</cx:pt>
          <cx:pt idx="3485">11.625359999999899</cx:pt>
          <cx:pt idx="3486">15.04954</cx:pt>
          <cx:pt idx="3487">12.616559999999899</cx:pt>
          <cx:pt idx="3488">15.04954</cx:pt>
          <cx:pt idx="3489">14.040659999999999</cx:pt>
          <cx:pt idx="3490">47.291199999999698</cx:pt>
          <cx:pt idx="3491">13.1242499999999</cx:pt>
          <cx:pt idx="3492">13.1242499999999</cx:pt>
          <cx:pt idx="3493">13.1242499999999</cx:pt>
          <cx:pt idx="3494">43.287569999999697</cx:pt>
          <cx:pt idx="3495">13.1242499999999</cx:pt>
          <cx:pt idx="3496">15.04954</cx:pt>
          <cx:pt idx="3497">13.1242499999999</cx:pt>
          <cx:pt idx="3498">7.8415999999999997</cx:pt>
          <cx:pt idx="3499">13.1242499999999</cx:pt>
          <cx:pt idx="3500">13.1242499999999</cx:pt>
          <cx:pt idx="3501">11.625359999999899</cx:pt>
          <cx:pt idx="3502">13.1242499999999</cx:pt>
          <cx:pt idx="3503">13.606859999999902</cx:pt>
          <cx:pt idx="3504">13.1242499999999</cx:pt>
          <cx:pt idx="3505">18.778979999999901</cx:pt>
          <cx:pt idx="3506">13.1242499999999</cx:pt>
          <cx:pt idx="3507">13.1242499999999</cx:pt>
          <cx:pt idx="3508">13.1242499999999</cx:pt>
          <cx:pt idx="3509">9.3201899999999789</cx:pt>
          <cx:pt idx="3510">44.362369999999999</cx:pt>
          <cx:pt idx="3511">13.1242499999999</cx:pt>
          <cx:pt idx="3512">15.04954</cx:pt>
          <cx:pt idx="3513">13.1242499999999</cx:pt>
          <cx:pt idx="3514">17.24098</cx:pt>
          <cx:pt idx="3515">11.625359999999899</cx:pt>
          <cx:pt idx="3516">13.1242499999999</cx:pt>
          <cx:pt idx="3517">15.04954</cx:pt>
          <cx:pt idx="3518">17.548580000000001</cx:pt>
          <cx:pt idx="3519">15.04954</cx:pt>
          <cx:pt idx="3520">13.1242499999999</cx:pt>
          <cx:pt idx="3521">15.491739999999901</cx:pt>
          <cx:pt idx="3522">13.1242499999999</cx:pt>
          <cx:pt idx="3523">1.6794199999999999</cx:pt>
          <cx:pt idx="3524">13.1242499999999</cx:pt>
          <cx:pt idx="3525">11.625359999999899</cx:pt>
          <cx:pt idx="3526">12.3333599999999</cx:pt>
          <cx:pt idx="3527">15.04954</cx:pt>
          <cx:pt idx="3528">35.495269999999898</cx:pt>
          <cx:pt idx="3529">15.04954</cx:pt>
          <cx:pt idx="3530">13.1242499999999</cx:pt>
          <cx:pt idx="3531">13.1242499999999</cx:pt>
          <cx:pt idx="3532">12.616559999999899</cx:pt>
          <cx:pt idx="3533">40.600569999999706</cx:pt>
          <cx:pt idx="3534">11.625359999999899</cx:pt>
          <cx:pt idx="3535">13.1242499999999</cx:pt>
          <cx:pt idx="3536">13.1242499999999</cx:pt>
          <cx:pt idx="3537">8.67984000000002</cx:pt>
          <cx:pt idx="3538">15.786539999999999</cx:pt>
          <cx:pt idx="3539">12.839249999999899</cx:pt>
          <cx:pt idx="3540">17.425539999999902</cx:pt>
          <cx:pt idx="3541">13.1242499999999</cx:pt>
          <cx:pt idx="3542">13.1242499999999</cx:pt>
          <cx:pt idx="3543">13.1242499999999</cx:pt>
          <cx:pt idx="3544">11.625359999999899</cx:pt>
          <cx:pt idx="3545">17.24098</cx:pt>
          <cx:pt idx="3546">10.7091899999999</cx:pt>
          <cx:pt idx="3547">13.1242499999999</cx:pt>
          <cx:pt idx="3548">13.1242499999999</cx:pt>
          <cx:pt idx="3549">12.3333599999999</cx:pt>
          <cx:pt idx="3550">11.625359999999899</cx:pt>
          <cx:pt idx="3551">13.1242499999999</cx:pt>
          <cx:pt idx="3552">13.1242499999999</cx:pt>
          <cx:pt idx="3553">13.1242499999999</cx:pt>
          <cx:pt idx="3554">14.8873999999999</cx:pt>
          <cx:pt idx="3555">40.86927</cx:pt>
          <cx:pt idx="3556">13.1242499999999</cx:pt>
          <cx:pt idx="3557">56.722569999999692</cx:pt>
          <cx:pt idx="3558">10.7091899999999</cx:pt>
          <cx:pt idx="3559">15.491739999999901</cx:pt>
          <cx:pt idx="3560">7.4359999999999999</cx:pt>
          <cx:pt idx="3561">13.1242499999999</cx:pt>
          <cx:pt idx="3562">18.778979999999901</cx:pt>
          <cx:pt idx="3563">10.0146899999999</cx:pt>
          <cx:pt idx="3564">13.1242499999999</cx:pt>
          <cx:pt idx="3565">3.3588400000000198</cx:pt>
          <cx:pt idx="3566">4.3588000000000005</cx:pt>
          <cx:pt idx="3567">13.1242499999999</cx:pt>
          <cx:pt idx="3568">15.04954</cx:pt>
          <cx:pt idx="3569">11.625359999999899</cx:pt>
          <cx:pt idx="3570">15.344340000000001</cx:pt>
          <cx:pt idx="3571">13.1242499999999</cx:pt>
          <cx:pt idx="3572">11.625359999999899</cx:pt>
          <cx:pt idx="3573">13.1242499999999</cx:pt>
          <cx:pt idx="3574">11.625359999999899</cx:pt>
          <cx:pt idx="3575">19.547980000000003</cx:pt>
          <cx:pt idx="3576">15.04954</cx:pt>
          <cx:pt idx="3577">10.431389999999901</cx:pt>
          <cx:pt idx="3578">15.04954</cx:pt>
          <cx:pt idx="3579">11.625359999999899</cx:pt>
          <cx:pt idx="3580">15.786539999999999</cx:pt>
          <cx:pt idx="3581">17.24098</cx:pt>
          <cx:pt idx="3582">13.1242499999999</cx:pt>
          <cx:pt idx="3583">13.1242499999999</cx:pt>
          <cx:pt idx="3584">15.04954</cx:pt>
          <cx:pt idx="3585">13.1242499999999</cx:pt>
          <cx:pt idx="3586">13.1242499999999</cx:pt>
          <cx:pt idx="3587">13.1242499999999</cx:pt>
          <cx:pt idx="3588">15.04954</cx:pt>
          <cx:pt idx="3589">13.1242499999999</cx:pt>
          <cx:pt idx="3590">13.1242499999999</cx:pt>
          <cx:pt idx="3591">9.3201899999999789</cx:pt>
          <cx:pt idx="3592">13.1242499999999</cx:pt>
          <cx:pt idx="3593">13.1242499999999</cx:pt>
          <cx:pt idx="3594">8.9232000000000014</cx:pt>
          <cx:pt idx="3595">13.1242499999999</cx:pt>
          <cx:pt idx="3596">10.7091899999999</cx:pt>
          <cx:pt idx="3597">7.9903199999999996</cx:pt>
          <cx:pt idx="3598">13.1242499999999</cx:pt>
          <cx:pt idx="3599">15.04954</cx:pt>
          <cx:pt idx="3600">13.1242499999999</cx:pt>
          <cx:pt idx="3601">13.1242499999999</cx:pt>
          <cx:pt idx="3602">13.1242499999999</cx:pt>
          <cx:pt idx="3603">13.1242499999999</cx:pt>
          <cx:pt idx="3604">11.625359999999899</cx:pt>
          <cx:pt idx="3605">13.1242499999999</cx:pt>
          <cx:pt idx="3606">11.3421599999999</cx:pt>
          <cx:pt idx="3607">17.24098</cx:pt>
          <cx:pt idx="3608">11.894399999999999</cx:pt>
          <cx:pt idx="3609">13.1242499999999</cx:pt>
          <cx:pt idx="3610">13.1242499999999</cx:pt>
          <cx:pt idx="3611">13.1242499999999</cx:pt>
          <cx:pt idx="3612">13.1242499999999</cx:pt>
          <cx:pt idx="3613">13.1242499999999</cx:pt>
          <cx:pt idx="3614">13.1242499999999</cx:pt>
          <cx:pt idx="3615">17.702379999999902</cx:pt>
          <cx:pt idx="3616">13.1242499999999</cx:pt>
          <cx:pt idx="3617">13.1242499999999</cx:pt>
          <cx:pt idx="3618">18.778979999999901</cx:pt>
          <cx:pt idx="3619">13.1242499999999</cx:pt>
          <cx:pt idx="3620">11.625359999999899</cx:pt>
          <cx:pt idx="3621">13.1242499999999</cx:pt>
          <cx:pt idx="3622">11.625359999999899</cx:pt>
          <cx:pt idx="3623">13.1242499999999</cx:pt>
          <cx:pt idx="3624">34.662300000000002</cx:pt>
          <cx:pt idx="3625">6.1616999999999997</cx:pt>
          <cx:pt idx="3626">13.1242499999999</cx:pt>
          <cx:pt idx="3627">13.606859999999902</cx:pt>
          <cx:pt idx="3628">13.1242499999999</cx:pt>
          <cx:pt idx="3629">13.1242499999999</cx:pt>
          <cx:pt idx="3630">13.1242499999999</cx:pt>
          <cx:pt idx="3631">2.3204199999999999</cx:pt>
          <cx:pt idx="3632">6.0437099999999999</cx:pt>
          <cx:pt idx="3633">7.9767999999999892</cx:pt>
          <cx:pt idx="3634">13.1242499999999</cx:pt>
          <cx:pt idx="3635">13.1242499999999</cx:pt>
          <cx:pt idx="3636">13.1242499999999</cx:pt>
          <cx:pt idx="3637">13.1242499999999</cx:pt>
          <cx:pt idx="3638">15.04954</cx:pt>
          <cx:pt idx="3639">13.1242499999999</cx:pt>
          <cx:pt idx="3640">36.811899999999895</cx:pt>
          <cx:pt idx="3641">11.625359999999899</cx:pt>
          <cx:pt idx="3642">3.08962</cx:pt>
          <cx:pt idx="3643">13.1242499999999</cx:pt>
          <cx:pt idx="3644">11.625359999999899</cx:pt>
          <cx:pt idx="3645">18.009979999999899</cx:pt>
          <cx:pt idx="3646">13.1242499999999</cx:pt>
          <cx:pt idx="3647">13.1242499999999</cx:pt>
          <cx:pt idx="3648">13.1242499999999</cx:pt>
          <cx:pt idx="3649">15.04954</cx:pt>
          <cx:pt idx="3650">14.0406599999999</cx:pt>
          <cx:pt idx="3651">13.1242499999999</cx:pt>
          <cx:pt idx="3652">4.3716200000000001</cx:pt>
          <cx:pt idx="3653">17.24098</cx:pt>
          <cx:pt idx="3654">13.1242499999999</cx:pt>
          <cx:pt idx="3655">3.7178000000000004</cx:pt>
          <cx:pt idx="3656">13.1242499999999</cx:pt>
          <cx:pt idx="3657">11.3421599999999</cx:pt>
          <cx:pt idx="3658">15.04954</cx:pt>
          <cx:pt idx="3659">8.2742400000000202</cx:pt>
          <cx:pt idx="3660">9.5840999999999994</cx:pt>
          <cx:pt idx="3661">13.1242499999999</cx:pt>
          <cx:pt idx="3662">15.182200000000002</cx:pt>
          <cx:pt idx="3663">17.24098</cx:pt>
          <cx:pt idx="3664">15.04954</cx:pt>
          <cx:pt idx="3665">11.625359999999899</cx:pt>
          <cx:pt idx="3666">13.1242499999999</cx:pt>
          <cx:pt idx="3667">13.1242499999999</cx:pt>
          <cx:pt idx="3668">14.18526</cx:pt>
          <cx:pt idx="3669">13.1242499999999</cx:pt>
          <cx:pt idx="3670">13.1242499999999</cx:pt>
          <cx:pt idx="3671">13.1242499999999</cx:pt>
          <cx:pt idx="3672">13.1242499999999</cx:pt>
          <cx:pt idx="3673">5.5061999999999998</cx:pt>
          <cx:pt idx="3674">13.1242499999999</cx:pt>
          <cx:pt idx="3675">13.1242499999999</cx:pt>
          <cx:pt idx="3676">4.2434199999999995</cx:pt>
          <cx:pt idx="3677">13.1242499999999</cx:pt>
          <cx:pt idx="3678">34.689170000000004</cx:pt>
          <cx:pt idx="3679">13.1242499999999</cx:pt>
          <cx:pt idx="3680">18.3175799999999</cx:pt>
          <cx:pt idx="3681">13.1242499999999</cx:pt>
          <cx:pt idx="3682">13.1242499999999</cx:pt>
          <cx:pt idx="3683">17.24098</cx:pt>
          <cx:pt idx="3684">15.04954</cx:pt>
          <cx:pt idx="3685">13.1242499999999</cx:pt>
          <cx:pt idx="3686">13.1242499999999</cx:pt>
          <cx:pt idx="3687">15.04954</cx:pt>
          <cx:pt idx="3688">11.625359999999899</cx:pt>
          <cx:pt idx="3689">13.1242499999999</cx:pt>
          <cx:pt idx="3690">13.1242499999999</cx:pt>
          <cx:pt idx="3691">13.1242499999999</cx:pt>
          <cx:pt idx="3692">13.1242499999999</cx:pt>
          <cx:pt idx="3693">13.1242499999999</cx:pt>
          <cx:pt idx="3694">15.491739999999901</cx:pt>
          <cx:pt idx="3695">15.786539999999999</cx:pt>
          <cx:pt idx="3696">13.1242499999999</cx:pt>
          <cx:pt idx="3697">13.1242499999999</cx:pt>
          <cx:pt idx="3698">15.04954</cx:pt>
          <cx:pt idx="3699">13.1242499999999</cx:pt>
          <cx:pt idx="3700">15.04954</cx:pt>
          <cx:pt idx="3701">13.1242499999999</cx:pt>
          <cx:pt idx="3702">13.1242499999999</cx:pt>
          <cx:pt idx="3703">11.625359999999899</cx:pt>
          <cx:pt idx="3704">17.24098</cx:pt>
          <cx:pt idx="3705">13.1242499999999</cx:pt>
          <cx:pt idx="3706">13.1242499999999</cx:pt>
          <cx:pt idx="3707">13.1242499999999</cx:pt>
          <cx:pt idx="3708">13.1242499999999</cx:pt>
          <cx:pt idx="3709">10.986989999999899</cx:pt>
          <cx:pt idx="3710">13.1242499999999</cx:pt>
          <cx:pt idx="3711">13.1242499999999</cx:pt>
          <cx:pt idx="3712">15.04954</cx:pt>
          <cx:pt idx="3713">13.751459999999899</cx:pt>
          <cx:pt idx="3714">13.1242499999999</cx:pt>
          <cx:pt idx="3715">15.04954</cx:pt>
          <cx:pt idx="3716">13.606859999999902</cx:pt>
          <cx:pt idx="3717">13.1242499999999</cx:pt>
          <cx:pt idx="3718">13.1242499999999</cx:pt>
          <cx:pt idx="3719">13.1242499999999</cx:pt>
          <cx:pt idx="3720">15.04954</cx:pt>
          <cx:pt idx="3721">13.1242499999999</cx:pt>
          <cx:pt idx="3722">43.556270000000005</cx:pt>
          <cx:pt idx="3723">13.1242499999999</cx:pt>
          <cx:pt idx="3724">13.1242499999999</cx:pt>
          <cx:pt idx="3725">13.1242499999999</cx:pt>
          <cx:pt idx="3726">15.04954</cx:pt>
          <cx:pt idx="3727">13.1242499999999</cx:pt>
          <cx:pt idx="3728">3.60242</cx:pt>
          <cx:pt idx="3729">15.04954</cx:pt>
          <cx:pt idx="3730">13.1242499999999</cx:pt>
          <cx:pt idx="3731">13.1242499999999</cx:pt>
          <cx:pt idx="3732">11.625359999999899</cx:pt>
          <cx:pt idx="3733">13.1242499999999</cx:pt>
          <cx:pt idx="3734">13.751459999999998</cx:pt>
          <cx:pt idx="3735">13.1242499999999</cx:pt>
          <cx:pt idx="3736">3.9870200000000002</cx:pt>
          <cx:pt idx="3737">15.04954</cx:pt>
          <cx:pt idx="3738">13.1242499999999</cx:pt>
          <cx:pt idx="3739">17.24098</cx:pt>
          <cx:pt idx="3740">13.1242499999999</cx:pt>
          <cx:pt idx="3741">15.04954</cx:pt>
          <cx:pt idx="3742">15.04954</cx:pt>
          <cx:pt idx="3743">4.6408400000000194</cx:pt>
          <cx:pt idx="3744">13.1242499999999</cx:pt>
          <cx:pt idx="3745">14.0406599999999</cx:pt>
          <cx:pt idx="3746">9.3201899999999789</cx:pt>
          <cx:pt idx="3747">13.1242499999999</cx:pt>
          <cx:pt idx="3748">12.177599999999899</cx:pt>
          <cx:pt idx="3749">13.1242499999999</cx:pt>
          <cx:pt idx="3750">13.1242499999999</cx:pt>
          <cx:pt idx="3751">5.0126199999999894</cx:pt>
          <cx:pt idx="3752">43.287569999999697</cx:pt>
          <cx:pt idx="3753">13.1242499999999</cx:pt>
          <cx:pt idx="3754">15.04954</cx:pt>
          <cx:pt idx="3755">15.491739999999901</cx:pt>
          <cx:pt idx="3756">13.1242499999999</cx:pt>
          <cx:pt idx="3757">13.1242499999999</cx:pt>
          <cx:pt idx="3758">13.1242499999999</cx:pt>
          <cx:pt idx="3759">15.04954</cx:pt>
          <cx:pt idx="3760">15.786539999999999</cx:pt>
          <cx:pt idx="3761">17.24098</cx:pt>
          <cx:pt idx="3762">15.786539999999999</cx:pt>
          <cx:pt idx="3763">15.04954</cx:pt>
          <cx:pt idx="3764">17.24098</cx:pt>
          <cx:pt idx="3765">18.778979999999901</cx:pt>
          <cx:pt idx="3766">6.5549999999999997</cx:pt>
          <cx:pt idx="3767">13.1242499999999</cx:pt>
          <cx:pt idx="3768">12.3333599999999</cx:pt>
          <cx:pt idx="3769">15.04954</cx:pt>
          <cx:pt idx="3770">18.778979999999901</cx:pt>
          <cx:pt idx="3771">35.1997</cx:pt>
          <cx:pt idx="3772">7.7063999999999995</cx:pt>
          <cx:pt idx="3773">18.778979999999901</cx:pt>
          <cx:pt idx="3774">13.1242499999999</cx:pt>
          <cx:pt idx="3775">13.1242499999999</cx:pt>
          <cx:pt idx="3776">11.625359999999899</cx:pt>
          <cx:pt idx="3777">15.04954</cx:pt>
          <cx:pt idx="3778">17.24098</cx:pt>
          <cx:pt idx="3779">15.04954</cx:pt>
          <cx:pt idx="3780">5.1279999999999903</cx:pt>
          <cx:pt idx="3781">13.1242499999999</cx:pt>
          <cx:pt idx="3782">48.097299999999699</cx:pt>
          <cx:pt idx="3783">13.1242499999999</cx:pt>
          <cx:pt idx="3784">15.04954</cx:pt>
          <cx:pt idx="3785">13.1242499999999</cx:pt>
          <cx:pt idx="3786">13.1242499999999</cx:pt>
          <cx:pt idx="3787">1.55122</cx:pt>
          <cx:pt idx="3788">13.1242499999999</cx:pt>
          <cx:pt idx="3789">13.1242499999999</cx:pt>
          <cx:pt idx="3790">13.1242499999999</cx:pt>
          <cx:pt idx="3791">15.04954</cx:pt>
          <cx:pt idx="3792">13.1242499999999</cx:pt>
          <cx:pt idx="3793">35.495269999999898</cx:pt>
          <cx:pt idx="3794">3.08962</cx:pt>
          <cx:pt idx="3795">7.3008000000000006</cx:pt>
          <cx:pt idx="3796">15.04954</cx:pt>
          <cx:pt idx="3797">12.839249999999899</cx:pt>
          <cx:pt idx="3798">12.3333599999999</cx:pt>
          <cx:pt idx="3799">9.5979900000000011</cx:pt>
          <cx:pt idx="3800">17.24098</cx:pt>
          <cx:pt idx="3801">13.1242499999999</cx:pt>
          <cx:pt idx="3802">13.1242499999999</cx:pt>
          <cx:pt idx="3803">13.1242499999999</cx:pt>
          <cx:pt idx="3804">11.625359999999899</cx:pt>
          <cx:pt idx="3805">4.3716200000000001</cx:pt>
          <cx:pt idx="3806">13.1242499999999</cx:pt>
          <cx:pt idx="3807">17.24098</cx:pt>
          <cx:pt idx="3808">11.625359999999899</cx:pt>
          <cx:pt idx="3809">15.786539999999999</cx:pt>
          <cx:pt idx="3810">13.1242499999999</cx:pt>
          <cx:pt idx="3811">13.1242499999999</cx:pt>
          <cx:pt idx="3812">40.600569999999706</cx:pt>
          <cx:pt idx="3813">11.625359999999899</cx:pt>
          <cx:pt idx="3814">18.009979999999899</cx:pt>
          <cx:pt idx="3815">8.9502400000000204</cx:pt>
          <cx:pt idx="3816">15.04954</cx:pt>
          <cx:pt idx="3817">15.04954</cx:pt>
          <cx:pt idx="3818">18.778979999999901</cx:pt>
          <cx:pt idx="3819">3.08962</cx:pt>
          <cx:pt idx="3820">13.1242499999999</cx:pt>
          <cx:pt idx="3821">11.625359999999899</cx:pt>
          <cx:pt idx="3822">13.1242499999999</cx:pt>
          <cx:pt idx="3823">13.1242499999999</cx:pt>
          <cx:pt idx="3824">13.1242499999999</cx:pt>
          <cx:pt idx="3825">13.1242499999999</cx:pt>
          <cx:pt idx="3826">5.89949999999999</cx:pt>
          <cx:pt idx="3827">11.625359999999899</cx:pt>
          <cx:pt idx="3828">13.1242499999999</cx:pt>
          <cx:pt idx="3829">15.04954</cx:pt>
          <cx:pt idx="3830">13.1242499999999</cx:pt>
          <cx:pt idx="3831">18.778979999999901</cx:pt>
          <cx:pt idx="3832">10.6952999999999</cx:pt>
          <cx:pt idx="3833">13.1242499999999</cx:pt>
          <cx:pt idx="3834">13.1242499999999</cx:pt>
          <cx:pt idx="3835">15.491739999999901</cx:pt>
          <cx:pt idx="3836">15.04954</cx:pt>
          <cx:pt idx="3837">3.4742199999999896</cx:pt>
          <cx:pt idx="3838">3.49986000000002</cx:pt>
          <cx:pt idx="3839">13.1242499999999</cx:pt>
          <cx:pt idx="3840">13.1242499999999</cx:pt>
          <cx:pt idx="3841">17.24098</cx:pt>
          <cx:pt idx="3842">43.287569999999697</cx:pt>
          <cx:pt idx="3843">17.24098</cx:pt>
          <cx:pt idx="3844">15.04954</cx:pt>
          <cx:pt idx="3845">13.1242499999999</cx:pt>
          <cx:pt idx="3846">13.1242499999999</cx:pt>
          <cx:pt idx="3847">7.4359999999999999</cx:pt>
          <cx:pt idx="3848">9.3201899999999789</cx:pt>
          <cx:pt idx="3849">13.896059999999899</cx:pt>
          <cx:pt idx="3850">15.04954</cx:pt>
          <cx:pt idx="3851">13.1242499999999</cx:pt>
          <cx:pt idx="3852">7.1655999999999995</cx:pt>
          <cx:pt idx="3853">7.5982400000000201</cx:pt>
          <cx:pt idx="3854">17.24098</cx:pt>
          <cx:pt idx="3855">11.625359999999899</cx:pt>
          <cx:pt idx="3856">6.6860999999999908</cx:pt>
          <cx:pt idx="3857">15.04954</cx:pt>
          <cx:pt idx="3858">10.7091899999999</cx:pt>
          <cx:pt idx="3859">15.04954</cx:pt>
          <cx:pt idx="3860">13.1242499999999</cx:pt>
          <cx:pt idx="3861">15.04954</cx:pt>
          <cx:pt idx="3862">13.1242499999999</cx:pt>
          <cx:pt idx="3863">13.1242499999999</cx:pt>
          <cx:pt idx="3864">40.600569999999706</cx:pt>
          <cx:pt idx="3865">13.1242499999999</cx:pt>
          <cx:pt idx="3866">11.625359999999899</cx:pt>
          <cx:pt idx="3867">15.04954</cx:pt>
          <cx:pt idx="3868">6.6992099999999999</cx:pt>
          <cx:pt idx="3869">13.1242499999999</cx:pt>
          <cx:pt idx="3870">15.04954</cx:pt>
          <cx:pt idx="3871">13.1242499999999</cx:pt>
          <cx:pt idx="3872">13.1242499999999</cx:pt>
          <cx:pt idx="3873">15.04954</cx:pt>
          <cx:pt idx="3874">13.1242499999999</cx:pt>
          <cx:pt idx="3875">13.1242499999999</cx:pt>
          <cx:pt idx="3876">11.625359999999899</cx:pt>
          <cx:pt idx="3877">13.1242499999999</cx:pt>
          <cx:pt idx="3878">13.1242499999999</cx:pt>
          <cx:pt idx="3879">13.1242499999999</cx:pt>
          <cx:pt idx="3880">17.24098</cx:pt>
          <cx:pt idx="3881">12.050159999999901</cx:pt>
          <cx:pt idx="3882">13.1242499999999</cx:pt>
          <cx:pt idx="3883">13.1242499999999</cx:pt>
          <cx:pt idx="3884">13.1242499999999</cx:pt>
          <cx:pt idx="3885">15.491739999999901</cx:pt>
          <cx:pt idx="3886">5.63729999999999</cx:pt>
          <cx:pt idx="3887">13.1242499999999</cx:pt>
          <cx:pt idx="3888">13.1242499999999</cx:pt>
          <cx:pt idx="3889">13.1242499999999</cx:pt>
          <cx:pt idx="3890">13.1242499999999</cx:pt>
          <cx:pt idx="3891">17.702379999999902</cx:pt>
          <cx:pt idx="3892">3.9870200000000002</cx:pt>
          <cx:pt idx="3893">13.1242499999999</cx:pt>
          <cx:pt idx="3894">18.009979999999899</cx:pt>
          <cx:pt idx="3895">13.1242499999999</cx:pt>
          <cx:pt idx="3896">13.1242499999999</cx:pt>
          <cx:pt idx="3897">18.778979999999901</cx:pt>
          <cx:pt idx="3898">15.04954</cx:pt>
          <cx:pt idx="3899">13.1242499999999</cx:pt>
          <cx:pt idx="3900">46.5119699999997</cx:pt>
          <cx:pt idx="3901">5.2690199999999905</cx:pt>
          <cx:pt idx="3902">15.04954</cx:pt>
          <cx:pt idx="3903">13.1242499999999</cx:pt>
          <cx:pt idx="3904">13.1242499999999</cx:pt>
          <cx:pt idx="3905">19.240380000000002</cx:pt>
          <cx:pt idx="3906">13.1242499999999</cx:pt>
          <cx:pt idx="3907">13.1242499999999</cx:pt>
          <cx:pt idx="3908">17.24098</cx:pt>
          <cx:pt idx="3909">15.04954</cx:pt>
          <cx:pt idx="3910">15.04954</cx:pt>
          <cx:pt idx="3911">11.625359999999899</cx:pt>
          <cx:pt idx="3912">13.1242499999999</cx:pt>
          <cx:pt idx="3913">16.93338</cx:pt>
          <cx:pt idx="3914">40.600569999999706</cx:pt>
          <cx:pt idx="3915">15.04954</cx:pt>
          <cx:pt idx="3916">14.75474</cx:pt>
          <cx:pt idx="3917">2.8203999999999998</cx:pt>
          <cx:pt idx="3918">9.3201899999999789</cx:pt>
          <cx:pt idx="3919">12.3333599999999</cx:pt>
          <cx:pt idx="3920">11.625359999999899</cx:pt>
          <cx:pt idx="3921">11.625359999999899</cx:pt>
          <cx:pt idx="3922">43.287569999999697</cx:pt>
          <cx:pt idx="3923">18.778979999999901</cx:pt>
          <cx:pt idx="3924">13.1242499999999</cx:pt>
          <cx:pt idx="3925">12.839249999999899</cx:pt>
          <cx:pt idx="3926">13.1242499999999</cx:pt>
          <cx:pt idx="3927">16.625780000000002</cx:pt>
          <cx:pt idx="3928">45.141599999999997</cx:pt>
          <cx:pt idx="3929">6.0437099999999999</cx:pt>
          <cx:pt idx="3930">15.04954</cx:pt>
          <cx:pt idx="3931">18.778979999999901</cx:pt>
          <cx:pt idx="3932">15.04954</cx:pt>
          <cx:pt idx="3933">13.1242499999999</cx:pt>
          <cx:pt idx="3934">13.1242499999999</cx:pt>
          <cx:pt idx="3935">13.1242499999999</cx:pt>
          <cx:pt idx="3936">55.889599999999696</cx:pt>
          <cx:pt idx="3937">13.1242499999999</cx:pt>
          <cx:pt idx="3938">13.1242499999999</cx:pt>
          <cx:pt idx="3939">13.1242499999999</cx:pt>
          <cx:pt idx="3940">13.1242499999999</cx:pt>
          <cx:pt idx="3941">15.04954</cx:pt>
          <cx:pt idx="3942">13.1242499999999</cx:pt>
          <cx:pt idx="3943">15.04954</cx:pt>
          <cx:pt idx="3944">15.04954</cx:pt>
          <cx:pt idx="3945">15.04954</cx:pt>
          <cx:pt idx="3946">3.0768</cx:pt>
          <cx:pt idx="3947">13.1242499999999</cx:pt>
          <cx:pt idx="3948">17.24098</cx:pt>
          <cx:pt idx="3949">17.856179999999998</cx:pt>
          <cx:pt idx="3950">13.1242499999999</cx:pt>
          <cx:pt idx="3951">11.625359999999899</cx:pt>
          <cx:pt idx="3952">13.1242499999999</cx:pt>
          <cx:pt idx="3953">15.04954</cx:pt>
          <cx:pt idx="3954">13.1242499999999</cx:pt>
          <cx:pt idx="3955">15.04954</cx:pt>
          <cx:pt idx="3956">36.838769999999997</cx:pt>
          <cx:pt idx="3957">9.0583999999999989</cx:pt>
          <cx:pt idx="3958">13.1242499999999</cx:pt>
          <cx:pt idx="3959">17.548580000000001</cx:pt>
          <cx:pt idx="3960">38.182270000000003</cx:pt>
          <cx:pt idx="3961">15.04954</cx:pt>
          <cx:pt idx="3962">15.04954</cx:pt>
          <cx:pt idx="3963">15.04954</cx:pt>
          <cx:pt idx="3964">17.24098</cx:pt>
          <cx:pt idx="3965">13.1242499999999</cx:pt>
          <cx:pt idx="3966">10.431389999999901</cx:pt>
          <cx:pt idx="3967">12.3333599999999</cx:pt>
          <cx:pt idx="3968">18.4713799999999</cx:pt>
          <cx:pt idx="3969">13.1242499999999</cx:pt>
          <cx:pt idx="3970">11.625359999999899</cx:pt>
          <cx:pt idx="3971">1.42302</cx:pt>
          <cx:pt idx="3972">56.722569999999692</cx:pt>
          <cx:pt idx="3973">15.04954</cx:pt>
          <cx:pt idx="3974">13.1242499999999</cx:pt>
          <cx:pt idx="3975">1.55122</cx:pt>
          <cx:pt idx="3976">13.1242499999999</cx:pt>
          <cx:pt idx="3977">13.1242499999999</cx:pt>
          <cx:pt idx="3978">13.1242499999999</cx:pt>
          <cx:pt idx="3979">11.625359999999899</cx:pt>
          <cx:pt idx="3980">35.495269999999898</cx:pt>
          <cx:pt idx="3981">13.1242499999999</cx:pt>
          <cx:pt idx="3982">40.600569999999706</cx:pt>
          <cx:pt idx="3983">13.1242499999999</cx:pt>
          <cx:pt idx="3984">13.1242499999999</cx:pt>
          <cx:pt idx="3985">11.625359999999899</cx:pt>
          <cx:pt idx="3986">13.1242499999999</cx:pt>
          <cx:pt idx="3987">13.1242499999999</cx:pt>
          <cx:pt idx="3988">15.04954</cx:pt>
          <cx:pt idx="3989">13.1242499999999</cx:pt>
          <cx:pt idx="3990">13.1242499999999</cx:pt>
          <cx:pt idx="3991">13.1242499999999</cx:pt>
          <cx:pt idx="3992">13.1242499999999</cx:pt>
          <cx:pt idx="3993">15.19694</cx:pt>
          <cx:pt idx="3994">13.1242499999999</cx:pt>
          <cx:pt idx="3995">13.1242499999999</cx:pt>
          <cx:pt idx="3996">13.1242499999999</cx:pt>
          <cx:pt idx="3997">15.04954</cx:pt>
          <cx:pt idx="3998">13.1242499999999</cx:pt>
          <cx:pt idx="3999">13.1242499999999</cx:pt>
          <cx:pt idx="4000">13.1242499999999</cx:pt>
          <cx:pt idx="4001">15.344340000000001</cx:pt>
          <cx:pt idx="4002">13.1242499999999</cx:pt>
          <cx:pt idx="4003">15.04954</cx:pt>
          <cx:pt idx="4004">13.1242499999999</cx:pt>
          <cx:pt idx="4005">37.91357</cx:pt>
          <cx:pt idx="4006">13.1242499999999</cx:pt>
          <cx:pt idx="4007">11.625359999999899</cx:pt>
          <cx:pt idx="4008">12.61656</cx:pt>
          <cx:pt idx="4009">13.1242499999999</cx:pt>
          <cx:pt idx="4010">13.1242499999999</cx:pt>
          <cx:pt idx="4011">15.04954</cx:pt>
          <cx:pt idx="4012">13.1242499999999</cx:pt>
          <cx:pt idx="4013">13.1242499999999</cx:pt>
          <cx:pt idx="4014">10.7091899999999</cx:pt>
          <cx:pt idx="4015">15.04954</cx:pt>
          <cx:pt idx="4016">11.625359999999899</cx:pt>
          <cx:pt idx="4017">17.24098</cx:pt>
          <cx:pt idx="4018">13.1242499999999</cx:pt>
          <cx:pt idx="4019">11.625359999999899</cx:pt>
          <cx:pt idx="4020">13.1242499999999</cx:pt>
          <cx:pt idx="4021">13.1242499999999</cx:pt>
          <cx:pt idx="4022">13.1242499999999</cx:pt>
          <cx:pt idx="4023">13.1242499999999</cx:pt>
          <cx:pt idx="4024">11.625359999999899</cx:pt>
          <cx:pt idx="4025">13.1242499999999</cx:pt>
          <cx:pt idx="4026">11.625359999999899</cx:pt>
          <cx:pt idx="4027">11.625359999999899</cx:pt>
          <cx:pt idx="4028">11.625359999999899</cx:pt>
          <cx:pt idx="4029">1.42302</cx:pt>
          <cx:pt idx="4030">3.9870200000000002</cx:pt>
          <cx:pt idx="4031">13.1242499999999</cx:pt>
          <cx:pt idx="4032">40.600569999999706</cx:pt>
          <cx:pt idx="4033">13.1242499999999</cx:pt>
          <cx:pt idx="4034">17.24098</cx:pt>
          <cx:pt idx="4035">12.3333599999999</cx:pt>
          <cx:pt idx="4036">13.1242499999999</cx:pt>
          <cx:pt idx="4037">11.752799999999999</cx:pt>
          <cx:pt idx="4038">40.600569999999706</cx:pt>
          <cx:pt idx="4039">17.24098</cx:pt>
          <cx:pt idx="4040">15.04954</cx:pt>
          <cx:pt idx="4041">12.616559999999899</cx:pt>
          <cx:pt idx="4042">10.139699999999999</cx:pt>
          <cx:pt idx="4043">4.1023999999999994</cx:pt>
          <cx:pt idx="4044">13.1242499999999</cx:pt>
          <cx:pt idx="4045">13.1242499999999</cx:pt>
          <cx:pt idx="4046">18.778979999999901</cx:pt>
          <cx:pt idx="4047">13.1242499999999</cx:pt>
          <cx:pt idx="4048">4.4870000000000001</cx:pt>
          <cx:pt idx="4049">2.5639999999999898</cx:pt>
          <cx:pt idx="4050">13.1242499999999</cx:pt>
          <cx:pt idx="4051">13.1242499999999</cx:pt>
          <cx:pt idx="4052">10.834199999999999</cx:pt>
          <cx:pt idx="4053">6.8171999999999997</cx:pt>
          <cx:pt idx="4054">13.1242499999999</cx:pt>
          <cx:pt idx="4055">11.625359999999899</cx:pt>
          <cx:pt idx="4056">12.839249999999899</cx:pt>
          <cx:pt idx="4057">15.04954</cx:pt>
          <cx:pt idx="4058">11.625359999999899</cx:pt>
          <cx:pt idx="4059">8.6527999999999992</cx:pt>
          <cx:pt idx="4060">15.04954</cx:pt>
          <cx:pt idx="4061">3.9870200000000002</cx:pt>
          <cx:pt idx="4062">15.04954</cx:pt>
          <cx:pt idx="4063">13.1242499999999</cx:pt>
          <cx:pt idx="4064">13.1242499999999</cx:pt>
          <cx:pt idx="4065">13.1242499999999</cx:pt>
          <cx:pt idx="4066">15.04954</cx:pt>
          <cx:pt idx="4067">15.04954</cx:pt>
          <cx:pt idx="4068">13.1242499999999</cx:pt>
          <cx:pt idx="4069">11.625359999999899</cx:pt>
          <cx:pt idx="4070">13.1242499999999</cx:pt>
          <cx:pt idx="4071">13.1242499999999</cx:pt>
          <cx:pt idx="4072">11.625359999999899</cx:pt>
          <cx:pt idx="4073">18.778979999999901</cx:pt>
          <cx:pt idx="4074">5.89949999999999</cx:pt>
          <cx:pt idx="4075">13.1242499999999</cx:pt>
          <cx:pt idx="4076">15.04954</cx:pt>
          <cx:pt idx="4077">13.1242499999999</cx:pt>
          <cx:pt idx="4078">15.04954</cx:pt>
          <cx:pt idx="4079">13.1242499999999</cx:pt>
          <cx:pt idx="4080">15.04954</cx:pt>
          <cx:pt idx="4081">18.009979999999899</cx:pt>
          <cx:pt idx="4082">15.04954</cx:pt>
          <cx:pt idx="4083">13.1242499999999</cx:pt>
          <cx:pt idx="4084">13.1242499999999</cx:pt>
          <cx:pt idx="4085">13.1242499999999</cx:pt>
          <cx:pt idx="4086">15.04954</cx:pt>
          <cx:pt idx="4087">13.1242499999999</cx:pt>
          <cx:pt idx="4088">17.24098</cx:pt>
          <cx:pt idx="4089">15.04954</cx:pt>
          <cx:pt idx="4090">15.04954</cx:pt>
          <cx:pt idx="4091">13.1242499999999</cx:pt>
          <cx:pt idx="4092">14.75474</cx:pt>
          <cx:pt idx="4093">13.1242499999999</cx:pt>
          <cx:pt idx="4094">13.1242499999999</cx:pt>
          <cx:pt idx="4095">13.1242499999999</cx:pt>
          <cx:pt idx="4096">13.1242499999999</cx:pt>
          <cx:pt idx="4097">40.600569999999706</cx:pt>
          <cx:pt idx="4098">13.1242499999999</cx:pt>
          <cx:pt idx="4099">9.722999999999999</cx:pt>
          <cx:pt idx="4100">13.1242499999999</cx:pt>
          <cx:pt idx="4101">13.1242499999999</cx:pt>
          <cx:pt idx="4102">13.1242499999999</cx:pt>
          <cx:pt idx="4103">13.1242499999999</cx:pt>
          <cx:pt idx="4104">5.7683999999999997</cx:pt>
          <cx:pt idx="4105">13.1242499999999</cx:pt>
          <cx:pt idx="4106">13.1242499999999</cx:pt>
          <cx:pt idx="4107">11.625359999999899</cx:pt>
          <cx:pt idx="4108">13.1242499999999</cx:pt>
          <cx:pt idx="4109">13.1242499999999</cx:pt>
          <cx:pt idx="4110">13.1242499999999</cx:pt>
          <cx:pt idx="4111">13.1242499999999</cx:pt>
          <cx:pt idx="4112">13.1242499999999</cx:pt>
          <cx:pt idx="4113">13.1242499999999</cx:pt>
          <cx:pt idx="4114">10.7091899999999</cx:pt>
          <cx:pt idx="4115">13.1242499999999</cx:pt>
          <cx:pt idx="4116">12.839249999999899</cx:pt>
          <cx:pt idx="4117">15.04954</cx:pt>
          <cx:pt idx="4118">18.778979999999901</cx:pt>
          <cx:pt idx="4119">13.1242499999999</cx:pt>
          <cx:pt idx="4120">13.1242499999999</cx:pt>
          <cx:pt idx="4121">13.1242499999999</cx:pt>
          <cx:pt idx="4122">11.625359999999899</cx:pt>
          <cx:pt idx="4123">14.75474</cx:pt>
          <cx:pt idx="4124">11.3421599999999</cx:pt>
          <cx:pt idx="4125">14.75474</cx:pt>
          <cx:pt idx="4126">13.1242499999999</cx:pt>
          <cx:pt idx="4127">15.04954</cx:pt>
          <cx:pt idx="4128">13.1242499999999</cx:pt>
          <cx:pt idx="4129">11.625359999999899</cx:pt>
          <cx:pt idx="4130">15.786539999999999</cx:pt>
          <cx:pt idx="4131">17.24098</cx:pt>
          <cx:pt idx="4132">11.625359999999899</cx:pt>
          <cx:pt idx="4133">18.009979999999899</cx:pt>
          <cx:pt idx="4134">15.344340000000001</cx:pt>
          <cx:pt idx="4135">15.04954</cx:pt>
          <cx:pt idx="4136">13.1242499999999</cx:pt>
          <cx:pt idx="4137">15.04954</cx:pt>
          <cx:pt idx="4138">13.1242499999999</cx:pt>
          <cx:pt idx="4139">13.1242499999999</cx:pt>
          <cx:pt idx="4140">13.1242499999999</cx:pt>
          <cx:pt idx="4141">13.1242499999999</cx:pt>
          <cx:pt idx="4142">15.04954</cx:pt>
          <cx:pt idx="4143">13.1242499999999</cx:pt>
          <cx:pt idx="4144">10.7091899999999</cx:pt>
          <cx:pt idx="4145">15.491739999999901</cx:pt>
          <cx:pt idx="4146">11.3421599999999</cx:pt>
          <cx:pt idx="4147">11.625359999999899</cx:pt>
          <cx:pt idx="4148">13.1242499999999</cx:pt>
          <cx:pt idx="4149">13.1242499999999</cx:pt>
          <cx:pt idx="4150">13.1242499999999</cx:pt>
          <cx:pt idx="4151">13.1242499999999</cx:pt>
          <cx:pt idx="4152">12.3333599999999</cx:pt>
          <cx:pt idx="4153">13.1242499999999</cx:pt>
          <cx:pt idx="4154">17.548580000000001</cx:pt>
          <cx:pt idx="4155">15.04954</cx:pt>
          <cx:pt idx="4156">13.1242499999999</cx:pt>
          <cx:pt idx="4157">11.625359999999899</cx:pt>
          <cx:pt idx="4158">15.19694</cx:pt>
          <cx:pt idx="4159">11.625359999999899</cx:pt>
          <cx:pt idx="4160">3.2050000000000001</cx:pt>
          <cx:pt idx="4161">15.04954</cx:pt>
          <cx:pt idx="4162">5.5061999999999998</cx:pt>
          <cx:pt idx="4163">15.04954</cx:pt>
          <cx:pt idx="4164">13.1242499999999</cx:pt>
          <cx:pt idx="4165">13.1242499999999</cx:pt>
          <cx:pt idx="4166">7.9903199999999996</cx:pt>
          <cx:pt idx="4167">15.04954</cx:pt>
          <cx:pt idx="4168">13.1242499999999</cx:pt>
          <cx:pt idx="4169">18.7636</cx:pt>
          <cx:pt idx="4170">11.625359999999899</cx:pt>
          <cx:pt idx="4171">13.1242499999999</cx:pt>
          <cx:pt idx="4172">3.8460000000000001</cx:pt>
          <cx:pt idx="4173">13.1242499999999</cx:pt>
          <cx:pt idx="4174">12.839249999999899</cx:pt>
          <cx:pt idx="4175">13.1242499999999</cx:pt>
          <cx:pt idx="4176">13.1242499999999</cx:pt>
          <cx:pt idx="4177">37.913569999999702</cx:pt>
          <cx:pt idx="4178">9.3201899999999789</cx:pt>
          <cx:pt idx="4179">13.1242499999999</cx:pt>
          <cx:pt idx="4180">13.1242499999999</cx:pt>
          <cx:pt idx="4181">11.625359999999899</cx:pt>
          <cx:pt idx="4182">15.04954</cx:pt>
          <cx:pt idx="4183">13.1242499999999</cx:pt>
          <cx:pt idx="4184">14.1852599999999</cx:pt>
          <cx:pt idx="4185">13.1242499999999</cx:pt>
          <cx:pt idx="4186">10.6952999999999</cx:pt>
          <cx:pt idx="4187">13.1242499999999</cx:pt>
          <cx:pt idx="4188">13.1242499999999</cx:pt>
          <cx:pt idx="4189">12.839249999999899</cx:pt>
          <cx:pt idx="4190">40.06317</cx:pt>
          <cx:pt idx="4191">13.1242499999999</cx:pt>
          <cx:pt idx="4192">13.1242499999999</cx:pt>
          <cx:pt idx="4193">13.1242499999999</cx:pt>
          <cx:pt idx="4194">13.1242499999999</cx:pt>
          <cx:pt idx="4195">13.1242499999999</cx:pt>
          <cx:pt idx="4196">10.0146899999999</cx:pt>
          <cx:pt idx="4197">11.625359999999899</cx:pt>
          <cx:pt idx="4198">15.344340000000001</cx:pt>
          <cx:pt idx="4199">13.1242499999999</cx:pt>
          <cx:pt idx="4200">13.1242499999999</cx:pt>
          <cx:pt idx="4201">17.24098</cx:pt>
          <cx:pt idx="4202">15.04954</cx:pt>
          <cx:pt idx="4203">4.8715999999999999</cx:pt>
          <cx:pt idx="4204">35.495269999999898</cx:pt>
          <cx:pt idx="4205">18.778979999999901</cx:pt>
          <cx:pt idx="4206">14.75474</cx:pt>
          <cx:pt idx="4207">10.6952999999999</cx:pt>
          <cx:pt idx="4208">18.778979999999901</cx:pt>
          <cx:pt idx="4209">17.24098</cx:pt>
          <cx:pt idx="4210">10.0146899999999</cx:pt>
          <cx:pt idx="4211">13.1242499999999</cx:pt>
          <cx:pt idx="4212">1.42302</cx:pt>
          <cx:pt idx="4213">13.1242499999999</cx:pt>
          <cx:pt idx="4214">15.04954</cx:pt>
          <cx:pt idx="4215">15.04954</cx:pt>
          <cx:pt idx="4216">11.625359999999899</cx:pt>
          <cx:pt idx="4217">13.1242499999999</cx:pt>
          <cx:pt idx="4218">13.1242499999999</cx:pt>
          <cx:pt idx="4219">13.1242499999999</cx:pt>
          <cx:pt idx="4220">7.3008000000000006</cx:pt>
          <cx:pt idx="4221">8.3823999999999987</cx:pt>
          <cx:pt idx="4222">13.1242499999999</cx:pt>
          <cx:pt idx="4223">11.625359999999899</cx:pt>
          <cx:pt idx="4224">13.1242499999999</cx:pt>
          <cx:pt idx="4225">14.0406599999999</cx:pt>
          <cx:pt idx="4226">13.1242499999999</cx:pt>
          <cx:pt idx="4227">15.786539999999999</cx:pt>
          <cx:pt idx="4228">15.04954</cx:pt>
          <cx:pt idx="4229">3.8460000000000001</cx:pt>
          <cx:pt idx="4230">13.1242499999999</cx:pt>
          <cx:pt idx="4231">15.04954</cx:pt>
          <cx:pt idx="4232">15.04954</cx:pt>
          <cx:pt idx="4233">13.1242499999999</cx:pt>
          <cx:pt idx="4234">18.948160000000001</cx:pt>
          <cx:pt idx="4235">13.1242499999999</cx:pt>
          <cx:pt idx="4236">15.04954</cx:pt>
          <cx:pt idx="4237">17.24098</cx:pt>
          <cx:pt idx="4238">13.1242499999999</cx:pt>
          <cx:pt idx="4239">12.839249999999899</cx:pt>
          <cx:pt idx="4240">11.625359999999899</cx:pt>
          <cx:pt idx="4241">13.1242499999999</cx:pt>
          <cx:pt idx="4242">35.495269999999898</cx:pt>
          <cx:pt idx="4243">10.6952999999999</cx:pt>
          <cx:pt idx="4244">11.625359999999899</cx:pt>
          <cx:pt idx="4245">3.08962</cx:pt>
          <cx:pt idx="4246">13.1242499999999</cx:pt>
          <cx:pt idx="4247">13.1242499999999</cx:pt>
          <cx:pt idx="4248">15.04954</cx:pt>
          <cx:pt idx="4249">11.625359999999899</cx:pt>
          <cx:pt idx="4250">11.625359999999899</cx:pt>
          <cx:pt idx="4251">13.1242499999999</cx:pt>
          <cx:pt idx="4252">13.1242499999999</cx:pt>
          <cx:pt idx="4253">13.1242499999999</cx:pt>
          <cx:pt idx="4254">10.0146899999999</cx:pt>
          <cx:pt idx="4255">18.778979999999901</cx:pt>
          <cx:pt idx="4256">17.702379999999902</cx:pt>
          <cx:pt idx="4257">13.1242499999999</cx:pt>
          <cx:pt idx="4258">13.1242499999999</cx:pt>
          <cx:pt idx="4259">13.1242499999999</cx:pt>
          <cx:pt idx="4260">13.1242499999999</cx:pt>
          <cx:pt idx="4261">13.1242499999999</cx:pt>
          <cx:pt idx="4262">17.2256</cx:pt>
          <cx:pt idx="4263">12.3333599999999</cx:pt>
          <cx:pt idx="4264">18.778979999999901</cx:pt>
          <cx:pt idx="4265">15.04954</cx:pt>
          <cx:pt idx="4266">10.7091899999999</cx:pt>
          <cx:pt idx="4267">13.1242499999999</cx:pt>
          <cx:pt idx="4268">9.5840999999999994</cx:pt>
          <cx:pt idx="4269">15.04954</cx:pt>
          <cx:pt idx="4270">13.1242499999999</cx:pt>
          <cx:pt idx="4271">13.606859999999902</cx:pt>
          <cx:pt idx="4272">18.778979999999901</cx:pt>
          <cx:pt idx="4273">13.1242499999999</cx:pt>
          <cx:pt idx="4274">13.1242499999999</cx:pt>
          <cx:pt idx="4275">4.7433999999999994</cx:pt>
          <cx:pt idx="4276">15.04954</cx:pt>
          <cx:pt idx="4277">15.04954</cx:pt>
          <cx:pt idx="4278">15.04954</cx:pt>
          <cx:pt idx="4279">13.1242499999999</cx:pt>
          <cx:pt idx="4280">12.3333599999999</cx:pt>
          <cx:pt idx="4281">13.1242499999999</cx:pt>
          <cx:pt idx="4282">13.1242499999999</cx:pt>
          <cx:pt idx="4283">35.495269999999898</cx:pt>
          <cx:pt idx="4284">12.460799999999999</cx:pt>
          <cx:pt idx="4285">40.600569999999706</cx:pt>
          <cx:pt idx="4286">12.3333599999999</cx:pt>
          <cx:pt idx="4287">15.04954</cx:pt>
          <cx:pt idx="4288">17.24098</cx:pt>
          <cx:pt idx="4289">15.639140000000001</cx:pt>
          <cx:pt idx="4290">15.771799999999999</cx:pt>
          <cx:pt idx="4291">17.24098</cx:pt>
          <cx:pt idx="4292">13.1242499999999</cx:pt>
          <cx:pt idx="4293">5.0126199999999894</cx:pt>
          <cx:pt idx="4294">15.04954</cx:pt>
          <cx:pt idx="4295">13.1242499999999</cx:pt>
          <cx:pt idx="4296">15.04954</cx:pt>
          <cx:pt idx="4297">15.04954</cx:pt>
          <cx:pt idx="4298">19.086580000000001</cx:pt>
          <cx:pt idx="4299">13.1242499999999</cx:pt>
          <cx:pt idx="4300">13.1242499999999</cx:pt>
          <cx:pt idx="4301">6.03059999999999</cx:pt>
          <cx:pt idx="4302">13.1242499999999</cx:pt>
          <cx:pt idx="4303">18.778979999999901</cx:pt>
          <cx:pt idx="4304">3.4742199999999896</cx:pt>
          <cx:pt idx="4305">13.1242499999999</cx:pt>
          <cx:pt idx="4306">8.6527999999999992</cx:pt>
          <cx:pt idx="4307">15.04954</cx:pt>
          <cx:pt idx="4308">15.19694</cx:pt>
          <cx:pt idx="4309">11.625359999999899</cx:pt>
          <cx:pt idx="4310">15.04954</cx:pt>
          <cx:pt idx="4311">11.625359999999899</cx:pt>
          <cx:pt idx="4312">15.786539999999999</cx:pt>
          <cx:pt idx="4313">13.1242499999999</cx:pt>
          <cx:pt idx="4314">13.1242499999999</cx:pt>
          <cx:pt idx="4315">13.1242499999999</cx:pt>
          <cx:pt idx="4316">18.778979999999901</cx:pt>
          <cx:pt idx="4317">17.24098</cx:pt>
          <cx:pt idx="4318">15.04954</cx:pt>
          <cx:pt idx="4319">9.8619000000000003</cx:pt>
          <cx:pt idx="4320">18.778979999999901</cx:pt>
          <cx:pt idx="4321">13.1242499999999</cx:pt>
          <cx:pt idx="4322">15.786539999999999</cx:pt>
          <cx:pt idx="4323">11.328000000000001</cx:pt>
          <cx:pt idx="4324">11.752799999999999</cx:pt>
          <cx:pt idx="4325">41.4066699999997</cx:pt>
          <cx:pt idx="4326">11.625359999999899</cx:pt>
          <cx:pt idx="4327">1.42302</cx:pt>
          <cx:pt idx="4328">13.1242499999999</cx:pt>
          <cx:pt idx="4329">13.1242499999999</cx:pt>
          <cx:pt idx="4330">13.1242499999999</cx:pt>
          <cx:pt idx="4331">15.491739999999901</cx:pt>
          <cx:pt idx="4332">11.625359999999899</cx:pt>
          <cx:pt idx="4333">13.1242499999999</cx:pt>
          <cx:pt idx="4334">11.625359999999899</cx:pt>
          <cx:pt idx="4335">13.1242499999999</cx:pt>
          <cx:pt idx="4336">15.344340000000001</cx:pt>
          <cx:pt idx="4337">13.1242499999999</cx:pt>
          <cx:pt idx="4338">15.04954</cx:pt>
          <cx:pt idx="4339">19.547980000000003</cx:pt>
          <cx:pt idx="4340">46.485100000000003</cx:pt>
          <cx:pt idx="4341">13.1242499999999</cx:pt>
          <cx:pt idx="4342">13.1242499999999</cx:pt>
          <cx:pt idx="4343">14.75474</cx:pt>
          <cx:pt idx="4344">15.491739999999901</cx:pt>
          <cx:pt idx="4345">13.1242499999999</cx:pt>
          <cx:pt idx="4346">34.689170000000004</cx:pt>
          <cx:pt idx="4347">9.722999999999999</cx:pt>
          <cx:pt idx="4348">18.778979999999901</cx:pt>
          <cx:pt idx="4349">13.1242499999999</cx:pt>
          <cx:pt idx="4350">13.462259999999901</cx:pt>
          <cx:pt idx="4351">13.1242499999999</cx:pt>
          <cx:pt idx="4352">13.1242499999999</cx:pt>
          <cx:pt idx="4353">17.24098</cx:pt>
          <cx:pt idx="4354">8.7880000000000003</cx:pt>
          <cx:pt idx="4355">13.1242499999999</cx:pt>
          <cx:pt idx="4356">5.0126199999999894</cx:pt>
          <cx:pt idx="4357">9.5840999999999994</cx:pt>
          <cx:pt idx="4358">3.4742199999999896</cx:pt>
          <cx:pt idx="4359">17.24098</cx:pt>
          <cx:pt idx="4360">13.1242499999999</cx:pt>
          <cx:pt idx="4361">11.625359999999899</cx:pt>
          <cx:pt idx="4362">18.778979999999901</cx:pt>
          <cx:pt idx="4363">15.04954</cx:pt>
          <cx:pt idx="4364">15.786539999999999</cx:pt>
          <cx:pt idx="4365">2.7050200000000002</cx:pt>
          <cx:pt idx="4366">11.625359999999899</cx:pt>
          <cx:pt idx="4367">13.1242499999999</cx:pt>
          <cx:pt idx="4368">18.778979999999901</cx:pt>
          <cx:pt idx="4369">15.04954</cx:pt>
          <cx:pt idx="4370">13.1242499999999</cx:pt>
          <cx:pt idx="4371">11.625359999999899</cx:pt>
          <cx:pt idx="4372">13.1242499999999</cx:pt>
          <cx:pt idx="4373">15.04954</cx:pt>
          <cx:pt idx="4374">15.04954</cx:pt>
          <cx:pt idx="4375">13.1242499999999</cx:pt>
          <cx:pt idx="4376">15.04954</cx:pt>
          <cx:pt idx="4377">5.89949999999999</cx:pt>
          <cx:pt idx="4378">13.1242499999999</cx:pt>
          <cx:pt idx="4379">13.1242499999999</cx:pt>
          <cx:pt idx="4380">13.1242499999999</cx:pt>
          <cx:pt idx="4381">2.1922199999999998</cx:pt>
          <cx:pt idx="4382">13.1242499999999</cx:pt>
          <cx:pt idx="4383">13.1242499999999</cx:pt>
          <cx:pt idx="4384">13.1242499999999</cx:pt>
          <cx:pt idx="4385">13.1242499999999</cx:pt>
          <cx:pt idx="4386">13.1242499999999</cx:pt>
          <cx:pt idx="4387">11.625359999999899</cx:pt>
          <cx:pt idx="4388">13.1242499999999</cx:pt>
          <cx:pt idx="4389">13.1242499999999</cx:pt>
          <cx:pt idx="4390">13.881599999999999</cx:pt>
          <cx:pt idx="4391">11.625359999999899</cx:pt>
          <cx:pt idx="4392">9.0583999999999989</cx:pt>
          <cx:pt idx="4393">11.625359999999899</cx:pt>
          <cx:pt idx="4394">15.04954</cx:pt>
          <cx:pt idx="4395">17.24098</cx:pt>
          <cx:pt idx="4396">13.1242499999999</cx:pt>
          <cx:pt idx="4397">12.616559999999899</cx:pt>
          <cx:pt idx="4398">11.3421599999999</cx:pt>
          <cx:pt idx="4399">7.1655999999999995</cx:pt>
          <cx:pt idx="4400">13.1242499999999</cx:pt>
          <cx:pt idx="4401">13.1242499999999</cx:pt>
          <cx:pt idx="4402">5.7683999999999997</cx:pt>
          <cx:pt idx="4403">13.1242499999999</cx:pt>
          <cx:pt idx="4404">13.1242499999999</cx:pt>
          <cx:pt idx="4405">13.1242499999999</cx:pt>
          <cx:pt idx="4406">13.1242499999999</cx:pt>
          <cx:pt idx="4407">13.109999999999999</cx:pt>
          <cx:pt idx="4408">15.04954</cx:pt>
          <cx:pt idx="4409">44.093669999999705</cx:pt>
          <cx:pt idx="4410">13.1242499999999</cx:pt>
          <cx:pt idx="4411">47.318069999999899</cx:pt>
          <cx:pt idx="4412">13.1242499999999</cx:pt>
          <cx:pt idx="4413">13.1242499999999</cx:pt>
          <cx:pt idx="4414">18.778979999999901</cx:pt>
          <cx:pt idx="4415">40.600569999999706</cx:pt>
          <cx:pt idx="4416">13.1242499999999</cx:pt>
          <cx:pt idx="4417">13.1242499999999</cx:pt>
          <cx:pt idx="4418">36.032670000000003</cx:pt>
          <cx:pt idx="4419">15.04954</cx:pt>
          <cx:pt idx="4420">5.0126199999999894</cx:pt>
          <cx:pt idx="4421">18.778979999999901</cx:pt>
          <cx:pt idx="4422">15.786539999999999</cx:pt>
          <cx:pt idx="4423">43.556270000000005</cx:pt>
          <cx:pt idx="4424">7.9903199999999996</cx:pt>
          <cx:pt idx="4425">11.625359999999899</cx:pt>
          <cx:pt idx="4426">13.1242499999999</cx:pt>
          <cx:pt idx="4427">3.2434600000000202</cx:pt>
          <cx:pt idx="4428">15.04954</cx:pt>
          <cx:pt idx="4429">13.1242499999999</cx:pt>
          <cx:pt idx="4430">15.491739999999901</cx:pt>
          <cx:pt idx="4431">6.6860999999999908</cx:pt>
          <cx:pt idx="4432">11.625359999999899</cx:pt>
          <cx:pt idx="4433">15.04954</cx:pt>
          <cx:pt idx="4434">1.42302</cx:pt>
          <cx:pt idx="4435">13.1242499999999</cx:pt>
          <cx:pt idx="4436">13.1242499999999</cx:pt>
          <cx:pt idx="4437">13.1242499999999</cx:pt>
          <cx:pt idx="4438">44.389240000000001</cx:pt>
          <cx:pt idx="4439">12.3333599999999</cx:pt>
          <cx:pt idx="4440">15.04954</cx:pt>
          <cx:pt idx="4441">43.287569999999697</cx:pt>
          <cx:pt idx="4442">7.3278400000000206</cx:pt>
          <cx:pt idx="4443">15.04954</cx:pt>
          <cx:pt idx="4444">13.1242499999999</cx:pt>
          <cx:pt idx="4445">18.778979999999901</cx:pt>
          <cx:pt idx="4446">11.625359999999899</cx:pt>
          <cx:pt idx="4447">14.75474</cx:pt>
          <cx:pt idx="4448">15.04954</cx:pt>
          <cx:pt idx="4449">15.04954</cx:pt>
          <cx:pt idx="4450">15.04954</cx:pt>
          <cx:pt idx="4451">14.0261999999999</cx:pt>
          <cx:pt idx="4452">15.04954</cx:pt>
          <cx:pt idx="4453">11.625359999999899</cx:pt>
          <cx:pt idx="4454">39.525770000000001</cx:pt>
          <cx:pt idx="4455">17.24098</cx:pt>
          <cx:pt idx="4456">13.1242499999999</cx:pt>
          <cx:pt idx="4457">13.1242499999999</cx:pt>
          <cx:pt idx="4458">40.600569999999706</cx:pt>
          <cx:pt idx="4459">17.24098</cx:pt>
          <cx:pt idx="4460">8.6663199999999989</cx:pt>
          <cx:pt idx="4461">13.1242499999999</cx:pt>
          <cx:pt idx="4462">43.556270000000005</cx:pt>
          <cx:pt idx="4463">5.89949999999999</cx:pt>
          <cx:pt idx="4464">13.1242499999999</cx:pt>
          <cx:pt idx="4465">13.1242499999999</cx:pt>
          <cx:pt idx="4466">11.625359999999899</cx:pt>
          <cx:pt idx="4467">40.600569999999706</cx:pt>
          <cx:pt idx="4468">19.086580000000001</cx:pt>
          <cx:pt idx="4469">13.1242499999999</cx:pt>
          <cx:pt idx="4470">11.625359999999899</cx:pt>
          <cx:pt idx="4471">13.1242499999999</cx:pt>
          <cx:pt idx="4472">8.3959200000000003</cx:pt>
          <cx:pt idx="4473">3.08962</cx:pt>
          <cx:pt idx="4474">17.24098</cx:pt>
          <cx:pt idx="4475">2.7050200000000002</cx:pt>
          <cx:pt idx="4476">11.625359999999899</cx:pt>
          <cx:pt idx="4477">11.625359999999899</cx:pt>
          <cx:pt idx="4478">12.191759999999901</cx:pt>
          <cx:pt idx="4479">11.625359999999899</cx:pt>
          <cx:pt idx="4480">13.1242499999999</cx:pt>
          <cx:pt idx="4481">13.1242499999999</cx:pt>
          <cx:pt idx="4482">3.7562600000000201</cx:pt>
          <cx:pt idx="4483">13.1242499999999</cx:pt>
          <cx:pt idx="4484">15.04954</cx:pt>
          <cx:pt idx="4485">15.04954</cx:pt>
          <cx:pt idx="4486">13.1242499999999</cx:pt>
          <cx:pt idx="4487">13.1242499999999</cx:pt>
          <cx:pt idx="4488">13.1242499999999</cx:pt>
          <cx:pt idx="4489">13.1242499999999</cx:pt>
          <cx:pt idx="4490">13.1242499999999</cx:pt>
          <cx:pt idx="4491">13.1242499999999</cx:pt>
          <cx:pt idx="4492">13.1242499999999</cx:pt>
          <cx:pt idx="4493">13.1242499999999</cx:pt>
          <cx:pt idx="4494">13.1242499999999</cx:pt>
          <cx:pt idx="4495">15.04954</cx:pt>
          <cx:pt idx="4496">14.75474</cx:pt>
          <cx:pt idx="4497">7.4359999999999999</cx:pt>
          <cx:pt idx="4498">13.1242499999999</cx:pt>
          <cx:pt idx="4499">13.1242499999999</cx:pt>
          <cx:pt idx="4500">13.1242499999999</cx:pt>
          <cx:pt idx="4501">13.1242499999999</cx:pt>
          <cx:pt idx="4502">15.04954</cx:pt>
          <cx:pt idx="4503">4.3716200000000001</cx:pt>
          <cx:pt idx="4504">13.1242499999999</cx:pt>
          <cx:pt idx="4505">15.04954</cx:pt>
          <cx:pt idx="4506">42.212769999999999</cx:pt>
          <cx:pt idx="4507">4.4870000000000001</cx:pt>
          <cx:pt idx="4508">13.1242499999999</cx:pt>
          <cx:pt idx="4509">17.24098</cx:pt>
          <cx:pt idx="4510">13.1242499999999</cx:pt>
          <cx:pt idx="4511">11.625359999999899</cx:pt>
          <cx:pt idx="4512">13.1242499999999</cx:pt>
          <cx:pt idx="4513">13.1242499999999</cx:pt>
          <cx:pt idx="4514">19.086580000000001</cx:pt>
          <cx:pt idx="4515">15.04954</cx:pt>
          <cx:pt idx="4516">13.1242499999999</cx:pt>
          <cx:pt idx="4517">15.04954</cx:pt>
          <cx:pt idx="4518">13.1242499999999</cx:pt>
          <cx:pt idx="4519">3.4742199999999896</cx:pt>
          <cx:pt idx="4520">11.625359999999899</cx:pt>
          <cx:pt idx="4521">15.04954</cx:pt>
          <cx:pt idx="4522">15.04954</cx:pt>
          <cx:pt idx="4523">13.1242499999999</cx:pt>
          <cx:pt idx="4524">11.625359999999899</cx:pt>
          <cx:pt idx="4525">17.24098</cx:pt>
          <cx:pt idx="4526">38.182270000000003</cx:pt>
          <cx:pt idx="4527">17.24098</cx:pt>
          <cx:pt idx="4528">17.24098</cx:pt>
          <cx:pt idx="4529">13.1242499999999</cx:pt>
          <cx:pt idx="4530">4.1152199999999999</cx:pt>
          <cx:pt idx="4531">15.04954</cx:pt>
          <cx:pt idx="4532">7.7063999999999995</cx:pt>
          <cx:pt idx="4533">13.1242499999999</cx:pt>
          <cx:pt idx="4534">15.04954</cx:pt>
          <cx:pt idx="4535">15.344340000000001</cx:pt>
          <cx:pt idx="4536">13.1242499999999</cx:pt>
          <cx:pt idx="4537">13.606859999999902</cx:pt>
          <cx:pt idx="4538">15.04954</cx:pt>
          <cx:pt idx="4539">35.495269999999898</cx:pt>
          <cx:pt idx="4540">6.4370099999999999</cx:pt>
          <cx:pt idx="4541">13.1242499999999</cx:pt>
          <cx:pt idx="4542">13.1242499999999</cx:pt>
          <cx:pt idx="4543">17.24098</cx:pt>
          <cx:pt idx="4544">13.1242499999999</cx:pt>
          <cx:pt idx="4545">8.2472000000000012</cx:pt>
          <cx:pt idx="4546">13.1242499999999</cx:pt>
          <cx:pt idx="4547">36.838769999999997</cx:pt>
          <cx:pt idx="4548">36.838769999999997</cx:pt>
          <cx:pt idx="4549">13.606860000000001</cx:pt>
          <cx:pt idx="4550">11.3421599999999</cx:pt>
          <cx:pt idx="4551">14.75474</cx:pt>
          <cx:pt idx="4552">15.04954</cx:pt>
          <cx:pt idx="4553">13.1242499999999</cx:pt>
          <cx:pt idx="4554">36.032670000000003</cx:pt>
          <cx:pt idx="4555">13.1242499999999</cx:pt>
          <cx:pt idx="4556">13.1242499999999</cx:pt>
          <cx:pt idx="4557">15.04954</cx:pt>
          <cx:pt idx="4558">13.1242499999999</cx:pt>
          <cx:pt idx="4559">15.04954</cx:pt>
          <cx:pt idx="4560">15.04954</cx:pt>
          <cx:pt idx="4561">13.1242499999999</cx:pt>
          <cx:pt idx="4562">11.625359999999899</cx:pt>
          <cx:pt idx="4563">13.1242499999999</cx:pt>
          <cx:pt idx="4564">13.1242499999999</cx:pt>
          <cx:pt idx="4565">15.04954</cx:pt>
          <cx:pt idx="4566">11.625359999999899</cx:pt>
          <cx:pt idx="4567">13.1242499999999</cx:pt>
          <cx:pt idx="4568">12.839249999999899</cx:pt>
          <cx:pt idx="4569">11.625359999999899</cx:pt>
          <cx:pt idx="4570">40.600569999999706</cx:pt>
          <cx:pt idx="4571">15.04954</cx:pt>
          <cx:pt idx="4572">7.5712000000000002</cx:pt>
          <cx:pt idx="4573">13.1242499999999</cx:pt>
          <cx:pt idx="4574">15.04954</cx:pt>
          <cx:pt idx="4575">11.625359999999899</cx:pt>
          <cx:pt idx="4576">15.04954</cx:pt>
          <cx:pt idx="4577">14.0406599999999</cx:pt>
          <cx:pt idx="4578">13.1242499999999</cx:pt>
          <cx:pt idx="4579">13.1242499999999</cx:pt>
          <cx:pt idx="4580">34.689170000000004</cx:pt>
          <cx:pt idx="4581">7.3008000000000006</cx:pt>
          <cx:pt idx="4582">4.7433999999999994</cx:pt>
          <cx:pt idx="4583">13.1242499999999</cx:pt>
          <cx:pt idx="4584">15.786539999999999</cx:pt>
          <cx:pt idx="4585">13.1242499999999</cx:pt>
          <cx:pt idx="4586">13.1242499999999</cx:pt>
          <cx:pt idx="4587">13.1242499999999</cx:pt>
          <cx:pt idx="4588">35.763969999999901</cx:pt>
          <cx:pt idx="4589">15.04954</cx:pt>
          <cx:pt idx="4590">15.04954</cx:pt>
          <cx:pt idx="4591">15.04954</cx:pt>
          <cx:pt idx="4592">15.786539999999999</cx:pt>
          <cx:pt idx="4593">15.04954</cx:pt>
          <cx:pt idx="4594">13.1242499999999</cx:pt>
          <cx:pt idx="4595">2.1922199999999998</cx:pt>
          <cx:pt idx="4596">13.1242499999999</cx:pt>
          <cx:pt idx="4597">15.04954</cx:pt>
          <cx:pt idx="4598">13.1242499999999</cx:pt>
          <cx:pt idx="4599">13.1242499999999</cx:pt>
          <cx:pt idx="4600">13.1242499999999</cx:pt>
          <cx:pt idx="4601">15.04954</cx:pt>
          <cx:pt idx="4602">38.182270000000003</cx:pt>
          <cx:pt idx="4603">13.1242499999999</cx:pt>
          <cx:pt idx="4604">15.344340000000001</cx:pt>
          <cx:pt idx="4605">6.8171999999999997</cx:pt>
          <cx:pt idx="4606">6.2927999999999997</cx:pt>
          <cx:pt idx="4607">15.04954</cx:pt>
          <cx:pt idx="4608">12.3333599999999</cx:pt>
          <cx:pt idx="4609">15.04954</cx:pt>
          <cx:pt idx="4610">15.786539999999999</cx:pt>
          <cx:pt idx="4611">13.1242499999999</cx:pt>
          <cx:pt idx="4612">13.1242499999999</cx:pt>
          <cx:pt idx="4613">13.1242499999999</cx:pt>
          <cx:pt idx="4614">13.1242499999999</cx:pt>
          <cx:pt idx="4615">15.04954</cx:pt>
          <cx:pt idx="4616">17.548580000000001</cx:pt>
          <cx:pt idx="4617">11.625359999999899</cx:pt>
          <cx:pt idx="4618">5.89949999999999</cx:pt>
          <cx:pt idx="4619">12.839249999999899</cx:pt>
          <cx:pt idx="4620">14.75474</cx:pt>
          <cx:pt idx="4621">15.04954</cx:pt>
          <cx:pt idx="4622">57.797369999999702</cx:pt>
          <cx:pt idx="4623">13.1242499999999</cx:pt>
          <cx:pt idx="4624">14.75474</cx:pt>
          <cx:pt idx="4625">13.1242499999999</cx:pt>
          <cx:pt idx="4626">15.344340000000001</cx:pt>
          <cx:pt idx="4627">13.1242499999999</cx:pt>
          <cx:pt idx="4628">15.04954</cx:pt>
          <cx:pt idx="4629">13.1242499999999</cx:pt>
          <cx:pt idx="4630">19.086580000000001</cx:pt>
          <cx:pt idx="4631">15.491739999999901</cx:pt>
          <cx:pt idx="4632">36.543199999999999</cx:pt>
          <cx:pt idx="4633">11.625359999999899</cx:pt>
          <cx:pt idx="4634">13.1242499999999</cx:pt>
          <cx:pt idx="4635">9.5979900000000011</cx:pt>
          <cx:pt idx="4636">13.1242499999999</cx:pt>
          <cx:pt idx="4637">13.1242499999999</cx:pt>
          <cx:pt idx="4638">13.1242499999999</cx:pt>
          <cx:pt idx="4639">13.1242499999999</cx:pt>
          <cx:pt idx="4640">13.1242499999999</cx:pt>
          <cx:pt idx="4641">13.1242499999999</cx:pt>
          <cx:pt idx="4642">15.04954</cx:pt>
          <cx:pt idx="4643">14.75474</cx:pt>
          <cx:pt idx="4644">17.24098</cx:pt>
          <cx:pt idx="4645">11.625359999999899</cx:pt>
          <cx:pt idx="4646">13.1242499999999</cx:pt>
          <cx:pt idx="4647">15.04954</cx:pt>
          <cx:pt idx="4648">13.1242499999999</cx:pt>
          <cx:pt idx="4649">13.1242499999999</cx:pt>
          <cx:pt idx="4650">13.1242499999999</cx:pt>
          <cx:pt idx="4651">10.7091899999999</cx:pt>
          <cx:pt idx="4652">13.1242499999999</cx:pt>
          <cx:pt idx="4653">13.1242499999999</cx:pt>
          <cx:pt idx="4654">13.1242499999999</cx:pt>
          <cx:pt idx="4655">17.24098</cx:pt>
          <cx:pt idx="4656">13.1242499999999</cx:pt>
          <cx:pt idx="4657">15.04954</cx:pt>
          <cx:pt idx="4658">13.1242499999999</cx:pt>
          <cx:pt idx="4659">15.04954</cx:pt>
          <cx:pt idx="4660">19.547980000000003</cx:pt>
          <cx:pt idx="4661">13.1242499999999</cx:pt>
          <cx:pt idx="4662">12.839249999999899</cx:pt>
          <cx:pt idx="4663">13.1242499999999</cx:pt>
          <cx:pt idx="4664">18.148399999999899</cx:pt>
          <cx:pt idx="4665">13.1242499999999</cx:pt>
          <cx:pt idx="4666">11.625359999999899</cx:pt>
          <cx:pt idx="4667">3.60242</cx:pt>
          <cx:pt idx="4668">15.04954</cx:pt>
          <cx:pt idx="4669">9.0583999999999989</cx:pt>
          <cx:pt idx="4670">13.1242499999999</cx:pt>
          <cx:pt idx="4671">11.3421599999999</cx:pt>
          <cx:pt idx="4672">3.2178199999999997</cx:pt>
          <cx:pt idx="4673">12.839249999999899</cx:pt>
          <cx:pt idx="4674">13.1242499999999</cx:pt>
          <cx:pt idx="4675">15.04954</cx:pt>
          <cx:pt idx="4676">11.625359999999899</cx:pt>
          <cx:pt idx="4677">17.24098</cx:pt>
          <cx:pt idx="4678">13.1242499999999</cx:pt>
          <cx:pt idx="4679">10.02858</cx:pt>
          <cx:pt idx="4680">7.1655999999999995</cx:pt>
          <cx:pt idx="4681">13.1242499999999</cx:pt>
          <cx:pt idx="4682">13.1242499999999</cx:pt>
          <cx:pt idx="4683">37.913569999999702</cx:pt>
          <cx:pt idx="4684">13.1242499999999</cx:pt>
          <cx:pt idx="4685">11.625359999999899</cx:pt>
          <cx:pt idx="4686">13.1242499999999</cx:pt>
          <cx:pt idx="4687">35.495269999999898</cx:pt>
          <cx:pt idx="4688">13.1242499999999</cx:pt>
          <cx:pt idx="4689">13.1242499999999</cx:pt>
          <cx:pt idx="4690">13.1242499999999</cx:pt>
          <cx:pt idx="4691">9.8619000000000003</cx:pt>
          <cx:pt idx="4692">3.8460000000000001</cx:pt>
          <cx:pt idx="4693">11.625359999999899</cx:pt>
          <cx:pt idx="4694">15.04954</cx:pt>
          <cx:pt idx="4695">13.1242499999999</cx:pt>
          <cx:pt idx="4696">13.1242499999999</cx:pt>
          <cx:pt idx="4697">13.1242499999999</cx:pt>
          <cx:pt idx="4698">13.1242499999999</cx:pt>
          <cx:pt idx="4699">15.04954</cx:pt>
          <cx:pt idx="4700">11.625359999999899</cx:pt>
          <cx:pt idx="4701">13.1242499999999</cx:pt>
          <cx:pt idx="4702">11.4696</cx:pt>
          <cx:pt idx="4703">15.04954</cx:pt>
          <cx:pt idx="4704">13.1242499999999</cx:pt>
          <cx:pt idx="4705">12.19176</cx:pt>
          <cx:pt idx="4706">17.24098</cx:pt>
          <cx:pt idx="4707">13.1242499999999</cx:pt>
          <cx:pt idx="4708">13.1242499999999</cx:pt>
          <cx:pt idx="4709">11.625359999999899</cx:pt>
          <cx:pt idx="4710">14.607339999999899</cx:pt>
          <cx:pt idx="4711">14.0406599999999</cx:pt>
          <cx:pt idx="4712">15.344340000000001</cx:pt>
          <cx:pt idx="4713">15.04954</cx:pt>
          <cx:pt idx="4714">13.1242499999999</cx:pt>
          <cx:pt idx="4715">15.04954</cx:pt>
          <cx:pt idx="4716">13.1242499999999</cx:pt>
          <cx:pt idx="4717">13.1242499999999</cx:pt>
          <cx:pt idx="4718">15.04954</cx:pt>
          <cx:pt idx="4719">13.1242499999999</cx:pt>
          <cx:pt idx="4720">11.625359999999899</cx:pt>
          <cx:pt idx="4721">15.04954</cx:pt>
          <cx:pt idx="4722">13.1242499999999</cx:pt>
          <cx:pt idx="4723">13.1242499999999</cx:pt>
          <cx:pt idx="4724">11.625359999999899</cx:pt>
          <cx:pt idx="4725">13.1242499999999</cx:pt>
          <cx:pt idx="4726">10.0008</cx:pt>
          <cx:pt idx="4727">13.1242499999999</cx:pt>
          <cx:pt idx="4728">13.1242499999999</cx:pt>
          <cx:pt idx="4729">13.1242499999999</cx:pt>
          <cx:pt idx="4730">13.1242499999999</cx:pt>
          <cx:pt idx="4731">13.1242499999999</cx:pt>
          <cx:pt idx="4732">8.9367199999999993</cx:pt>
          <cx:pt idx="4733">17.24098</cx:pt>
          <cx:pt idx="4734">43.2607</cx:pt>
          <cx:pt idx="4735">13.1242499999999</cx:pt>
          <cx:pt idx="4736">15.04954</cx:pt>
          <cx:pt idx="4737">12.319199999999899</cx:pt>
          <cx:pt idx="4738">13.1242499999999</cx:pt>
          <cx:pt idx="4739">15.04954</cx:pt>
          <cx:pt idx="4740">13.1242499999999</cx:pt>
          <cx:pt idx="4741">9.722999999999999</cx:pt>
          <cx:pt idx="4742">15.04954</cx:pt>
          <cx:pt idx="4743">13.1242499999999</cx:pt>
          <cx:pt idx="4744">13.1242499999999</cx:pt>
          <cx:pt idx="4745">11.894399999999999</cx:pt>
          <cx:pt idx="4746">13.1242499999999</cx:pt>
          <cx:pt idx="4747">4.2434199999999995</cx:pt>
          <cx:pt idx="4748">15.04954</cx:pt>
          <cx:pt idx="4749">15.04954</cx:pt>
          <cx:pt idx="4750">15.04954</cx:pt>
          <cx:pt idx="4751">13.1242499999999</cx:pt>
          <cx:pt idx="4752">13.1242499999999</cx:pt>
          <cx:pt idx="4753">15.04954</cx:pt>
          <cx:pt idx="4754">8.1120000000000001</cx:pt>
          <cx:pt idx="4755">18.932779999999998</cx:pt>
          <cx:pt idx="4756">38.988370000000003</cx:pt>
          <cx:pt idx="4757">13.1242499999999</cx:pt>
          <cx:pt idx="4758">13.1242499999999</cx:pt>
          <cx:pt idx="4759">1.6794199999999999</cx:pt>
          <cx:pt idx="4760">13.1242499999999</cx:pt>
          <cx:pt idx="4761">10.7091899999999</cx:pt>
          <cx:pt idx="4762">11.625359999999899</cx:pt>
          <cx:pt idx="4763">9.0583999999999989</cx:pt>
          <cx:pt idx="4764">15.04954</cx:pt>
          <cx:pt idx="4765">14.0406599999999</cx:pt>
          <cx:pt idx="4766">11.3421599999999</cx:pt>
          <cx:pt idx="4767">13.1242499999999</cx:pt>
          <cx:pt idx="4768">12.050159999999901</cx:pt>
          <cx:pt idx="4769">15.04954</cx:pt>
          <cx:pt idx="4770">15.04954</cx:pt>
          <cx:pt idx="4771">15.04954</cx:pt>
          <cx:pt idx="4772">8.3823999999999987</cx:pt>
          <cx:pt idx="4773">11.625359999999899</cx:pt>
          <cx:pt idx="4774">12.616559999999899</cx:pt>
          <cx:pt idx="4775">15.04954</cx:pt>
          <cx:pt idx="4776">7.7063999999999995</cx:pt>
          <cx:pt idx="4777">13.1242499999999</cx:pt>
          <cx:pt idx="4778">11.625359999999899</cx:pt>
          <cx:pt idx="4779">13.1242499999999</cx:pt>
          <cx:pt idx="4780">17.24098</cx:pt>
          <cx:pt idx="4781">15.04954</cx:pt>
          <cx:pt idx="4782">13.1242499999999</cx:pt>
          <cx:pt idx="4783">3.5895999999999999</cx:pt>
          <cx:pt idx="4784">13.1242499999999</cx:pt>
          <cx:pt idx="4785">12.839249999999899</cx:pt>
          <cx:pt idx="4786">13.1242499999999</cx:pt>
          <cx:pt idx="4787">15.04954</cx:pt>
          <cx:pt idx="4788">15.04954</cx:pt>
          <cx:pt idx="4789">12.839249999999899</cx:pt>
          <cx:pt idx="4790">15.04954</cx:pt>
          <cx:pt idx="4791">13.1242499999999</cx:pt>
          <cx:pt idx="4792">13.1242499999999</cx:pt>
          <cx:pt idx="4793">15.04954</cx:pt>
          <cx:pt idx="4794">13.1242499999999</cx:pt>
          <cx:pt idx="4795">13.1242499999999</cx:pt>
          <cx:pt idx="4796">11.625359999999899</cx:pt>
          <cx:pt idx="4797">13.1242499999999</cx:pt>
          <cx:pt idx="4798">14.0406599999999</cx:pt>
          <cx:pt idx="4799">13.1242499999999</cx:pt>
          <cx:pt idx="4800">13.1242499999999</cx:pt>
          <cx:pt idx="4801">13.1242499999999</cx:pt>
          <cx:pt idx="4802">15.04954</cx:pt>
          <cx:pt idx="4803">13.1242499999999</cx:pt>
          <cx:pt idx="4804">13.1242499999999</cx:pt>
          <cx:pt idx="4805">8.1120000000000001</cx:pt>
          <cx:pt idx="4806">18.778979999999901</cx:pt>
          <cx:pt idx="4807">13.1242499999999</cx:pt>
          <cx:pt idx="4808">13.1242499999999</cx:pt>
          <cx:pt idx="4809">13.1242499999999</cx:pt>
          <cx:pt idx="4810">16.779579999999999</cx:pt>
          <cx:pt idx="4811">15.04954</cx:pt>
          <cx:pt idx="4812">5.7815099999999902</cx:pt>
          <cx:pt idx="4813">13.1242499999999</cx:pt>
          <cx:pt idx="4814">13.1242499999999</cx:pt>
          <cx:pt idx="4815">17.24098</cx:pt>
          <cx:pt idx="4816">16.764200000000002</cx:pt>
          <cx:pt idx="4817">15.04954</cx:pt>
          <cx:pt idx="4818">17.24098</cx:pt>
          <cx:pt idx="4819">13.1242499999999</cx:pt>
          <cx:pt idx="4820">15.04954</cx:pt>
          <cx:pt idx="4821">15.04954</cx:pt>
          <cx:pt idx="4822">13.1242499999999</cx:pt>
          <cx:pt idx="4823">17.24098</cx:pt>
          <cx:pt idx="4824">13.1242499999999</cx:pt>
          <cx:pt idx="4825">11.625359999999899</cx:pt>
          <cx:pt idx="4826">13.1242499999999</cx:pt>
          <cx:pt idx="4827">15.04954</cx:pt>
          <cx:pt idx="4828">13.1242499999999</cx:pt>
          <cx:pt idx="4829">13.1242499999999</cx:pt>
          <cx:pt idx="4830">3.9741999999999997</cx:pt>
          <cx:pt idx="4831">12.839249999999899</cx:pt>
          <cx:pt idx="4832">15.04954</cx:pt>
          <cx:pt idx="4833">40.86927</cx:pt>
          <cx:pt idx="4834">10.57029</cx:pt>
          <cx:pt idx="4835">13.1242499999999</cx:pt>
          <cx:pt idx="4836">13.1242499999999</cx:pt>
          <cx:pt idx="4837">13.1242499999999</cx:pt>
          <cx:pt idx="4838">11.625359999999899</cx:pt>
          <cx:pt idx="4839">13.1242499999999</cx:pt>
          <cx:pt idx="4840">13.1242499999999</cx:pt>
          <cx:pt idx="4841">13.1242499999999</cx:pt>
          <cx:pt idx="4842">13.1242499999999</cx:pt>
          <cx:pt idx="4843">4.6151999999999997</cx:pt>
          <cx:pt idx="4844">13.1242499999999</cx:pt>
          <cx:pt idx="4845">13.1242499999999</cx:pt>
          <cx:pt idx="4846">13.1242499999999</cx:pt>
          <cx:pt idx="4847">13.1242499999999</cx:pt>
          <cx:pt idx="4848">13.1242499999999</cx:pt>
          <cx:pt idx="4849">7.4495199999999997</cx:pt>
          <cx:pt idx="4850">13.1242499999999</cx:pt>
          <cx:pt idx="4851">13.1242499999999</cx:pt>
          <cx:pt idx="4852">13.1242499999999</cx:pt>
          <cx:pt idx="4853">13.1242499999999</cx:pt>
          <cx:pt idx="4854">19.086580000000001</cx:pt>
          <cx:pt idx="4855">13.1242499999999</cx:pt>
          <cx:pt idx="4856">13.1242499999999</cx:pt>
          <cx:pt idx="4857">13.1242499999999</cx:pt>
          <cx:pt idx="4858">1.42302</cx:pt>
          <cx:pt idx="4859">15.344340000000001</cx:pt>
          <cx:pt idx="4860">7.7063999999999995</cx:pt>
          <cx:pt idx="4861">6.6992099999999999</cx:pt>
          <cx:pt idx="4862">13.1242499999999</cx:pt>
          <cx:pt idx="4863">13.1242499999999</cx:pt>
          <cx:pt idx="4864">39.525770000000001</cx:pt>
          <cx:pt idx="4865">13.1242499999999</cx:pt>
          <cx:pt idx="4866">13.1242499999999</cx:pt>
          <cx:pt idx="4867">6.4239000000000006</cx:pt>
          <cx:pt idx="4868">15.04954</cx:pt>
          <cx:pt idx="4869">13.1242499999999</cx:pt>
          <cx:pt idx="4870">11.625359999999899</cx:pt>
          <cx:pt idx="4871">13.751459999999899</cx:pt>
          <cx:pt idx="4872">13.1242499999999</cx:pt>
          <cx:pt idx="4873">13.1242499999999</cx:pt>
          <cx:pt idx="4874">15.04954</cx:pt>
          <cx:pt idx="4875">15.04954</cx:pt>
          <cx:pt idx="4876">15.04954</cx:pt>
          <cx:pt idx="4877">13.1242499999999</cx:pt>
          <cx:pt idx="4878">13.1242499999999</cx:pt>
          <cx:pt idx="4879">13.1242499999999</cx:pt>
          <cx:pt idx="4880">11.625359999999899</cx:pt>
          <cx:pt idx="4881">11.625359999999899</cx:pt>
          <cx:pt idx="4882">13.1242499999999</cx:pt>
          <cx:pt idx="4883">8.9232000000000014</cx:pt>
          <cx:pt idx="4884">15.04954</cx:pt>
          <cx:pt idx="4885">15.04954</cx:pt>
          <cx:pt idx="4886">13.1242499999999</cx:pt>
          <cx:pt idx="4887">9.3201899999999789</cx:pt>
          <cx:pt idx="4888">17.24098</cx:pt>
          <cx:pt idx="4889">13.1242499999999</cx:pt>
          <cx:pt idx="4890">13.1242499999999</cx:pt>
          <cx:pt idx="4891">13.1242499999999</cx:pt>
          <cx:pt idx="4892">6.2927999999999997</cx:pt>
          <cx:pt idx="4893">17.24098</cx:pt>
          <cx:pt idx="4894">13.1242499999999</cx:pt>
          <cx:pt idx="4895">13.1242499999999</cx:pt>
          <cx:pt idx="4896">15.04954</cx:pt>
          <cx:pt idx="4897">7.3008000000000006</cx:pt>
          <cx:pt idx="4898">11.625359999999899</cx:pt>
          <cx:pt idx="4899">13.1242499999999</cx:pt>
          <cx:pt idx="4900">15.344340000000001</cx:pt>
          <cx:pt idx="4901">15.04954</cx:pt>
          <cx:pt idx="4902">4.4998199999999899</cx:pt>
          <cx:pt idx="4903">18.778979999999901</cx:pt>
          <cx:pt idx="4904">7.8415999999999997</cx:pt>
          <cx:pt idx="4905">13.1242499999999</cx:pt>
          <cx:pt idx="4906">13.1242499999999</cx:pt>
          <cx:pt idx="4907">11.625359999999899</cx:pt>
          <cx:pt idx="4908">5.5324200000000197</cx:pt>
          <cx:pt idx="4909">11.625359999999899</cx:pt>
          <cx:pt idx="4910">17.24098</cx:pt>
          <cx:pt idx="4911">15.04954</cx:pt>
          <cx:pt idx="4912">7.9767999999999892</cx:pt>
          <cx:pt idx="4913">11.625359999999899</cx:pt>
          <cx:pt idx="4914">13.1242499999999</cx:pt>
          <cx:pt idx="4915">13.1242499999999</cx:pt>
          <cx:pt idx="4916">12.3333599999999</cx:pt>
          <cx:pt idx="4917">13.1242499999999</cx:pt>
          <cx:pt idx="4918">13.1242499999999</cx:pt>
          <cx:pt idx="4919">6.5549999999999997</cx:pt>
          <cx:pt idx="4920">15.04954</cx:pt>
          <cx:pt idx="4921">4.4998199999999899</cx:pt>
          <cx:pt idx="4922">13.1242499999999</cx:pt>
          <cx:pt idx="4923">15.04954</cx:pt>
          <cx:pt idx="4924">18.778979999999901</cx:pt>
          <cx:pt idx="4925">14.0261999999999</cx:pt>
          <cx:pt idx="4926">12.839249999999899</cx:pt>
          <cx:pt idx="4927">13.1242499999999</cx:pt>
          <cx:pt idx="4928">13.606859999999902</cx:pt>
          <cx:pt idx="4929">13.1242499999999</cx:pt>
          <cx:pt idx="4930">13.1242499999999</cx:pt>
          <cx:pt idx="4931">13.1242499999999</cx:pt>
          <cx:pt idx="4932">5.6504099999999999</cx:pt>
          <cx:pt idx="4933">13.1242499999999</cx:pt>
          <cx:pt idx="4934">13.1242499999999</cx:pt>
          <cx:pt idx="4935">15.04954</cx:pt>
          <cx:pt idx="4936">15.491739999999901</cx:pt>
          <cx:pt idx="4937">4.2434199999999995</cx:pt>
          <cx:pt idx="4938">13.1242499999999</cx:pt>
          <cx:pt idx="4939">15.04954</cx:pt>
          <cx:pt idx="4940">17.856179999999998</cx:pt>
          <cx:pt idx="4941">11.625359999999899</cx:pt>
          <cx:pt idx="4942">15.04954</cx:pt>
          <cx:pt idx="4943">13.1242499999999</cx:pt>
          <cx:pt idx="4944">13.1242499999999</cx:pt>
          <cx:pt idx="4945">13.1242499999999</cx:pt>
          <cx:pt idx="4946">12.839249999999899</cx:pt>
          <cx:pt idx="4947">4.9998000000000005</cx:pt>
          <cx:pt idx="4948">13.1242499999999</cx:pt>
          <cx:pt idx="4949">5.5061999999999998</cx:pt>
          <cx:pt idx="4950">18.778979999999901</cx:pt>
          <cx:pt idx="4951">14.75474</cx:pt>
          <cx:pt idx="4952">13.1242499999999</cx:pt>
          <cx:pt idx="4953">6.5549999999999997</cx:pt>
          <cx:pt idx="4954">17.24098</cx:pt>
          <cx:pt idx="4955">13.1242499999999</cx:pt>
          <cx:pt idx="4956">12.3333599999999</cx:pt>
          <cx:pt idx="4957">18.778979999999901</cx:pt>
          <cx:pt idx="4958">15.04954</cx:pt>
          <cx:pt idx="4959">13.109999999999999</cx:pt>
          <cx:pt idx="4960">13.1242499999999</cx:pt>
          <cx:pt idx="4961">13.1242499999999</cx:pt>
          <cx:pt idx="4962">13.1242499999999</cx:pt>
          <cx:pt idx="4963">15.04954</cx:pt>
          <cx:pt idx="4964">19.547980000000003</cx:pt>
          <cx:pt idx="4965">13.1242499999999</cx:pt>
          <cx:pt idx="4966">13.1242499999999</cx:pt>
          <cx:pt idx="4967">15.04954</cx:pt>
          <cx:pt idx="4968">13.1242499999999</cx:pt>
          <cx:pt idx="4969">13.1242499999999</cx:pt>
          <cx:pt idx="4970">13.1242499999999</cx:pt>
          <cx:pt idx="4971">13.1242499999999</cx:pt>
          <cx:pt idx="4972">13.1242499999999</cx:pt>
          <cx:pt idx="4973">13.1242499999999</cx:pt>
          <cx:pt idx="4974">11.625359999999899</cx:pt>
          <cx:pt idx="4975">18.3175799999999</cx:pt>
          <cx:pt idx="4976">15.344340000000001</cx:pt>
          <cx:pt idx="4977">15.04954</cx:pt>
          <cx:pt idx="4978">13.1242499999999</cx:pt>
          <cx:pt idx="4979">18.4713799999999</cx:pt>
          <cx:pt idx="4980">13.1242499999999</cx:pt>
          <cx:pt idx="4981">13.1242499999999</cx:pt>
          <cx:pt idx="4982">13.1242499999999</cx:pt>
          <cx:pt idx="4983">13.1242499999999</cx:pt>
          <cx:pt idx="4984">13.1242499999999</cx:pt>
          <cx:pt idx="4985">15.344340000000001</cx:pt>
          <cx:pt idx="4986">13.1242499999999</cx:pt>
          <cx:pt idx="4987">12.3333599999999</cx:pt>
          <cx:pt idx="4988">13.1242499999999</cx:pt>
          <cx:pt idx="4989">13.1242499999999</cx:pt>
          <cx:pt idx="4990">15.04954</cx:pt>
          <cx:pt idx="4991">13.1242499999999</cx:pt>
          <cx:pt idx="4992">13.1242499999999</cx:pt>
          <cx:pt idx="4993">13.1242499999999</cx:pt>
          <cx:pt idx="4994">41.1111</cx:pt>
          <cx:pt idx="4995">3.4742199999999896</cx:pt>
          <cx:pt idx="4996">15.786539999999999</cx:pt>
          <cx:pt idx="4997">15.6244</cx:pt>
          <cx:pt idx="4998">15.04954</cx:pt>
          <cx:pt idx="4999">38.182270000000003</cx:pt>
          <cx:pt idx="5000">13.1242499999999</cx:pt>
          <cx:pt idx="5001">13.1242499999999</cx:pt>
          <cx:pt idx="5002">13.606860000000001</cx:pt>
          <cx:pt idx="5003">12.3333599999999</cx:pt>
          <cx:pt idx="5004">13.1242499999999</cx:pt>
          <cx:pt idx="5005">16.625780000000002</cx:pt>
          <cx:pt idx="5006">13.1242499999999</cx:pt>
          <cx:pt idx="5007">2.9614199999999999</cx:pt>
          <cx:pt idx="5008">12.3333599999999</cx:pt>
          <cx:pt idx="5009">13.751459999999899</cx:pt>
          <cx:pt idx="5010">13.1242499999999</cx:pt>
          <cx:pt idx="5011">40.86927</cx:pt>
          <cx:pt idx="5012">13.1242499999999</cx:pt>
          <cx:pt idx="5013">40.600569999999706</cx:pt>
          <cx:pt idx="5014">48.661569999999699</cx:pt>
          <cx:pt idx="5015">2.1922199999999998</cx:pt>
          <cx:pt idx="5016">15.344340000000001</cx:pt>
          <cx:pt idx="5017">13.1242499999999</cx:pt>
          <cx:pt idx="5018">8.2472000000000012</cx:pt>
          <cx:pt idx="5019">17.24098</cx:pt>
          <cx:pt idx="5020">1.42302</cx:pt>
          <cx:pt idx="5021">7.3143200000000004</cx:pt>
          <cx:pt idx="5022">13.1242499999999</cx:pt>
          <cx:pt idx="5023">11.625359999999899</cx:pt>
          <cx:pt idx="5024">13.1242499999999</cx:pt>
          <cx:pt idx="5025">10.0008</cx:pt>
          <cx:pt idx="5026">15.04954</cx:pt>
          <cx:pt idx="5027">13.1242499999999</cx:pt>
          <cx:pt idx="5028">13.1242499999999</cx:pt>
          <cx:pt idx="5029">14.75474</cx:pt>
          <cx:pt idx="5030">15.04954</cx:pt>
          <cx:pt idx="5031">13.1242499999999</cx:pt>
          <cx:pt idx="5032">13.1242499999999</cx:pt>
          <cx:pt idx="5033">13.1242499999999</cx:pt>
          <cx:pt idx="5034">11.625359999999899</cx:pt>
          <cx:pt idx="5035">11.625359999999899</cx:pt>
          <cx:pt idx="5036">18.778979999999901</cx:pt>
          <cx:pt idx="5037">18.778979999999901</cx:pt>
          <cx:pt idx="5038">3.08962</cx:pt>
          <cx:pt idx="5039">13.1242499999999</cx:pt>
          <cx:pt idx="5040">15.04954</cx:pt>
          <cx:pt idx="5041">13.1242499999999</cx:pt>
          <cx:pt idx="5042">13.1242499999999</cx:pt>
          <cx:pt idx="5043">13.1242499999999</cx:pt>
          <cx:pt idx="5044">17.24098</cx:pt>
          <cx:pt idx="5045">13.1242499999999</cx:pt>
          <cx:pt idx="5046">13.1242499999999</cx:pt>
          <cx:pt idx="5047">13.1242499999999</cx:pt>
          <cx:pt idx="5048">19.547980000000003</cx:pt>
          <cx:pt idx="5049">40.600569999999706</cx:pt>
          <cx:pt idx="5050">13.1242499999999</cx:pt>
          <cx:pt idx="5051">13.1242499999999</cx:pt>
          <cx:pt idx="5052">13.1242499999999</cx:pt>
          <cx:pt idx="5053">13.751459999999899</cx:pt>
          <cx:pt idx="5054">15.04954</cx:pt>
          <cx:pt idx="5055">13.1242499999999</cx:pt>
          <cx:pt idx="5056">13.1242499999999</cx:pt>
          <cx:pt idx="5057">13.1242499999999</cx:pt>
          <cx:pt idx="5058">11.625359999999899</cx:pt>
          <cx:pt idx="5059">13.1242499999999</cx:pt>
          <cx:pt idx="5060">15.04954</cx:pt>
          <cx:pt idx="5061">13.1242499999999</cx:pt>
          <cx:pt idx="5062">40.600569999999706</cx:pt>
          <cx:pt idx="5063">13.1242499999999</cx:pt>
          <cx:pt idx="5064">49.198969999999697</cx:pt>
          <cx:pt idx="5065">13.1242499999999</cx:pt>
          <cx:pt idx="5066">10.7091899999999</cx:pt>
          <cx:pt idx="5067">18.778979999999901</cx:pt>
          <cx:pt idx="5068">15.04954</cx:pt>
          <cx:pt idx="5069">37.913569999999702</cx:pt>
          <cx:pt idx="5070">13.1242499999999</cx:pt>
          <cx:pt idx="5071">13.1242499999999</cx:pt>
          <cx:pt idx="5072">15.04954</cx:pt>
          <cx:pt idx="5073">15.04954</cx:pt>
          <cx:pt idx="5074">2.8332199999999998</cx:pt>
          <cx:pt idx="5075">3.34601999999999</cx:pt>
          <cx:pt idx="5076">43.287569999999697</cx:pt>
          <cx:pt idx="5077">12.319199999999899</cx:pt>
          <cx:pt idx="5078">18.778979999999901</cx:pt>
          <cx:pt idx="5079">11.625359999999899</cx:pt>
          <cx:pt idx="5080">13.1242499999999</cx:pt>
          <cx:pt idx="5081">13.1242499999999</cx:pt>
          <cx:pt idx="5082">13.1242499999999</cx:pt>
          <cx:pt idx="5083">15.04954</cx:pt>
          <cx:pt idx="5084">4.2305999999999999</cx:pt>
          <cx:pt idx="5085">15.04954</cx:pt>
          <cx:pt idx="5086">18.4713799999999</cx:pt>
          <cx:pt idx="5087">15.04954</cx:pt>
          <cx:pt idx="5088">13.1242499999999</cx:pt>
          <cx:pt idx="5089">13.1242499999999</cx:pt>
          <cx:pt idx="5090">13.1242499999999</cx:pt>
          <cx:pt idx="5091">13.1242499999999</cx:pt>
          <cx:pt idx="5092">15.344340000000001</cx:pt>
          <cx:pt idx="5093">4.7433999999999994</cx:pt>
          <cx:pt idx="5094">11.625359999999899</cx:pt>
          <cx:pt idx="5095">11.625359999999899</cx:pt>
          <cx:pt idx="5096">13.1242499999999</cx:pt>
          <cx:pt idx="5097">13.1242499999999</cx:pt>
          <cx:pt idx="5098">11.625359999999899</cx:pt>
          <cx:pt idx="5099">6.8171999999999997</cx:pt>
          <cx:pt idx="5100">13.1242499999999</cx:pt>
          <cx:pt idx="5101">17.24098</cx:pt>
          <cx:pt idx="5102">11.625359999999899</cx:pt>
          <cx:pt idx="5103">11.625359999999899</cx:pt>
          <cx:pt idx="5104">13.1242499999999</cx:pt>
          <cx:pt idx="5105">13.1242499999999</cx:pt>
          <cx:pt idx="5106">13.1242499999999</cx:pt>
          <cx:pt idx="5107">15.04954</cx:pt>
          <cx:pt idx="5108">15.04954</cx:pt>
          <cx:pt idx="5109">13.1242499999999</cx:pt>
          <cx:pt idx="5110">13.1242499999999</cx:pt>
          <cx:pt idx="5111">18.778979999999901</cx:pt>
          <cx:pt idx="5112">13.1242499999999</cx:pt>
          <cx:pt idx="5113">13.1242499999999</cx:pt>
          <cx:pt idx="5114">15.04954</cx:pt>
          <cx:pt idx="5115">40.600569999999706</cx:pt>
          <cx:pt idx="5116">15.04954</cx:pt>
          <cx:pt idx="5117">15.04954</cx:pt>
          <cx:pt idx="5118">18.302199999999999</cx:pt>
          <cx:pt idx="5119">18.778979999999901</cx:pt>
          <cx:pt idx="5120">13.1242499999999</cx:pt>
          <cx:pt idx="5121">7.4359999999999999</cx:pt>
          <cx:pt idx="5122">13.1242499999999</cx:pt>
          <cx:pt idx="5123">3.08962</cx:pt>
          <cx:pt idx="5124">13.1242499999999</cx:pt>
          <cx:pt idx="5125">13.1242499999999</cx:pt>
          <cx:pt idx="5126">13.1242499999999</cx:pt>
          <cx:pt idx="5127">13.1242499999999</cx:pt>
          <cx:pt idx="5128">13.1242499999999</cx:pt>
          <cx:pt idx="5129">17.24098</cx:pt>
          <cx:pt idx="5130">5.1408199999999997</cx:pt>
          <cx:pt idx="5131">15.04954</cx:pt>
          <cx:pt idx="5132">11.625359999999899</cx:pt>
          <cx:pt idx="5133">13.1242499999999</cx:pt>
          <cx:pt idx="5134">13.1242499999999</cx:pt>
          <cx:pt idx="5135">15.04954</cx:pt>
          <cx:pt idx="5136">7.8415999999999997</cx:pt>
          <cx:pt idx="5137">15.04954</cx:pt>
          <cx:pt idx="5138">15.04954</cx:pt>
          <cx:pt idx="5139">13.1242499999999</cx:pt>
          <cx:pt idx="5140">12.839249999999899</cx:pt>
          <cx:pt idx="5141">11.625359999999899</cx:pt>
          <cx:pt idx="5142">13.1242499999999</cx:pt>
          <cx:pt idx="5143">17.24098</cx:pt>
          <cx:pt idx="5144">15.04954</cx:pt>
          <cx:pt idx="5145">15.04954</cx:pt>
          <cx:pt idx="5146">15.04954</cx:pt>
          <cx:pt idx="5147">10.7091899999999</cx:pt>
          <cx:pt idx="5148">13.1242499999999</cx:pt>
          <cx:pt idx="5149">12.3333599999999</cx:pt>
          <cx:pt idx="5150">13.1242499999999</cx:pt>
          <cx:pt idx="5151">15.04954</cx:pt>
          <cx:pt idx="5152">3.60242</cx:pt>
          <cx:pt idx="5153">13.1242499999999</cx:pt>
          <cx:pt idx="5154">12.839249999999899</cx:pt>
          <cx:pt idx="5155">14.0406599999999</cx:pt>
          <cx:pt idx="5156">5.63729999999999</cx:pt>
          <cx:pt idx="5157">18.778979999999901</cx:pt>
          <cx:pt idx="5158">15.04954</cx:pt>
          <cx:pt idx="5159">13.1242499999999</cx:pt>
          <cx:pt idx="5160">13.1242499999999</cx:pt>
          <cx:pt idx="5161">13.1242499999999</cx:pt>
          <cx:pt idx="5162">13.1242499999999</cx:pt>
          <cx:pt idx="5163">18.778979999999901</cx:pt>
          <cx:pt idx="5164">15.04954</cx:pt>
          <cx:pt idx="5165">11.625359999999899</cx:pt>
          <cx:pt idx="5166">13.1242499999999</cx:pt>
          <cx:pt idx="5167">13.1242499999999</cx:pt>
          <cx:pt idx="5168">13.1242499999999</cx:pt>
          <cx:pt idx="5169">15.04954</cx:pt>
          <cx:pt idx="5170">13.1242499999999</cx:pt>
          <cx:pt idx="5171">13.1242499999999</cx:pt>
          <cx:pt idx="5172">13.1242499999999</cx:pt>
          <cx:pt idx="5173">13.1242499999999</cx:pt>
          <cx:pt idx="5174">17.24098</cx:pt>
          <cx:pt idx="5175">11.625359999999899</cx:pt>
          <cx:pt idx="5176">15.491739999999901</cx:pt>
          <cx:pt idx="5177">11.3421599999999</cx:pt>
          <cx:pt idx="5178">11.625359999999899</cx:pt>
          <cx:pt idx="5179">40.600569999999706</cx:pt>
          <cx:pt idx="5180">13.1242499999999</cx:pt>
          <cx:pt idx="5181">13.1242499999999</cx:pt>
          <cx:pt idx="5182">13.1242499999999</cx:pt>
          <cx:pt idx="5183">13.1242499999999</cx:pt>
          <cx:pt idx="5184">11.625359999999899</cx:pt>
          <cx:pt idx="5185">18.778979999999901</cx:pt>
          <cx:pt idx="5186">15.344340000000001</cx:pt>
          <cx:pt idx="5187">13.1242499999999</cx:pt>
          <cx:pt idx="5188">13.1242499999999</cx:pt>
          <cx:pt idx="5189">11.625359999999899</cx:pt>
          <cx:pt idx="5190">15.344340000000001</cx:pt>
          <cx:pt idx="5191">15.344340000000001</cx:pt>
          <cx:pt idx="5192">13.1242499999999</cx:pt>
          <cx:pt idx="5193">13.1242499999999</cx:pt>
          <cx:pt idx="5194">6.0437099999999999</cx:pt>
          <cx:pt idx="5195">13.1242499999999</cx:pt>
          <cx:pt idx="5196">13.1242499999999</cx:pt>
          <cx:pt idx="5197">15.04954</cx:pt>
          <cx:pt idx="5198">11.625359999999899</cx:pt>
          <cx:pt idx="5199">15.04954</cx:pt>
          <cx:pt idx="5200">17.24098</cx:pt>
          <cx:pt idx="5201">6.5549999999999997</cx:pt>
          <cx:pt idx="5202">13.1242499999999</cx:pt>
          <cx:pt idx="5203">40.600569999999706</cx:pt>
          <cx:pt idx="5204">13.1242499999999</cx:pt>
          <cx:pt idx="5205">6.1616999999999997</cx:pt>
          <cx:pt idx="5206">13.1242499999999</cx:pt>
          <cx:pt idx="5207">9.5840999999999994</cx:pt>
          <cx:pt idx="5208">13.1242499999999</cx:pt>
          <cx:pt idx="5209">13.1242499999999</cx:pt>
          <cx:pt idx="5210">12.3333599999999</cx:pt>
          <cx:pt idx="5211">15.04954</cx:pt>
          <cx:pt idx="5212">1.42302</cx:pt>
          <cx:pt idx="5213">14.0261999999999</cx:pt>
          <cx:pt idx="5214">13.1242499999999</cx:pt>
          <cx:pt idx="5215">13.1242499999999</cx:pt>
          <cx:pt idx="5216">12.839249999999899</cx:pt>
          <cx:pt idx="5217">13.1242499999999</cx:pt>
          <cx:pt idx="5218">15.04954</cx:pt>
          <cx:pt idx="5219">15.04954</cx:pt>
          <cx:pt idx="5220">11.625359999999899</cx:pt>
          <cx:pt idx="5221">15.04954</cx:pt>
          <cx:pt idx="5222">18.778979999999901</cx:pt>
          <cx:pt idx="5223">15.04954</cx:pt>
          <cx:pt idx="5224">1.6794199999999999</cx:pt>
          <cx:pt idx="5225">11.625359999999899</cx:pt>
          <cx:pt idx="5226">18.778979999999901</cx:pt>
          <cx:pt idx="5227">18.778979999999901</cx:pt>
          <cx:pt idx="5228">15.04954</cx:pt>
          <cx:pt idx="5229">12.3333599999999</cx:pt>
          <cx:pt idx="5230">10.153589999999999</cx:pt>
          <cx:pt idx="5231">11.625359999999899</cx:pt>
          <cx:pt idx="5232">40.86927</cx:pt>
          <cx:pt idx="5233">13.1242499999999</cx:pt>
          <cx:pt idx="5234">13.1242499999999</cx:pt>
          <cx:pt idx="5235">13.606860000000001</cx:pt>
          <cx:pt idx="5236">13.1242499999999</cx:pt>
          <cx:pt idx="5237">13.1242499999999</cx:pt>
          <cx:pt idx="5238">15.04954</cx:pt>
          <cx:pt idx="5239">15.491739999999901</cx:pt>
          <cx:pt idx="5240">46.511970000000005</cx:pt>
          <cx:pt idx="5241">13.1242499999999</cx:pt>
          <cx:pt idx="5242">15.344340000000001</cx:pt>
          <cx:pt idx="5243">13.1242499999999</cx:pt>
          <cx:pt idx="5244">15.04954</cx:pt>
          <cx:pt idx="5245">3.8460000000000001</cx:pt>
          <cx:pt idx="5246">13.1242499999999</cx:pt>
          <cx:pt idx="5247">15.04954</cx:pt>
          <cx:pt idx="5248">13.1242499999999</cx:pt>
          <cx:pt idx="5249">13.1242499999999</cx:pt>
          <cx:pt idx="5250">11.3421599999999</cx:pt>
          <cx:pt idx="5251">13.1242499999999</cx:pt>
          <cx:pt idx="5252">15.04954</cx:pt>
          <cx:pt idx="5253">11.625359999999899</cx:pt>
          <cx:pt idx="5254">7.7063999999999995</cx:pt>
          <cx:pt idx="5255">1.42302</cx:pt>
          <cx:pt idx="5256">11.625359999999899</cx:pt>
          <cx:pt idx="5257">11.625359999999899</cx:pt>
          <cx:pt idx="5258">3.2178199999999997</cx:pt>
          <cx:pt idx="5259">15.04954</cx:pt>
          <cx:pt idx="5260">12.616559999999899</cx:pt>
          <cx:pt idx="5261">11.625359999999899</cx:pt>
          <cx:pt idx="5262">11.625359999999899</cx:pt>
          <cx:pt idx="5263">14.0406599999999</cx:pt>
          <cx:pt idx="5264">15.04954</cx:pt>
          <cx:pt idx="5265">11.625359999999899</cx:pt>
          <cx:pt idx="5266">13.1242499999999</cx:pt>
          <cx:pt idx="5267">11.3421599999999</cx:pt>
          <cx:pt idx="5268">15.04954</cx:pt>
          <cx:pt idx="5269">15.04954</cx:pt>
          <cx:pt idx="5270">17.24098</cx:pt>
          <cx:pt idx="5271">35.495269999999898</cx:pt>
          <cx:pt idx="5272">9.3201899999999789</cx:pt>
          <cx:pt idx="5273">12.3333599999999</cx:pt>
          <cx:pt idx="5274">15.04954</cx:pt>
          <cx:pt idx="5275">13.1242499999999</cx:pt>
          <cx:pt idx="5276">13.1242499999999</cx:pt>
          <cx:pt idx="5277">13.1242499999999</cx:pt>
          <cx:pt idx="5278">13.1242499999999</cx:pt>
          <cx:pt idx="5279">13.1242499999999</cx:pt>
          <cx:pt idx="5280">15.04954</cx:pt>
          <cx:pt idx="5281">10.7091899999999</cx:pt>
          <cx:pt idx="5282">13.1242499999999</cx:pt>
          <cx:pt idx="5283">13.1242499999999</cx:pt>
          <cx:pt idx="5284">13.1242499999999</cx:pt>
          <cx:pt idx="5285">18.778979999999901</cx:pt>
          <cx:pt idx="5286">15.04954</cx:pt>
          <cx:pt idx="5287">10.7091899999999</cx:pt>
          <cx:pt idx="5288">14.0406599999999</cx:pt>
          <cx:pt idx="5289">3.08962</cx:pt>
          <cx:pt idx="5290">12.967500000000001</cx:pt>
          <cx:pt idx="5291">13.1242499999999</cx:pt>
          <cx:pt idx="5292">13.1242499999999</cx:pt>
          <cx:pt idx="5293">15.04954</cx:pt>
          <cx:pt idx="5294">13.1242499999999</cx:pt>
          <cx:pt idx="5295">11.625359999999899</cx:pt>
          <cx:pt idx="5296">18.778979999999901</cx:pt>
          <cx:pt idx="5297">10.7091899999999</cx:pt>
          <cx:pt idx="5298">43.824969999999702</cx:pt>
          <cx:pt idx="5299">11.625359999999899</cx:pt>
          <cx:pt idx="5300">15.04954</cx:pt>
          <cx:pt idx="5301">15.04954</cx:pt>
          <cx:pt idx="5302">11.625359999999899</cx:pt>
          <cx:pt idx="5303">14.75474</cx:pt>
          <cx:pt idx="5304">13.1242499999999</cx:pt>
          <cx:pt idx="5305">15.04954</cx:pt>
          <cx:pt idx="5306">15.04954</cx:pt>
          <cx:pt idx="5307">14.75474</cx:pt>
          <cx:pt idx="5308">15.04954</cx:pt>
          <cx:pt idx="5309">13.1242499999999</cx:pt>
          <cx:pt idx="5310">13.1242499999999</cx:pt>
          <cx:pt idx="5311">13.1242499999999</cx:pt>
          <cx:pt idx="5312">3.9870200000000002</cx:pt>
          <cx:pt idx="5313">13.1242499999999</cx:pt>
          <cx:pt idx="5314">3.4742199999999896</cx:pt>
          <cx:pt idx="5315">13.1242499999999</cx:pt>
          <cx:pt idx="5316">15.04954</cx:pt>
          <cx:pt idx="5317">15.04954</cx:pt>
          <cx:pt idx="5318">8.7880000000000003</cx:pt>
          <cx:pt idx="5319">14.75474</cx:pt>
          <cx:pt idx="5320">3.7178000000000004</cx:pt>
          <cx:pt idx="5321">4.3716200000000001</cx:pt>
          <cx:pt idx="5322">13.1242499999999</cx:pt>
          <cx:pt idx="5323">13.1242499999999</cx:pt>
          <cx:pt idx="5324">10.292490000000001</cx:pt>
          <cx:pt idx="5325">13.1242499999999</cx:pt>
          <cx:pt idx="5326">13.1242499999999</cx:pt>
          <cx:pt idx="5327">13.1242499999999</cx:pt>
          <cx:pt idx="5328">15.04954</cx:pt>
          <cx:pt idx="5329">13.1242499999999</cx:pt>
          <cx:pt idx="5330">13.1242499999999</cx:pt>
          <cx:pt idx="5331">11.625359999999899</cx:pt>
          <cx:pt idx="5332">13.1242499999999</cx:pt>
          <cx:pt idx="5333">7.1655999999999995</cx:pt>
          <cx:pt idx="5334">13.606859999999902</cx:pt>
          <cx:pt idx="5335">12.839249999999899</cx:pt>
          <cx:pt idx="5336">17.24098</cx:pt>
          <cx:pt idx="5337">15.04954</cx:pt>
          <cx:pt idx="5338">15.04954</cx:pt>
          <cx:pt idx="5339">11.625359999999899</cx:pt>
          <cx:pt idx="5340">13.1242499999999</cx:pt>
          <cx:pt idx="5341">13.1242499999999</cx:pt>
          <cx:pt idx="5342">11.625359999999899</cx:pt>
          <cx:pt idx="5343">11.625359999999899</cx:pt>
          <cx:pt idx="5344">13.1242499999999</cx:pt>
          <cx:pt idx="5345">13.1242499999999</cx:pt>
          <cx:pt idx="5346">13.1242499999999</cx:pt>
          <cx:pt idx="5347">13.751459999999899</cx:pt>
          <cx:pt idx="5348">13.1242499999999</cx:pt>
          <cx:pt idx="5349">12.050159999999901</cx:pt>
          <cx:pt idx="5350">13.1242499999999</cx:pt>
          <cx:pt idx="5351">13.1242499999999</cx:pt>
          <cx:pt idx="5352">13.1242499999999</cx:pt>
          <cx:pt idx="5353">11.625359999999899</cx:pt>
          <cx:pt idx="5354">13.1242499999999</cx:pt>
          <cx:pt idx="5355">15.04954</cx:pt>
          <cx:pt idx="5356">11.625359999999899</cx:pt>
          <cx:pt idx="5357">13.1242499999999</cx:pt>
          <cx:pt idx="5358">15.04954</cx:pt>
          <cx:pt idx="5359">15.04954</cx:pt>
          <cx:pt idx="5360">13.1242499999999</cx:pt>
          <cx:pt idx="5361">13.1242499999999</cx:pt>
          <cx:pt idx="5362">13.1242499999999</cx:pt>
          <cx:pt idx="5363">12.460799999999999</cx:pt>
          <cx:pt idx="5364">13.1242499999999</cx:pt>
          <cx:pt idx="5365">10.7091899999999</cx:pt>
          <cx:pt idx="5366">13.1242499999999</cx:pt>
          <cx:pt idx="5367">15.04954</cx:pt>
          <cx:pt idx="5368">12.3333599999999</cx:pt>
          <cx:pt idx="5369">13.1242499999999</cx:pt>
          <cx:pt idx="5370">15.786539999999999</cx:pt>
          <cx:pt idx="5371">13.1242499999999</cx:pt>
          <cx:pt idx="5372">6.03059999999999</cx:pt>
          <cx:pt idx="5373">14.75474</cx:pt>
          <cx:pt idx="5374">13.1242499999999</cx:pt>
          <cx:pt idx="5375">13.1242499999999</cx:pt>
          <cx:pt idx="5376">13.1242499999999</cx:pt>
          <cx:pt idx="5377">13.1242499999999</cx:pt>
          <cx:pt idx="5378">13.1242499999999</cx:pt>
          <cx:pt idx="5379">13.1242499999999</cx:pt>
          <cx:pt idx="5380">12.839249999999899</cx:pt>
          <cx:pt idx="5381">48.392870000000002</cx:pt>
          <cx:pt idx="5382">4.7562199999999999</cx:pt>
          <cx:pt idx="5383">13.1242499999999</cx:pt>
          <cx:pt idx="5384">13.1242499999999</cx:pt>
          <cx:pt idx="5385">4.3588000000000005</cx:pt>
          <cx:pt idx="5386">13.1242499999999</cx:pt>
          <cx:pt idx="5387">13.1242499999999</cx:pt>
          <cx:pt idx="5388">13.1242499999999</cx:pt>
          <cx:pt idx="5389">13.1242499999999</cx:pt>
          <cx:pt idx="5390">14.3154</cx:pt>
          <cx:pt idx="5391">13.1242499999999</cx:pt>
          <cx:pt idx="5392">18.778979999999901</cx:pt>
          <cx:pt idx="5393">13.1242499999999</cx:pt>
          <cx:pt idx="5394">13.1242499999999</cx:pt>
          <cx:pt idx="5395">17.24098</cx:pt>
          <cx:pt idx="5396">13.1242499999999</cx:pt>
          <cx:pt idx="5397">15.04954</cx:pt>
          <cx:pt idx="5398">13.1242499999999</cx:pt>
          <cx:pt idx="5399">13.1242499999999</cx:pt>
          <cx:pt idx="5400">15.491739999999901</cx:pt>
          <cx:pt idx="5401">13.1242499999999</cx:pt>
          <cx:pt idx="5402">12.3333599999999</cx:pt>
          <cx:pt idx="5403">13.1242499999999</cx:pt>
          <cx:pt idx="5404">13.1242499999999</cx:pt>
          <cx:pt idx="5405">11.625359999999899</cx:pt>
          <cx:pt idx="5406">4.1023999999999994</cx:pt>
          <cx:pt idx="5407">11.625359999999899</cx:pt>
          <cx:pt idx="5408">18.778979999999901</cx:pt>
          <cx:pt idx="5409">13.1242499999999</cx:pt>
          <cx:pt idx="5410">13.1242499999999</cx:pt>
          <cx:pt idx="5411">13.1242499999999</cx:pt>
          <cx:pt idx="5412">13.1242499999999</cx:pt>
          <cx:pt idx="5413">17.702379999999902</cx:pt>
          <cx:pt idx="5414">13.1242499999999</cx:pt>
          <cx:pt idx="5415">11.625359999999899</cx:pt>
          <cx:pt idx="5416">13.1242499999999</cx:pt>
          <cx:pt idx="5417">13.1242499999999</cx:pt>
          <cx:pt idx="5418">13.1242499999999</cx:pt>
          <cx:pt idx="5419">13.1242499999999</cx:pt>
          <cx:pt idx="5420">13.1242499999999</cx:pt>
          <cx:pt idx="5421">11.625359999999899</cx:pt>
          <cx:pt idx="5422">13.1242499999999</cx:pt>
          <cx:pt idx="5423">17.24098</cx:pt>
          <cx:pt idx="5424">11.625359999999899</cx:pt>
          <cx:pt idx="5425">15.04954</cx:pt>
          <cx:pt idx="5426">13.1242499999999</cx:pt>
          <cx:pt idx="5427">13.1242499999999</cx:pt>
          <cx:pt idx="5428">13.1242499999999</cx:pt>
          <cx:pt idx="5429">13.1242499999999</cx:pt>
          <cx:pt idx="5430">4.9998000000000005</cx:pt>
          <cx:pt idx="5431">6.03059999999999</cx:pt>
          <cx:pt idx="5432">15.04954</cx:pt>
          <cx:pt idx="5433">2.1922199999999998</cx:pt>
          <cx:pt idx="5434">13.1242499999999</cx:pt>
          <cx:pt idx="5435">15.04954</cx:pt>
          <cx:pt idx="5436">15.04954</cx:pt>
          <cx:pt idx="5437">40.86927</cx:pt>
          <cx:pt idx="5438">13.1242499999999</cx:pt>
          <cx:pt idx="5439">2.9614199999999999</cx:pt>
          <cx:pt idx="5440">13.1242499999999</cx:pt>
          <cx:pt idx="5441">11.625359999999899</cx:pt>
          <cx:pt idx="5442">35.495269999999898</cx:pt>
          <cx:pt idx="5443">15.04954</cx:pt>
          <cx:pt idx="5444">13.1242499999999</cx:pt>
          <cx:pt idx="5445">13.1242499999999</cx:pt>
          <cx:pt idx="5446">15.04954</cx:pt>
          <cx:pt idx="5447">15.04954</cx:pt>
          <cx:pt idx="5448">13.1242499999999</cx:pt>
          <cx:pt idx="5449">13.606859999999902</cx:pt>
          <cx:pt idx="5450">13.1242499999999</cx:pt>
          <cx:pt idx="5451">13.1242499999999</cx:pt>
          <cx:pt idx="5452">12.839249999999899</cx:pt>
          <cx:pt idx="5453">15.04954</cx:pt>
          <cx:pt idx="5454">13.1242499999999</cx:pt>
          <cx:pt idx="5455">13.1242499999999</cx:pt>
          <cx:pt idx="5456">2.7050200000000002</cx:pt>
          <cx:pt idx="5457">11.625359999999899</cx:pt>
          <cx:pt idx="5458">13.1242499999999</cx:pt>
          <cx:pt idx="5459">13.1242499999999</cx:pt>
          <cx:pt idx="5460">2.1922199999999998</cx:pt>
          <cx:pt idx="5461">15.786539999999999</cx:pt>
          <cx:pt idx="5462">15.04954</cx:pt>
          <cx:pt idx="5463">15.04954</cx:pt>
          <cx:pt idx="5464">15.786539999999999</cx:pt>
          <cx:pt idx="5465">13.1242499999999</cx:pt>
          <cx:pt idx="5466">13.1242499999999</cx:pt>
          <cx:pt idx="5467">11.625359999999899</cx:pt>
          <cx:pt idx="5468">11.3421599999999</cx:pt>
          <cx:pt idx="5469">18.009979999999899</cx:pt>
          <cx:pt idx="5470">15.04954</cx:pt>
          <cx:pt idx="5471">13.1242499999999</cx:pt>
          <cx:pt idx="5472">14.0261999999999</cx:pt>
          <cx:pt idx="5473">13.1242499999999</cx:pt>
          <cx:pt idx="5474">13.1242499999999</cx:pt>
          <cx:pt idx="5475">13.1242499999999</cx:pt>
          <cx:pt idx="5476">13.1242499999999</cx:pt>
          <cx:pt idx="5477">15.04954</cx:pt>
          <cx:pt idx="5478">12.3333599999999</cx:pt>
          <cx:pt idx="5479">13.1242499999999</cx:pt>
          <cx:pt idx="5480">13.1242499999999</cx:pt>
          <cx:pt idx="5481">15.04954</cx:pt>
          <cx:pt idx="5482">3.7178000000000004</cx:pt>
          <cx:pt idx="5483">13.1242499999999</cx:pt>
          <cx:pt idx="5484">15.04954</cx:pt>
          <cx:pt idx="5485">15.344340000000001</cx:pt>
          <cx:pt idx="5486">13.1242499999999</cx:pt>
          <cx:pt idx="5487">15.786539999999999</cx:pt>
          <cx:pt idx="5488">15.04954</cx:pt>
          <cx:pt idx="5489">17.24098</cx:pt>
          <cx:pt idx="5490">17.840799999999902</cx:pt>
          <cx:pt idx="5491">15.04954</cx:pt>
          <cx:pt idx="5492">52.154669999999705</cx:pt>
          <cx:pt idx="5493">13.1242499999999</cx:pt>
          <cx:pt idx="5494">11.625359999999899</cx:pt>
          <cx:pt idx="5495">4.7433999999999994</cx:pt>
          <cx:pt idx="5496">41.4066699999997</cx:pt>
          <cx:pt idx="5497">15.04954</cx:pt>
          <cx:pt idx="5498">15.786539999999999</cx:pt>
          <cx:pt idx="5499">6.2927999999999997</cx:pt>
          <cx:pt idx="5500">9.5979900000000011</cx:pt>
          <cx:pt idx="5501">13.1242499999999</cx:pt>
          <cx:pt idx="5502">15.04954</cx:pt>
          <cx:pt idx="5503">13.1242499999999</cx:pt>
          <cx:pt idx="5504">8.3823999999999987</cx:pt>
          <cx:pt idx="5505">15.04954</cx:pt>
          <cx:pt idx="5506">15.04954</cx:pt>
          <cx:pt idx="5507">6.5549999999999997</cx:pt>
          <cx:pt idx="5508">11.625359999999899</cx:pt>
          <cx:pt idx="5509">15.04954</cx:pt>
          <cx:pt idx="5510">2.9614199999999999</cx:pt>
          <cx:pt idx="5511">10.7091899999999</cx:pt>
          <cx:pt idx="5512">17.24098</cx:pt>
          <cx:pt idx="5513">13.1242499999999</cx:pt>
          <cx:pt idx="5514">15.04954</cx:pt>
          <cx:pt idx="5515">15.04954</cx:pt>
          <cx:pt idx="5516">13.1242499999999</cx:pt>
          <cx:pt idx="5517">49.198969999999697</cx:pt>
          <cx:pt idx="5518">13.1242499999999</cx:pt>
          <cx:pt idx="5519">11.625359999999899</cx:pt>
          <cx:pt idx="5520">13.1242499999999</cx:pt>
          <cx:pt idx="5521">13.1242499999999</cx:pt>
          <cx:pt idx="5522">13.1242499999999</cx:pt>
          <cx:pt idx="5523">13.1242499999999</cx:pt>
          <cx:pt idx="5524">13.1242499999999</cx:pt>
          <cx:pt idx="5525">13.1242499999999</cx:pt>
          <cx:pt idx="5526">15.04954</cx:pt>
          <cx:pt idx="5527">13.1242499999999</cx:pt>
          <cx:pt idx="5528">1.16662</cx:pt>
          <cx:pt idx="5529">13.1242499999999</cx:pt>
          <cx:pt idx="5530">13.1242499999999</cx:pt>
          <cx:pt idx="5531">13.1242499999999</cx:pt>
          <cx:pt idx="5532">15.04954</cx:pt>
          <cx:pt idx="5533">11.625359999999899</cx:pt>
          <cx:pt idx="5534">15.491739999999901</cx:pt>
          <cx:pt idx="5535">13.1242499999999</cx:pt>
          <cx:pt idx="5536">14.0261999999999</cx:pt>
          <cx:pt idx="5537">15.04954</cx:pt>
          <cx:pt idx="5538">37.913569999999702</cx:pt>
          <cx:pt idx="5539">13.1242499999999</cx:pt>
          <cx:pt idx="5540">11.625359999999899</cx:pt>
          <cx:pt idx="5541">13.1242499999999</cx:pt>
          <cx:pt idx="5542">13.1242499999999</cx:pt>
          <cx:pt idx="5543">36.274499999999996</cx:pt>
          <cx:pt idx="5544">15.491739999999901</cx:pt>
          <cx:pt idx="5545">4.3716200000000001</cx:pt>
          <cx:pt idx="5546">10.7091899999999</cx:pt>
          <cx:pt idx="5547">15.04954</cx:pt>
          <cx:pt idx="5548">13.1242499999999</cx:pt>
          <cx:pt idx="5549">15.04954</cx:pt>
          <cx:pt idx="5550">4.8715999999999999</cx:pt>
          <cx:pt idx="5551">13.1242499999999</cx:pt>
          <cx:pt idx="5552">13.1242499999999</cx:pt>
          <cx:pt idx="5553">13.1242499999999</cx:pt>
          <cx:pt idx="5554">15.04954</cx:pt>
          <cx:pt idx="5555">13.1242499999999</cx:pt>
          <cx:pt idx="5556">15.04954</cx:pt>
          <cx:pt idx="5557">6.4239000000000006</cx:pt>
          <cx:pt idx="5558">12.839249999999899</cx:pt>
          <cx:pt idx="5559">15.04954</cx:pt>
          <cx:pt idx="5560">19.547980000000003</cx:pt>
          <cx:pt idx="5561">13.1242499999999</cx:pt>
          <cx:pt idx="5562">11.625359999999899</cx:pt>
          <cx:pt idx="5563">13.1242499999999</cx:pt>
          <cx:pt idx="5564">16.917999999999999</cx:pt>
          <cx:pt idx="5565">13.1242499999999</cx:pt>
          <cx:pt idx="5566">40.86927</cx:pt>
          <cx:pt idx="5567">11.625359999999899</cx:pt>
          <cx:pt idx="5568">13.1242499999999</cx:pt>
          <cx:pt idx="5569">13.1242499999999</cx:pt>
          <cx:pt idx="5570">13.1242499999999</cx:pt>
          <cx:pt idx="5571">4.7433999999999994</cx:pt>
          <cx:pt idx="5572">14.0406599999999</cx:pt>
          <cx:pt idx="5573">13.1242499999999</cx:pt>
          <cx:pt idx="5574">15.04954</cx:pt>
          <cx:pt idx="5575">17.24098</cx:pt>
          <cx:pt idx="5576">44.093670000000003</cx:pt>
          <cx:pt idx="5577">15.04954</cx:pt>
          <cx:pt idx="5578">17.24098</cx:pt>
          <cx:pt idx="5579">15.04954</cx:pt>
          <cx:pt idx="5580">3.4613999999999998</cx:pt>
          <cx:pt idx="5581">4.3716200000000001</cx:pt>
          <cx:pt idx="5582">13.1242499999999</cx:pt>
          <cx:pt idx="5583">15.04954</cx:pt>
          <cx:pt idx="5584">13.1242499999999</cx:pt>
          <cx:pt idx="5585">13.1242499999999</cx:pt>
          <cx:pt idx="5586">13.1242499999999</cx:pt>
          <cx:pt idx="5587">43.556270000000005</cx:pt>
          <cx:pt idx="5588">6.8171999999999997</cx:pt>
          <cx:pt idx="5589">13.1242499999999</cx:pt>
          <cx:pt idx="5590">15.04954</cx:pt>
          <cx:pt idx="5591">13.1242499999999</cx:pt>
          <cx:pt idx="5592">11.625359999999899</cx:pt>
          <cx:pt idx="5593">15.04954</cx:pt>
          <cx:pt idx="5594">13.1242499999999</cx:pt>
          <cx:pt idx="5595">11.625359999999899</cx:pt>
          <cx:pt idx="5596">17.08718</cx:pt>
          <cx:pt idx="5597">15.344340000000001</cx:pt>
          <cx:pt idx="5598">17.702379999999902</cx:pt>
          <cx:pt idx="5599">13.1242499999999</cx:pt>
          <cx:pt idx="5600">10.431389999999901</cx:pt>
          <cx:pt idx="5601">15.04954</cx:pt>
          <cx:pt idx="5602">13.1242499999999</cx:pt>
          <cx:pt idx="5603">17.24098</cx:pt>
          <cx:pt idx="5604">13.1242499999999</cx:pt>
          <cx:pt idx="5605">6.1616999999999997</cx:pt>
          <cx:pt idx="5606">13.1242499999999</cx:pt>
          <cx:pt idx="5607">15.04954</cx:pt>
          <cx:pt idx="5608">13.1242499999999</cx:pt>
          <cx:pt idx="5609">18.778979999999901</cx:pt>
          <cx:pt idx="5610">18.009979999999899</cx:pt>
          <cx:pt idx="5611">13.1242499999999</cx:pt>
          <cx:pt idx="5612">12.825000000000001</cx:pt>
          <cx:pt idx="5613">15.04954</cx:pt>
          <cx:pt idx="5614">13.1242499999999</cx:pt>
          <cx:pt idx="5615">11.625359999999899</cx:pt>
          <cx:pt idx="5616">15.04954</cx:pt>
          <cx:pt idx="5617">14.607339999999899</cx:pt>
          <cx:pt idx="5618">15.04954</cx:pt>
          <cx:pt idx="5619">13.1242499999999</cx:pt>
          <cx:pt idx="5620">8.80152</cx:pt>
          <cx:pt idx="5621">15.04954</cx:pt>
          <cx:pt idx="5622">13.1242499999999</cx:pt>
          <cx:pt idx="5623">17.24098</cx:pt>
          <cx:pt idx="5624">6.6860999999999908</cx:pt>
          <cx:pt idx="5625">15.04954</cx:pt>
          <cx:pt idx="5626">3.8460000000000001</cx:pt>
          <cx:pt idx="5627">15.04954</cx:pt>
          <cx:pt idx="5628">13.1242499999999</cx:pt>
          <cx:pt idx="5629">13.1242499999999</cx:pt>
          <cx:pt idx="5630">13.1242499999999</cx:pt>
          <cx:pt idx="5631">13.1242499999999</cx:pt>
          <cx:pt idx="5632">13.1242499999999</cx:pt>
          <cx:pt idx="5633">12.825000000000001</cx:pt>
          <cx:pt idx="5634">15.04954</cx:pt>
          <cx:pt idx="5635">3.8460000000000001</cx:pt>
          <cx:pt idx="5636">18.778979999999901</cx:pt>
          <cx:pt idx="5637">11.625359999999899</cx:pt>
          <cx:pt idx="5638">13.1242499999999</cx:pt>
          <cx:pt idx="5639">13.1242499999999</cx:pt>
          <cx:pt idx="5640">12.3333599999999</cx:pt>
          <cx:pt idx="5641">13.1242499999999</cx:pt>
          <cx:pt idx="5642">15.04954</cx:pt>
          <cx:pt idx="5643">13.1242499999999</cx:pt>
          <cx:pt idx="5644">11.625359999999899</cx:pt>
          <cx:pt idx="5645">15.491739999999901</cx:pt>
          <cx:pt idx="5646">13.1242499999999</cx:pt>
          <cx:pt idx="5647">15.04954</cx:pt>
          <cx:pt idx="5648">13.1242499999999</cx:pt>
          <cx:pt idx="5649">13.1242499999999</cx:pt>
          <cx:pt idx="5650">13.1242499999999</cx:pt>
          <cx:pt idx="5651">13.1242499999999</cx:pt>
          <cx:pt idx="5652">17.24098</cx:pt>
          <cx:pt idx="5653">13.1242499999999</cx:pt>
          <cx:pt idx="5654">11.625359999999899</cx:pt>
          <cx:pt idx="5655">13.1242499999999</cx:pt>
          <cx:pt idx="5656">13.1242499999999</cx:pt>
          <cx:pt idx="5657">17.24098</cx:pt>
          <cx:pt idx="5658">11.3421599999999</cx:pt>
          <cx:pt idx="5659">11.625359999999899</cx:pt>
          <cx:pt idx="5660">1.42302</cx:pt>
          <cx:pt idx="5661">18.302199999999999</cx:pt>
          <cx:pt idx="5662">11.625359999999899</cx:pt>
          <cx:pt idx="5663">13.1242499999999</cx:pt>
          <cx:pt idx="5664">11.625359999999899</cx:pt>
          <cx:pt idx="5665">13.1242499999999</cx:pt>
          <cx:pt idx="5666">13.1242499999999</cx:pt>
          <cx:pt idx="5667">17.24098</cx:pt>
          <cx:pt idx="5668">15.04954</cx:pt>
          <cx:pt idx="5669">13.1242499999999</cx:pt>
          <cx:pt idx="5670">15.04954</cx:pt>
          <cx:pt idx="5671">18.4713799999999</cx:pt>
          <cx:pt idx="5672">13.1242499999999</cx:pt>
          <cx:pt idx="5673">15.04954</cx:pt>
          <cx:pt idx="5674">13.1242499999999</cx:pt>
          <cx:pt idx="5675">11.625359999999899</cx:pt>
          <cx:pt idx="5676">13.1242499999999</cx:pt>
          <cx:pt idx="5677">11.3421599999999</cx:pt>
          <cx:pt idx="5678">13.1242499999999</cx:pt>
          <cx:pt idx="5679">11.625359999999899</cx:pt>
          <cx:pt idx="5680">16.764200000000002</cx:pt>
          <cx:pt idx="5681">15.04954</cx:pt>
          <cx:pt idx="5682">12.3333599999999</cx:pt>
          <cx:pt idx="5683">13.1242499999999</cx:pt>
          <cx:pt idx="5684">15.04954</cx:pt>
          <cx:pt idx="5685">17.24098</cx:pt>
          <cx:pt idx="5686">10.7091899999999</cx:pt>
          <cx:pt idx="5687">13.1242499999999</cx:pt>
          <cx:pt idx="5688">4.2434199999999995</cx:pt>
          <cx:pt idx="5689">13.1242499999999</cx:pt>
          <cx:pt idx="5690">13.1242499999999</cx:pt>
          <cx:pt idx="5691">15.04954</cx:pt>
          <cx:pt idx="5692">13.1242499999999</cx:pt>
          <cx:pt idx="5693">1.42302</cx:pt>
          <cx:pt idx="5694">17.24098</cx:pt>
          <cx:pt idx="5695">13.1242499999999</cx:pt>
          <cx:pt idx="5696">13.1242499999999</cx:pt>
          <cx:pt idx="5697">13.1242499999999</cx:pt>
          <cx:pt idx="5698">15.491739999999901</cx:pt>
          <cx:pt idx="5699">13.1242499999999</cx:pt>
          <cx:pt idx="5700">15.04954</cx:pt>
          <cx:pt idx="5701">48.124169999999701</cx:pt>
          <cx:pt idx="5702">13.1242499999999</cx:pt>
          <cx:pt idx="5703">1.42302</cx:pt>
          <cx:pt idx="5704">13.1242499999999</cx:pt>
          <cx:pt idx="5705">13.1242499999999</cx:pt>
          <cx:pt idx="5706">8.1120000000000001</cx:pt>
          <cx:pt idx="5707">2.8332199999999998</cx:pt>
          <cx:pt idx="5708">13.1242499999999</cx:pt>
          <cx:pt idx="5709">13.1242499999999</cx:pt>
          <cx:pt idx="5710">12.3333599999999</cx:pt>
          <cx:pt idx="5711">17.24098</cx:pt>
          <cx:pt idx="5712">13.1242499999999</cx:pt>
          <cx:pt idx="5713">11.625359999999899</cx:pt>
          <cx:pt idx="5714">13.1242499999999</cx:pt>
          <cx:pt idx="5715">11.3421599999999</cx:pt>
          <cx:pt idx="5716">2.34606000000002</cx:pt>
          <cx:pt idx="5717">15.04954</cx:pt>
          <cx:pt idx="5718">12.3333599999999</cx:pt>
          <cx:pt idx="5719">13.1242499999999</cx:pt>
          <cx:pt idx="5720">13.1242499999999</cx:pt>
          <cx:pt idx="5721">15.04954</cx:pt>
          <cx:pt idx="5722">39.525770000000001</cx:pt>
          <cx:pt idx="5723">13.1242499999999</cx:pt>
          <cx:pt idx="5724">9.3201899999999789</cx:pt>
          <cx:pt idx="5725">13.1242499999999</cx:pt>
          <cx:pt idx="5726">15.04954</cx:pt>
          <cx:pt idx="5727">15.639140000000001</cx:pt>
          <cx:pt idx="5728">3.4742199999999896</cx:pt>
          <cx:pt idx="5729">15.04954</cx:pt>
          <cx:pt idx="5730">13.1242499999999</cx:pt>
          <cx:pt idx="5731">13.1242499999999</cx:pt>
          <cx:pt idx="5732">13.1242499999999</cx:pt>
          <cx:pt idx="5733">17.840799999999902</cx:pt>
          <cx:pt idx="5734">11.625359999999899</cx:pt>
          <cx:pt idx="5735">14.0406599999999</cx:pt>
          <cx:pt idx="5736">13.1242499999999</cx:pt>
          <cx:pt idx="5737">13.1242499999999</cx:pt>
          <cx:pt idx="5738">15.04954</cx:pt>
          <cx:pt idx="5739">19.086580000000001</cx:pt>
          <cx:pt idx="5740">13.1242499999999</cx:pt>
          <cx:pt idx="5741">15.04954</cx:pt>
          <cx:pt idx="5742">13.1242499999999</cx:pt>
          <cx:pt idx="5743">13.1242499999999</cx:pt>
          <cx:pt idx="5744">15.04954</cx:pt>
          <cx:pt idx="5745">40.600569999999706</cx:pt>
          <cx:pt idx="5746">14.75474</cx:pt>
          <cx:pt idx="5747">13.1242499999999</cx:pt>
          <cx:pt idx="5748">15.04954</cx:pt>
          <cx:pt idx="5749">13.1242499999999</cx:pt>
          <cx:pt idx="5750">3.34601999999999</cx:pt>
          <cx:pt idx="5751">17.24098</cx:pt>
          <cx:pt idx="5752">11.328000000000001</cx:pt>
          <cx:pt idx="5753">15.04954</cx:pt>
          <cx:pt idx="5754">13.1242499999999</cx:pt>
          <cx:pt idx="5755">13.1242499999999</cx:pt>
          <cx:pt idx="5756">40.86927</cx:pt>
          <cx:pt idx="5757">13.1242499999999</cx:pt>
          <cx:pt idx="5758">15.491739999999901</cx:pt>
          <cx:pt idx="5759">10.7091899999999</cx:pt>
          <cx:pt idx="5760">13.1242499999999</cx:pt>
          <cx:pt idx="5761">12.839249999999899</cx:pt>
          <cx:pt idx="5762">13.1242499999999</cx:pt>
          <cx:pt idx="5763">18.778979999999901</cx:pt>
          <cx:pt idx="5764">13.1242499999999</cx:pt>
          <cx:pt idx="5765">15.04954</cx:pt>
          <cx:pt idx="5766">13.1242499999999</cx:pt>
          <cx:pt idx="5767">13.1242499999999</cx:pt>
          <cx:pt idx="5768">13.1242499999999</cx:pt>
          <cx:pt idx="5769">13.1242499999999</cx:pt>
          <cx:pt idx="5770">13.1242499999999</cx:pt>
          <cx:pt idx="5771">13.1242499999999</cx:pt>
          <cx:pt idx="5772">13.1242499999999</cx:pt>
          <cx:pt idx="5773">12.3333599999999</cx:pt>
          <cx:pt idx="5774">5.2818400000000203</cx:pt>
          <cx:pt idx="5775">3.34601999999999</cx:pt>
          <cx:pt idx="5776">2.1922199999999998</cx:pt>
          <cx:pt idx="5777">13.606859999999902</cx:pt>
          <cx:pt idx="5778">15.04954</cx:pt>
          <cx:pt idx="5779">11.625359999999899</cx:pt>
          <cx:pt idx="5780">13.1242499999999</cx:pt>
          <cx:pt idx="5781">15.04954</cx:pt>
          <cx:pt idx="5782">15.491739999999901</cx:pt>
          <cx:pt idx="5783">12.839249999999899</cx:pt>
          <cx:pt idx="5784">13.1242499999999</cx:pt>
          <cx:pt idx="5785">6.2927999999999997</cx:pt>
          <cx:pt idx="5786">15.04954</cx:pt>
          <cx:pt idx="5787">15.04954</cx:pt>
          <cx:pt idx="5788">48.715309999999704</cx:pt>
          <cx:pt idx="5789">10.5564</cx:pt>
          <cx:pt idx="5790">13.1242499999999</cx:pt>
          <cx:pt idx="5791">13.109999999999999</cx:pt>
          <cx:pt idx="5792">17.24098</cx:pt>
          <cx:pt idx="5793">15.04954</cx:pt>
          <cx:pt idx="5794">12.839249999999899</cx:pt>
          <cx:pt idx="5795">15.04954</cx:pt>
          <cx:pt idx="5796">13.606860000000001</cx:pt>
          <cx:pt idx="5797">13.1242499999999</cx:pt>
          <cx:pt idx="5798">37.913569999999702</cx:pt>
          <cx:pt idx="5799">13.606859999999902</cx:pt>
          <cx:pt idx="5800">15.04954</cx:pt>
          <cx:pt idx="5801">13.1242499999999</cx:pt>
          <cx:pt idx="5802">13.1242499999999</cx:pt>
          <cx:pt idx="5803">13.1242499999999</cx:pt>
          <cx:pt idx="5804">15.04954</cx:pt>
          <cx:pt idx="5805">10.7091899999999</cx:pt>
          <cx:pt idx="5806">17.24098</cx:pt>
          <cx:pt idx="5807">13.1242499999999</cx:pt>
          <cx:pt idx="5808">12.839249999999899</cx:pt>
          <cx:pt idx="5809">17.24098</cx:pt>
          <cx:pt idx="5810">13.1242499999999</cx:pt>
          <cx:pt idx="5811">13.1242499999999</cx:pt>
          <cx:pt idx="5812">4.3716200000000001</cx:pt>
          <cx:pt idx="5813">13.1242499999999</cx:pt>
          <cx:pt idx="5814">13.1242499999999</cx:pt>
          <cx:pt idx="5815">37.913569999999702</cx:pt>
          <cx:pt idx="5816">15.04954</cx:pt>
          <cx:pt idx="5817">11.625359999999899</cx:pt>
          <cx:pt idx="5818">13.1242499999999</cx:pt>
          <cx:pt idx="5819">15.04954</cx:pt>
          <cx:pt idx="5820">15.04954</cx:pt>
          <cx:pt idx="5821">4.4998199999999899</cx:pt>
          <cx:pt idx="5822">18.778979999999901</cx:pt>
          <cx:pt idx="5823">15.04954</cx:pt>
          <cx:pt idx="5824">13.1242499999999</cx:pt>
          <cx:pt idx="5825">13.1242499999999</cx:pt>
          <cx:pt idx="5826">13.1242499999999</cx:pt>
          <cx:pt idx="5827">15.04954</cx:pt>
          <cx:pt idx="5828">13.1242499999999</cx:pt>
          <cx:pt idx="5829">37.913569999999702</cx:pt>
          <cx:pt idx="5830">11.625359999999899</cx:pt>
          <cx:pt idx="5831">13.1242499999999</cx:pt>
          <cx:pt idx="5832">13.1242499999999</cx:pt>
          <cx:pt idx="5833">15.04954</cx:pt>
          <cx:pt idx="5834">15.04954</cx:pt>
          <cx:pt idx="5835">15.04954</cx:pt>
          <cx:pt idx="5836">5.63729999999999</cx:pt>
          <cx:pt idx="5837">35.495269999999898</cx:pt>
          <cx:pt idx="5838">8.5446400000000207</cx:pt>
          <cx:pt idx="5839">17.24098</cx:pt>
          <cx:pt idx="5840">13.1242499999999</cx:pt>
          <cx:pt idx="5841">52.477109999999705</cx:pt>
          <cx:pt idx="5842">10.5564</cx:pt>
          <cx:pt idx="5843">15.04954</cx:pt>
          <cx:pt idx="5844">11.625359999999899</cx:pt>
          <cx:pt idx="5845">17.24098</cx:pt>
          <cx:pt idx="5846">14.75474</cx:pt>
          <cx:pt idx="5847">13.1242499999999</cx:pt>
          <cx:pt idx="5848">13.1242499999999</cx:pt>
          <cx:pt idx="5849">13.1242499999999</cx:pt>
          <cx:pt idx="5850">19.547980000000003</cx:pt>
          <cx:pt idx="5851">15.04954</cx:pt>
          <cx:pt idx="5852">13.1242499999999</cx:pt>
          <cx:pt idx="5853">13.1242499999999</cx:pt>
          <cx:pt idx="5854">3.8460000000000001</cx:pt>
          <cx:pt idx="5855">13.1242499999999</cx:pt>
          <cx:pt idx="5856">13.1242499999999</cx:pt>
          <cx:pt idx="5857">15.786539999999999</cx:pt>
          <cx:pt idx="5858">13.1242499999999</cx:pt>
          <cx:pt idx="5859">15.04954</cx:pt>
          <cx:pt idx="5860">11.625359999999899</cx:pt>
          <cx:pt idx="5861">15.04954</cx:pt>
          <cx:pt idx="5862">13.1242499999999</cx:pt>
          <cx:pt idx="5863">17.24098</cx:pt>
          <cx:pt idx="5864">13.1242499999999</cx:pt>
          <cx:pt idx="5865">35.763969999999901</cx:pt>
          <cx:pt idx="5866">11.625359999999899</cx:pt>
          <cx:pt idx="5867">15.04954</cx:pt>
          <cx:pt idx="5868">13.1242499999999</cx:pt>
          <cx:pt idx="5869">12.3333599999999</cx:pt>
          <cx:pt idx="5870">17.24098</cx:pt>
          <cx:pt idx="5871">13.1242499999999</cx:pt>
          <cx:pt idx="5872">13.1242499999999</cx:pt>
          <cx:pt idx="5873">15.04954</cx:pt>
          <cx:pt idx="5874">15.04954</cx:pt>
          <cx:pt idx="5875">13.1242499999999</cx:pt>
          <cx:pt idx="5876">13.1242499999999</cx:pt>
          <cx:pt idx="5877">15.04954</cx:pt>
          <cx:pt idx="5878">15.04954</cx:pt>
          <cx:pt idx="5879">15.04954</cx:pt>
          <cx:pt idx="5880">10.0008</cx:pt>
          <cx:pt idx="5881">13.606859999999902</cx:pt>
          <cx:pt idx="5882">15.04954</cx:pt>
          <cx:pt idx="5883">13.1242499999999</cx:pt>
          <cx:pt idx="5884">13.1242499999999</cx:pt>
          <cx:pt idx="5885">3.34601999999999</cx:pt>
          <cx:pt idx="5886">10.4175</cx:pt>
          <cx:pt idx="5887">13.1242499999999</cx:pt>
          <cx:pt idx="5888">13.1242499999999</cx:pt>
          <cx:pt idx="5889">13.1242499999999</cx:pt>
          <cx:pt idx="5890">13.1242499999999</cx:pt>
          <cx:pt idx="5891">13.1242499999999</cx:pt>
          <cx:pt idx="5892">19.378799999999998</cx:pt>
          <cx:pt idx="5893">13.1242499999999</cx:pt>
          <cx:pt idx="5894">11.625359999999899</cx:pt>
          <cx:pt idx="5895">13.1242499999999</cx:pt>
          <cx:pt idx="5896">18.456</cx:pt>
          <cx:pt idx="5897">15.04954</cx:pt>
          <cx:pt idx="5898">15.04954</cx:pt>
          <cx:pt idx="5899">8.6527999999999992</cx:pt>
          <cx:pt idx="5900">18.778979999999901</cx:pt>
          <cx:pt idx="5901">15.04954</cx:pt>
          <cx:pt idx="5902">17.24098</cx:pt>
          <cx:pt idx="5903">13.1242499999999</cx:pt>
          <cx:pt idx="5904">2.5768200000000001</cx:pt>
          <cx:pt idx="5905">17.24098</cx:pt>
          <cx:pt idx="5906">13.1242499999999</cx:pt>
          <cx:pt idx="5907">14.0261999999999</cx:pt>
          <cx:pt idx="5908">4.9998000000000005</cx:pt>
          <cx:pt idx="5909">13.1242499999999</cx:pt>
          <cx:pt idx="5910">15.04954</cx:pt>
          <cx:pt idx="5911">7.1655999999999995</cx:pt>
          <cx:pt idx="5912">15.04954</cx:pt>
          <cx:pt idx="5913">11.3421599999999</cx:pt>
          <cx:pt idx="5914">13.1242499999999</cx:pt>
          <cx:pt idx="5915">12.3333599999999</cx:pt>
          <cx:pt idx="5916">13.1242499999999</cx:pt>
          <cx:pt idx="5917">17.24098</cx:pt>
          <cx:pt idx="5918">1.42302</cx:pt>
          <cx:pt idx="5919">13.1242499999999</cx:pt>
          <cx:pt idx="5920">13.1242499999999</cx:pt>
          <cx:pt idx="5921">13.1242499999999</cx:pt>
          <cx:pt idx="5922">13.1242499999999</cx:pt>
          <cx:pt idx="5923">11.4696</cx:pt>
          <cx:pt idx="5924">12.839249999999899</cx:pt>
          <cx:pt idx="5925">7.3008000000000006</cx:pt>
          <cx:pt idx="5926">13.1242499999999</cx:pt>
          <cx:pt idx="5927">13.1242499999999</cx:pt>
          <cx:pt idx="5928">5.7683999999999997</cx:pt>
          <cx:pt idx="5929">11.625359999999899</cx:pt>
          <cx:pt idx="5930">15.04954</cx:pt>
          <cx:pt idx="5931">13.1242499999999</cx:pt>
          <cx:pt idx="5932">13.1242499999999</cx:pt>
          <cx:pt idx="5933">13.1242499999999</cx:pt>
          <cx:pt idx="5934">13.1242499999999</cx:pt>
          <cx:pt idx="5935">13.1242499999999</cx:pt>
          <cx:pt idx="5936">9.3201899999999789</cx:pt>
          <cx:pt idx="5937">11.625360000000001</cx:pt>
          <cx:pt idx="5938">44.093670000000003</cx:pt>
          <cx:pt idx="5939">15.04954</cx:pt>
          <cx:pt idx="5940">13.1242499999999</cx:pt>
          <cx:pt idx="5941">11.625359999999899</cx:pt>
          <cx:pt idx="5942">11.625359999999899</cx:pt>
          <cx:pt idx="5943">13.1242499999999</cx:pt>
          <cx:pt idx="5944">13.1242499999999</cx:pt>
          <cx:pt idx="5945">5.2690199999999905</cx:pt>
          <cx:pt idx="5946">10.6952999999999</cx:pt>
          <cx:pt idx="5947">13.1242499999999</cx:pt>
          <cx:pt idx="5948">4.3716200000000001</cx:pt>
          <cx:pt idx="5949">13.1242499999999</cx:pt>
          <cx:pt idx="5950">17.24098</cx:pt>
          <cx:pt idx="5951">13.1242499999999</cx:pt>
          <cx:pt idx="5952">13.1242499999999</cx:pt>
          <cx:pt idx="5953">13.1242499999999</cx:pt>
          <cx:pt idx="5954">13.1242499999999</cx:pt>
          <cx:pt idx="5955">13.1242499999999</cx:pt>
          <cx:pt idx="5956">13.1242499999999</cx:pt>
          <cx:pt idx="5957">15.04954</cx:pt>
          <cx:pt idx="5958">15.04954</cx:pt>
          <cx:pt idx="5959">14.75474</cx:pt>
          <cx:pt idx="5960">13.1242499999999</cx:pt>
          <cx:pt idx="5961">13.1242499999999</cx:pt>
          <cx:pt idx="5962">13.1242499999999</cx:pt>
          <cx:pt idx="5963">13.1242499999999</cx:pt>
          <cx:pt idx="5964">35.495269999999898</cx:pt>
          <cx:pt idx="5965">13.1242499999999</cx:pt>
          <cx:pt idx="5966">13.1242499999999</cx:pt>
          <cx:pt idx="5967">15.04954</cx:pt>
          <cx:pt idx="5968">15.04954</cx:pt>
          <cx:pt idx="5969">13.1242499999999</cx:pt>
          <cx:pt idx="5970">11.3421599999999</cx:pt>
          <cx:pt idx="5971">17.24098</cx:pt>
          <cx:pt idx="5972">13.1242499999999</cx:pt>
          <cx:pt idx="5973">4.6280199999999905</cx:pt>
          <cx:pt idx="5974">15.04954</cx:pt>
          <cx:pt idx="5975">13.1242499999999</cx:pt>
          <cx:pt idx="5976">15.04954</cx:pt>
          <cx:pt idx="5977">13.1242499999999</cx:pt>
          <cx:pt idx="5978">14.75474</cx:pt>
          <cx:pt idx="5979">13.1242499999999</cx:pt>
          <cx:pt idx="5980">13.1242499999999</cx:pt>
          <cx:pt idx="5981">6.4239000000000006</cx:pt>
          <cx:pt idx="5982">13.1242499999999</cx:pt>
          <cx:pt idx="5983">13.1242499999999</cx:pt>
          <cx:pt idx="5984">13.1242499999999</cx:pt>
          <cx:pt idx="5985">13.5924</cx:pt>
          <cx:pt idx="5986">17.24098</cx:pt>
          <cx:pt idx="5987">13.1242499999999</cx:pt>
          <cx:pt idx="5988">17.24098</cx:pt>
          <cx:pt idx="5989">15.04954</cx:pt>
          <cx:pt idx="5990">13.1242499999999</cx:pt>
          <cx:pt idx="5991">13.1242499999999</cx:pt>
          <cx:pt idx="5992">13.1242499999999</cx:pt>
          <cx:pt idx="5993">13.1242499999999</cx:pt>
          <cx:pt idx="5994">13.1242499999999</cx:pt>
          <cx:pt idx="5995">15.04954</cx:pt>
          <cx:pt idx="5996">13.1242499999999</cx:pt>
          <cx:pt idx="5997">13.1242499999999</cx:pt>
          <cx:pt idx="5998">15.04954</cx:pt>
          <cx:pt idx="5999">15.04954</cx:pt>
          <cx:pt idx="6000">15.786539999999999</cx:pt>
          <cx:pt idx="6001">15.04954</cx:pt>
          <cx:pt idx="6002">4.8715999999999999</cx:pt>
          <cx:pt idx="6003">13.1242499999999</cx:pt>
          <cx:pt idx="6004">15.04954</cx:pt>
          <cx:pt idx="6005">13.1242499999999</cx:pt>
          <cx:pt idx="6006">1.42302</cx:pt>
          <cx:pt idx="6007">15.04954</cx:pt>
          <cx:pt idx="6008">18.778979999999901</cx:pt>
          <cx:pt idx="6009">17.24098</cx:pt>
          <cx:pt idx="6010">15.344340000000001</cx:pt>
          <cx:pt idx="6011">13.1242499999999</cx:pt>
          <cx:pt idx="6012">13.1242499999999</cx:pt>
          <cx:pt idx="6013">11.625359999999899</cx:pt>
          <cx:pt idx="6014">13.1242499999999</cx:pt>
          <cx:pt idx="6015">15.04954</cx:pt>
          <cx:pt idx="6016">6.5549999999999997</cx:pt>
          <cx:pt idx="6017">13.1242499999999</cx:pt>
          <cx:pt idx="6018">13.1242499999999</cx:pt>
          <cx:pt idx="6019">36.032670000000003</cx:pt>
          <cx:pt idx="6020">13.1242499999999</cx:pt>
          <cx:pt idx="6021">11.625359999999899</cx:pt>
          <cx:pt idx="6022">13.1242499999999</cx:pt>
          <cx:pt idx="6023">18.778979999999901</cx:pt>
          <cx:pt idx="6024">13.1242499999999</cx:pt>
          <cx:pt idx="6025">1.42302</cx:pt>
          <cx:pt idx="6026">13.1242499999999</cx:pt>
          <cx:pt idx="6027">15.344340000000001</cx:pt>
          <cx:pt idx="6028">15.04954</cx:pt>
          <cx:pt idx="6029">15.491739999999901</cx:pt>
          <cx:pt idx="6030">15.04954</cx:pt>
          <cx:pt idx="6031">11.625359999999899</cx:pt>
          <cx:pt idx="6032">3.8460000000000001</cx:pt>
          <cx:pt idx="6033">13.1242499999999</cx:pt>
          <cx:pt idx="6034">18.778979999999901</cx:pt>
          <cx:pt idx="6035">13.1242499999999</cx:pt>
          <cx:pt idx="6036">13.1242499999999</cx:pt>
          <cx:pt idx="6037">15.04954</cx:pt>
          <cx:pt idx="6038">38.182270000000003</cx:pt>
          <cx:pt idx="6039">11.625359999999899</cx:pt>
          <cx:pt idx="6040">13.1242499999999</cx:pt>
          <cx:pt idx="6041">6.5549999999999997</cx:pt>
          <cx:pt idx="6042">7.7063999999999995</cx:pt>
          <cx:pt idx="6043">13.1242499999999</cx:pt>
          <cx:pt idx="6044">14.75474</cx:pt>
          <cx:pt idx="6045">13.1242499999999</cx:pt>
          <cx:pt idx="6046">12.3333599999999</cx:pt>
          <cx:pt idx="6047">13.1242499999999</cx:pt>
          <cx:pt idx="6048">13.1242499999999</cx:pt>
          <cx:pt idx="6049">4.8715999999999999</cx:pt>
          <cx:pt idx="6050">13.1242499999999</cx:pt>
          <cx:pt idx="6051">15.04954</cx:pt>
          <cx:pt idx="6052">13.1242499999999</cx:pt>
          <cx:pt idx="6053">43.556270000000005</cx:pt>
          <cx:pt idx="6054">15.04954</cx:pt>
          <cx:pt idx="6055">13.1242499999999</cx:pt>
          <cx:pt idx="6056">13.1242499999999</cx:pt>
          <cx:pt idx="6057">19.086580000000001</cx:pt>
          <cx:pt idx="6058">13.1242499999999</cx:pt>
          <cx:pt idx="6059">10.139699999999999</cx:pt>
          <cx:pt idx="6060">17.24098</cx:pt>
          <cx:pt idx="6061">15.04954</cx:pt>
          <cx:pt idx="6062">11.894399999999999</cx:pt>
          <cx:pt idx="6063">15.04954</cx:pt>
          <cx:pt idx="6064">15.491739999999901</cx:pt>
          <cx:pt idx="6065">13.1242499999999</cx:pt>
          <cx:pt idx="6066">12.616559999999899</cx:pt>
          <cx:pt idx="6067">42.212769999999999</cx:pt>
          <cx:pt idx="6068">13.1242499999999</cx:pt>
          <cx:pt idx="6069">18.932779999999998</cx:pt>
          <cx:pt idx="6070">13.1242499999999</cx:pt>
          <cx:pt idx="6071">13.1242499999999</cx:pt>
          <cx:pt idx="6072">15.04954</cx:pt>
          <cx:pt idx="6073">13.1242499999999</cx:pt>
          <cx:pt idx="6074">15.04954</cx:pt>
          <cx:pt idx="6075">13.1242499999999</cx:pt>
          <cx:pt idx="6076">17.24098</cx:pt>
          <cx:pt idx="6077">13.1242499999999</cx:pt>
          <cx:pt idx="6078">12.839249999999899</cx:pt>
          <cx:pt idx="6079">13.1242499999999</cx:pt>
          <cx:pt idx="6080">12.839249999999899</cx:pt>
          <cx:pt idx="6081">13.1242499999999</cx:pt>
          <cx:pt idx="6082">13.1242499999999</cx:pt>
          <cx:pt idx="6083">13.1242499999999</cx:pt>
          <cx:pt idx="6084">40.331869999999995</cx:pt>
          <cx:pt idx="6085">15.04954</cx:pt>
          <cx:pt idx="6086">13.1242499999999</cx:pt>
          <cx:pt idx="6087">13.1242499999999</cx:pt>
          <cx:pt idx="6088">13.1242499999999</cx:pt>
          <cx:pt idx="6089">11.625359999999899</cx:pt>
          <cx:pt idx="6090">19.547980000000003</cx:pt>
          <cx:pt idx="6091">13.1242499999999</cx:pt>
          <cx:pt idx="6092">13.1242499999999</cx:pt>
          <cx:pt idx="6093">13.1242499999999</cx:pt>
          <cx:pt idx="6094">43.556270000000005</cx:pt>
          <cx:pt idx="6095">38.4509699999997</cx:pt>
          <cx:pt idx="6096">13.1242499999999</cx:pt>
          <cx:pt idx="6097">15.786539999999999</cx:pt>
          <cx:pt idx="6098">15.04954</cx:pt>
          <cx:pt idx="6099">14.75474</cx:pt>
          <cx:pt idx="6100">15.04954</cx:pt>
          <cx:pt idx="6101">13.1242499999999</cx:pt>
          <cx:pt idx="6102">44.3623699999997</cx:pt>
          <cx:pt idx="6103">11.3421599999999</cx:pt>
          <cx:pt idx="6104">2.1922199999999998</cx:pt>
          <cx:pt idx="6105">15.04954</cx:pt>
          <cx:pt idx="6106">10.973099999999999</cx:pt>
          <cx:pt idx="6107">13.1242499999999</cx:pt>
          <cx:pt idx="6108">13.1242499999999</cx:pt>
          <cx:pt idx="6109">13.1242499999999</cx:pt>
          <cx:pt idx="6110">8.6663199999999989</cx:pt>
          <cx:pt idx="6111">15.04954</cx:pt>
          <cx:pt idx="6112">13.1242499999999</cx:pt>
          <cx:pt idx="6113">17.24098</cx:pt>
          <cx:pt idx="6114">13.1242499999999</cx:pt>
          <cx:pt idx="6115">15.04954</cx:pt>
          <cx:pt idx="6116">13.1242499999999</cx:pt>
          <cx:pt idx="6117">8.1120000000000001</cx:pt>
          <cx:pt idx="6118">13.1242499999999</cx:pt>
          <cx:pt idx="6119">13.1242499999999</cx:pt>
          <cx:pt idx="6120">16.93338</cx:pt>
          <cx:pt idx="6121">11.625359999999899</cx:pt>
          <cx:pt idx="6122">12.839249999999899</cx:pt>
          <cx:pt idx="6123">15.04954</cx:pt>
          <cx:pt idx="6124">13.1242499999999</cx:pt>
          <cx:pt idx="6125">13.1242499999999</cx:pt>
          <cx:pt idx="6126">13.1242499999999</cx:pt>
          <cx:pt idx="6127">15.04954</cx:pt>
          <cx:pt idx="6128">13.1242499999999</cx:pt>
          <cx:pt idx="6129">15.04954</cx:pt>
          <cx:pt idx="6130">35.1997</cx:pt>
          <cx:pt idx="6131">13.1242499999999</cx:pt>
          <cx:pt idx="6132">13.1242499999999</cx:pt>
          <cx:pt idx="6133">13.1242499999999</cx:pt>
          <cx:pt idx="6134">13.1242499999999</cx:pt>
          <cx:pt idx="6135">4.3716200000000001</cx:pt>
          <cx:pt idx="6136">1.42302</cx:pt>
          <cx:pt idx="6137">17.24098</cx:pt>
          <cx:pt idx="6138">4.3716200000000001</cx:pt>
          <cx:pt idx="6139">15.04954</cx:pt>
          <cx:pt idx="6140">13.1242499999999</cx:pt>
          <cx:pt idx="6141">13.1242499999999</cx:pt>
          <cx:pt idx="6142">13.1242499999999</cx:pt>
          <cx:pt idx="6143">13.1242499999999</cx:pt>
          <cx:pt idx="6144">18.009979999999899</cx:pt>
          <cx:pt idx="6145">13.1242499999999</cx:pt>
          <cx:pt idx="6146">13.1242499999999</cx:pt>
          <cx:pt idx="6147">13.751459999999899</cx:pt>
          <cx:pt idx="6148">15.04954</cx:pt>
          <cx:pt idx="6149">15.491739999999901</cx:pt>
          <cx:pt idx="6150">12.839249999999899</cx:pt>
          <cx:pt idx="6151">13.1242499999999</cx:pt>
          <cx:pt idx="6152">13.1242499999999</cx:pt>
          <cx:pt idx="6153">13.1242499999999</cx:pt>
          <cx:pt idx="6154">1.42302</cx:pt>
          <cx:pt idx="6155">19.547980000000003</cx:pt>
          <cx:pt idx="6156">13.1242499999999</cx:pt>
          <cx:pt idx="6157">43.287569999999697</cx:pt>
          <cx:pt idx="6158">12.3333599999999</cx:pt>
          <cx:pt idx="6159">13.1242499999999</cx:pt>
          <cx:pt idx="6160">13.1242499999999</cx:pt>
          <cx:pt idx="6161">15.344340000000001</cx:pt>
          <cx:pt idx="6162">13.1242499999999</cx:pt>
          <cx:pt idx="6163">11.625359999999899</cx:pt>
          <cx:pt idx="6164">11.625359999999899</cx:pt>
          <cx:pt idx="6165">13.1242499999999</cx:pt>
          <cx:pt idx="6166">13.1242499999999</cx:pt>
          <cx:pt idx="6167">15.491739999999901</cx:pt>
          <cx:pt idx="6168">13.1242499999999</cx:pt>
          <cx:pt idx="6169">13.1242499999999</cx:pt>
          <cx:pt idx="6170">6.6860999999999908</cx:pt>
          <cx:pt idx="6171">43.287569999999697</cx:pt>
          <cx:pt idx="6172">15.04954</cx:pt>
          <cx:pt idx="6173">35.763969999999901</cx:pt>
          <cx:pt idx="6174">17.0718</cx:pt>
          <cx:pt idx="6175">16.93338</cx:pt>
          <cx:pt idx="6176">13.1242499999999</cx:pt>
          <cx:pt idx="6177">13.5924</cx:pt>
          <cx:pt idx="6178">17.24098</cx:pt>
          <cx:pt idx="6179">13.1242499999999</cx:pt>
          <cx:pt idx="6180">13.1242499999999</cx:pt>
          <cx:pt idx="6181">3.4613999999999998</cx:pt>
          <cx:pt idx="6182">13.1242499999999</cx:pt>
          <cx:pt idx="6183">13.1242499999999</cx:pt>
          <cx:pt idx="6184">15.04954</cx:pt>
          <cx:pt idx="6185">15.786539999999999</cx:pt>
          <cx:pt idx="6186">13.1242499999999</cx:pt>
          <cx:pt idx="6187">4.3716200000000001</cx:pt>
          <cx:pt idx="6188">12.839249999999899</cx:pt>
          <cx:pt idx="6189">15.04954</cx:pt>
          <cx:pt idx="6190">11.625359999999899</cx:pt>
          <cx:pt idx="6191">13.1242499999999</cx:pt>
          <cx:pt idx="6192">13.1242499999999</cx:pt>
          <cx:pt idx="6193">4.8715999999999999</cx:pt>
          <cx:pt idx="6194">10.6952999999999</cx:pt>
          <cx:pt idx="6195">13.1242499999999</cx:pt>
          <cx:pt idx="6196">15.04954</cx:pt>
          <cx:pt idx="6197">15.491739999999901</cx:pt>
          <cx:pt idx="6198">13.1242499999999</cx:pt>
          <cx:pt idx="6199">13.1242499999999</cx:pt>
          <cx:pt idx="6200">3.4742199999999896</cx:pt>
          <cx:pt idx="6201">13.1242499999999</cx:pt>
          <cx:pt idx="6202">15.04954</cx:pt>
          <cx:pt idx="6203">13.1242499999999</cx:pt>
          <cx:pt idx="6204">13.1242499999999</cx:pt>
          <cx:pt idx="6205">3.8588200000000001</cx:pt>
          <cx:pt idx="6206">13.1242499999999</cx:pt>
          <cx:pt idx="6207">51.106739999999995</cx:pt>
          <cx:pt idx="6208">13.606859999999902</cx:pt>
          <cx:pt idx="6209">15.04954</cx:pt>
          <cx:pt idx="6210">15.491739999999901</cx:pt>
          <cx:pt idx="6211">13.1242499999999</cx:pt>
          <cx:pt idx="6212">13.1242499999999</cx:pt>
          <cx:pt idx="6213">15.04954</cx:pt>
          <cx:pt idx="6214">13.1242499999999</cx:pt>
          <cx:pt idx="6215">13.1242499999999</cx:pt>
          <cx:pt idx="6216">13.462259999999901</cx:pt>
          <cx:pt idx="6217">15.04954</cx:pt>
          <cx:pt idx="6218">11.625359999999899</cx:pt>
          <cx:pt idx="6219">5.5061999999999998</cx:pt>
          <cx:pt idx="6220">13.1242499999999</cx:pt>
          <cx:pt idx="6221">13.1242499999999</cx:pt>
          <cx:pt idx="6222">13.1242499999999</cx:pt>
          <cx:pt idx="6223">13.1242499999999</cx:pt>
          <cx:pt idx="6224">13.1242499999999</cx:pt>
          <cx:pt idx="6225">4.3716200000000001</cx:pt>
          <cx:pt idx="6226">19.547980000000003</cx:pt>
          <cx:pt idx="6227">40.600569999999706</cx:pt>
          <cx:pt idx="6228">12.839249999999899</cx:pt>
          <cx:pt idx="6229">11.625359999999899</cx:pt>
          <cx:pt idx="6230">15.04954</cx:pt>
          <cx:pt idx="6231">13.1242499999999</cx:pt>
          <cx:pt idx="6232">13.1242499999999</cx:pt>
          <cx:pt idx="6233">13.1242499999999</cx:pt>
          <cx:pt idx="6234">15.04954</cx:pt>
          <cx:pt idx="6235">9.5979900000000011</cx:pt>
          <cx:pt idx="6236">44.093669999999705</cx:pt>
          <cx:pt idx="6237">14.0406599999999</cx:pt>
          <cx:pt idx="6238">15.04954</cx:pt>
          <cx:pt idx="6239">13.1242499999999</cx:pt>
          <cx:pt idx="6240">2.9485999999999999</cx:pt>
          <cx:pt idx="6241">38.182270000000003</cx:pt>
          <cx:pt idx="6242">13.1242499999999</cx:pt>
          <cx:pt idx="6243">18.778979999999901</cx:pt>
          <cx:pt idx="6244">6.2927999999999997</cx:pt>
          <cx:pt idx="6245">15.344340000000001</cx:pt>
          <cx:pt idx="6246">13.1242499999999</cx:pt>
          <cx:pt idx="6247">10.7091899999999</cx:pt>
          <cx:pt idx="6248">18.778979999999901</cx:pt>
          <cx:pt idx="6249">13.1242499999999</cx:pt>
          <cx:pt idx="6250">17.24098</cx:pt>
          <cx:pt idx="6251">13.1242499999999</cx:pt>
          <cx:pt idx="6252">13.1242499999999</cx:pt>
          <cx:pt idx="6253">13.1242499999999</cx:pt>
          <cx:pt idx="6254">13.1242499999999</cx:pt>
          <cx:pt idx="6255">15.344340000000001</cx:pt>
          <cx:pt idx="6256">7.4359999999999999</cx:pt>
          <cx:pt idx="6257">13.1242499999999</cx:pt>
          <cx:pt idx="6258">13.1242499999999</cx:pt>
          <cx:pt idx="6259">4.2305999999999999</cx:pt>
          <cx:pt idx="6260">11.3421599999999</cx:pt>
          <cx:pt idx="6261">17.24098</cx:pt>
          <cx:pt idx="6262">12.839249999999899</cx:pt>
          <cx:pt idx="6263">15.04954</cx:pt>
          <cx:pt idx="6264">17.24098</cx:pt>
          <cx:pt idx="6265">10.6952999999999</cx:pt>
          <cx:pt idx="6266">13.1242499999999</cx:pt>
          <cx:pt idx="6267">3.08962</cx:pt>
          <cx:pt idx="6268">15.04954</cx:pt>
          <cx:pt idx="6269">12.177599999999899</cx:pt>
          <cx:pt idx="6270">13.1242499999999</cx:pt>
          <cx:pt idx="6271">13.1242499999999</cx:pt>
          <cx:pt idx="6272">14.75474</cx:pt>
          <cx:pt idx="6273">13.1242499999999</cx:pt>
          <cx:pt idx="6274">15.04954</cx:pt>
          <cx:pt idx="6275">36.838769999999997</cx:pt>
          <cx:pt idx="6276">3.9870200000000002</cx:pt>
          <cx:pt idx="6277">13.1242499999999</cx:pt>
          <cx:pt idx="6278">15.04954</cx:pt>
          <cx:pt idx="6279">13.1242499999999</cx:pt>
          <cx:pt idx="6280">13.1242499999999</cx:pt>
          <cx:pt idx="6281">12.050159999999901</cx:pt>
          <cx:pt idx="6282">13.1242499999999</cx:pt>
          <cx:pt idx="6283">14.75474</cx:pt>
          <cx:pt idx="6284">11.3421599999999</cx:pt>
          <cx:pt idx="6285">11.625359999999899</cx:pt>
          <cx:pt idx="6286">13.1242499999999</cx:pt>
          <cx:pt idx="6287">13.1242499999999</cx:pt>
          <cx:pt idx="6288">15.04954</cx:pt>
          <cx:pt idx="6289">11.625359999999899</cx:pt>
          <cx:pt idx="6290">13.1242499999999</cx:pt>
          <cx:pt idx="6291">18.778979999999901</cx:pt>
          <cx:pt idx="6292">17.24098</cx:pt>
          <cx:pt idx="6293">13.1242499999999</cx:pt>
          <cx:pt idx="6294">13.1242499999999</cx:pt>
          <cx:pt idx="6295">3.4742199999999896</cx:pt>
          <cx:pt idx="6296">13.1242499999999</cx:pt>
          <cx:pt idx="6297">11.3421599999999</cx:pt>
          <cx:pt idx="6298">14.055119999999999</cx:pt>
          <cx:pt idx="6299">11.625359999999899</cx:pt>
          <cx:pt idx="6300">15.04954</cx:pt>
          <cx:pt idx="6301">13.1242499999999</cx:pt>
          <cx:pt idx="6302">4.4870000000000001</cx:pt>
          <cx:pt idx="6303">13.1242499999999</cx:pt>
          <cx:pt idx="6304">14.0406599999999</cx:pt>
          <cx:pt idx="6305">13.1242499999999</cx:pt>
          <cx:pt idx="6306">13.1242499999999</cx:pt>
          <cx:pt idx="6307">13.1242499999999</cx:pt>
          <cx:pt idx="6308">13.1242499999999</cx:pt>
          <cx:pt idx="6309">15.04954</cx:pt>
          <cx:pt idx="6310">11.625359999999899</cx:pt>
          <cx:pt idx="6311">13.1242499999999</cx:pt>
          <cx:pt idx="6312">13.1242499999999</cx:pt>
          <cx:pt idx="6313">13.1242499999999</cx:pt>
          <cx:pt idx="6314">35.495269999999898</cx:pt>
          <cx:pt idx="6315">3.3716600000000199</cx:pt>
          <cx:pt idx="6316">13.1242499999999</cx:pt>
          <cx:pt idx="6317">13.1242499999999</cx:pt>
          <cx:pt idx="6318">13.1242499999999</cx:pt>
          <cx:pt idx="6319">13.1242499999999</cx:pt>
          <cx:pt idx="6320">13.1242499999999</cx:pt>
          <cx:pt idx="6321">13.1242499999999</cx:pt>
          <cx:pt idx="6322">13.1242499999999</cx:pt>
          <cx:pt idx="6323">13.1242499999999</cx:pt>
          <cx:pt idx="6324">3.08962</cx:pt>
          <cx:pt idx="6325">13.1242499999999</cx:pt>
          <cx:pt idx="6326">13.1242499999999</cx:pt>
          <cx:pt idx="6327">13.1242499999999</cx:pt>
          <cx:pt idx="6328">15.04954</cx:pt>
          <cx:pt idx="6329">13.1242499999999</cx:pt>
          <cx:pt idx="6330">17.24098</cx:pt>
          <cx:pt idx="6331">13.1242499999999</cx:pt>
          <cx:pt idx="6332">15.04954</cx:pt>
          <cx:pt idx="6333">13.1242499999999</cx:pt>
          <cx:pt idx="6334">15.786539999999999</cx:pt>
          <cx:pt idx="6335">9.3201899999999789</cx:pt>
          <cx:pt idx="6336">12.3333599999999</cx:pt>
          <cx:pt idx="6337">13.1242499999999</cx:pt>
          <cx:pt idx="6338">13.1242499999999</cx:pt>
          <cx:pt idx="6339">13.1242499999999</cx:pt>
          <cx:pt idx="6340">13.1242499999999</cx:pt>
          <cx:pt idx="6341">6.5549999999999997</cx:pt>
          <cx:pt idx="6342">13.1242499999999</cx:pt>
          <cx:pt idx="6343">15.04954</cx:pt>
          <cx:pt idx="6344">11.625359999999899</cx:pt>
          <cx:pt idx="6345">11.625359999999899</cx:pt>
          <cx:pt idx="6346">13.1242499999999</cx:pt>
          <cx:pt idx="6347">13.1242499999999</cx:pt>
          <cx:pt idx="6348">13.1242499999999</cx:pt>
          <cx:pt idx="6349">1.16662</cx:pt>
          <cx:pt idx="6350">38.182270000000003</cx:pt>
          <cx:pt idx="6351">13.1242499999999</cx:pt>
          <cx:pt idx="6352">15.04954</cx:pt>
          <cx:pt idx="6353">13.1242499999999</cx:pt>
          <cx:pt idx="6354">15.04954</cx:pt>
          <cx:pt idx="6355">18.778979999999901</cx:pt>
          <cx:pt idx="6356">17.24098</cx:pt>
          <cx:pt idx="6357">13.1242499999999</cx:pt>
          <cx:pt idx="6358">13.1242499999999</cx:pt>
          <cx:pt idx="6359">13.1242499999999</cx:pt>
          <cx:pt idx="6360">15.04954</cx:pt>
          <cx:pt idx="6361">12.61656</cx:pt>
          <cx:pt idx="6362">13.1242499999999</cx:pt>
          <cx:pt idx="6363">13.1242499999999</cx:pt>
          <cx:pt idx="6364">13.1242499999999</cx:pt>
          <cx:pt idx="6365">11.625359999999899</cx:pt>
          <cx:pt idx="6366">46.243269999999995</cx:pt>
          <cx:pt idx="6367">15.04954</cx:pt>
          <cx:pt idx="6368">15.04954</cx:pt>
          <cx:pt idx="6369">15.786539999999999</cx:pt>
          <cx:pt idx="6370">13.1242499999999</cx:pt>
          <cx:pt idx="6371">13.1242499999999</cx:pt>
          <cx:pt idx="6372">15.04954</cx:pt>
          <cx:pt idx="6373">2.1922199999999998</cx:pt>
          <cx:pt idx="6374">13.1242499999999</cx:pt>
          <cx:pt idx="6375">12.3333599999999</cx:pt>
          <cx:pt idx="6376">11.625359999999899</cx:pt>
          <cx:pt idx="6377">11.625359999999899</cx:pt>
          <cx:pt idx="6378">39.794469999999997</cx:pt>
          <cx:pt idx="6379">9.3201899999999789</cx:pt>
          <cx:pt idx="6380">13.1242499999999</cx:pt>
          <cx:pt idx="6381">11.3421599999999</cx:pt>
          <cx:pt idx="6382">17.24098</cx:pt>
          <cx:pt idx="6383">11.625359999999899</cx:pt>
          <cx:pt idx="6384">15.04954</cx:pt>
          <cx:pt idx="6385">13.751459999999899</cx:pt>
          <cx:pt idx="6386">13.1242499999999</cx:pt>
          <cx:pt idx="6387">13.1242499999999</cx:pt>
          <cx:pt idx="6388">5.5061999999999998</cx:pt>
          <cx:pt idx="6389">11.625359999999899</cx:pt>
          <cx:pt idx="6390">6.4239000000000006</cx:pt>
          <cx:pt idx="6391">12.3333599999999</cx:pt>
          <cx:pt idx="6392">3.9870200000000002</cx:pt>
          <cx:pt idx="6393">13.1242499999999</cx:pt>
          <cx:pt idx="6394">15.786539999999999</cx:pt>
          <cx:pt idx="6395">13.1242499999999</cx:pt>
          <cx:pt idx="6396">15.04954</cx:pt>
          <cx:pt idx="6397">17.24098</cx:pt>
          <cx:pt idx="6398">40.600569999999706</cx:pt>
          <cx:pt idx="6399">15.04954</cx:pt>
          <cx:pt idx="6400">13.1242499999999</cx:pt>
          <cx:pt idx="6401">15.04954</cx:pt>
          <cx:pt idx="6402">13.1242499999999</cx:pt>
          <cx:pt idx="6403">13.1242499999999</cx:pt>
          <cx:pt idx="6404">15.04954</cx:pt>
          <cx:pt idx="6405">15.04954</cx:pt>
          <cx:pt idx="6406">13.1242499999999</cx:pt>
          <cx:pt idx="6407">11.625359999999899</cx:pt>
          <cx:pt idx="6408">13.1242499999999</cx:pt>
          <cx:pt idx="6409">13.1242499999999</cx:pt>
          <cx:pt idx="6410">15.04954</cx:pt>
          <cx:pt idx="6411">5.7683999999999997</cx:pt>
          <cx:pt idx="6412">13.1242499999999</cx:pt>
          <cx:pt idx="6413">13.1242499999999</cx:pt>
          <cx:pt idx="6414">15.04954</cx:pt>
          <cx:pt idx="6415">15.04954</cx:pt>
          <cx:pt idx="6416">5.1408199999999997</cx:pt>
          <cx:pt idx="6417">13.1242499999999</cx:pt>
          <cx:pt idx="6418">13.1242499999999</cx:pt>
          <cx:pt idx="6419">40.600569999999706</cx:pt>
          <cx:pt idx="6420">13.1242499999999</cx:pt>
          <cx:pt idx="6421">13.1242499999999</cx:pt>
          <cx:pt idx="6422">13.1242499999999</cx:pt>
          <cx:pt idx="6423">15.786539999999999</cx:pt>
          <cx:pt idx="6424">35.495269999999898</cx:pt>
          <cx:pt idx="6425">13.1242499999999</cx:pt>
          <cx:pt idx="6426">15.04954</cx:pt>
          <cx:pt idx="6427">13.1242499999999</cx:pt>
          <cx:pt idx="6428">13.1242499999999</cx:pt>
          <cx:pt idx="6429">8.6527999999999992</cx:pt>
          <cx:pt idx="6430">17.24098</cx:pt>
          <cx:pt idx="6431">13.1242499999999</cx:pt>
          <cx:pt idx="6432">13.1242499999999</cx:pt>
          <cx:pt idx="6433">15.639140000000001</cx:pt>
          <cx:pt idx="6434">13.1242499999999</cx:pt>
          <cx:pt idx="6435">13.1242499999999</cx:pt>
          <cx:pt idx="6436">15.04954</cx:pt>
          <cx:pt idx="6437">12.616559999999899</cx:pt>
          <cx:pt idx="6438">13.1242499999999</cx:pt>
          <cx:pt idx="6439">17.24098</cx:pt>
          <cx:pt idx="6440">13.1242499999999</cx:pt>
          <cx:pt idx="6441">15.04954</cx:pt>
          <cx:pt idx="6442">37.913569999999702</cx:pt>
          <cx:pt idx="6443">13.1242499999999</cx:pt>
          <cx:pt idx="6444">11.625359999999899</cx:pt>
          <cx:pt idx="6445">15.04954</cx:pt>
          <cx:pt idx="6446">9.722999999999999</cx:pt>
          <cx:pt idx="6447">13.1242499999999</cx:pt>
          <cx:pt idx="6448">13.1242499999999</cx:pt>
          <cx:pt idx="6449">42.212769999999999</cx:pt>
          <cx:pt idx="6450">4.3716200000000001</cx:pt>
          <cx:pt idx="6451">13.1242499999999</cx:pt>
          <cx:pt idx="6452">12.839249999999899</cx:pt>
          <cx:pt idx="6453">11.625359999999899</cx:pt>
          <cx:pt idx="6454">7.3008000000000006</cx:pt>
          <cx:pt idx="6455">15.04954</cx:pt>
          <cx:pt idx="6456">13.1242499999999</cx:pt>
          <cx:pt idx="6457">12.616559999999899</cx:pt>
          <cx:pt idx="6458">13.1242499999999</cx:pt>
          <cx:pt idx="6459">13.1242499999999</cx:pt>
          <cx:pt idx="6460">11.625359999999899</cx:pt>
          <cx:pt idx="6461">13.1242499999999</cx:pt>
          <cx:pt idx="6462">13.1242499999999</cx:pt>
          <cx:pt idx="6463">7.3008000000000006</cx:pt>
          <cx:pt idx="6464">10.7091899999999</cx:pt>
          <cx:pt idx="6465">3.4613999999999998</cx:pt>
          <cx:pt idx="6466">4.7562199999999999</cx:pt>
          <cx:pt idx="6467">11.625359999999899</cx:pt>
          <cx:pt idx="6468">13.1242499999999</cx:pt>
          <cx:pt idx="6469">13.1242499999999</cx:pt>
          <cx:pt idx="6470">7.1926400000000195</cx:pt>
          <cx:pt idx="6471">36.274499999999996</cx:pt>
          <cx:pt idx="6472">11.625359999999899</cx:pt>
          <cx:pt idx="6473">15.04954</cx:pt>
          <cx:pt idx="6474">15.04954</cx:pt>
          <cx:pt idx="6475">13.1242499999999</cx:pt>
          <cx:pt idx="6476">3.8460000000000001</cx:pt>
          <cx:pt idx="6477">13.1242499999999</cx:pt>
          <cx:pt idx="6478">18.778979999999901</cx:pt>
          <cx:pt idx="6479">6.1616999999999997</cx:pt>
          <cx:pt idx="6480">13.1242499999999</cx:pt>
          <cx:pt idx="6481">44.093669999999705</cx:pt>
          <cx:pt idx="6482">13.1242499999999</cx:pt>
          <cx:pt idx="6483">15.04954</cx:pt>
          <cx:pt idx="6484">13.1242499999999</cx:pt>
          <cx:pt idx="6485">13.1242499999999</cx:pt>
          <cx:pt idx="6486">13.1242499999999</cx:pt>
          <cx:pt idx="6487">13.1242499999999</cx:pt>
          <cx:pt idx="6488">13.1242499999999</cx:pt>
          <cx:pt idx="6489">15.04954</cx:pt>
          <cx:pt idx="6490">13.1242499999999</cx:pt>
          <cx:pt idx="6491">13.1242499999999</cx:pt>
          <cx:pt idx="6492">13.1242499999999</cx:pt>
          <cx:pt idx="6493">15.04954</cx:pt>
          <cx:pt idx="6494">13.1242499999999</cx:pt>
          <cx:pt idx="6495">40.600569999999706</cx:pt>
          <cx:pt idx="6496">15.04954</cx:pt>
          <cx:pt idx="6497">15.04954</cx:pt>
          <cx:pt idx="6498">13.1242499999999</cx:pt>
          <cx:pt idx="6499">16.779579999999999</cx:pt>
          <cx:pt idx="6500">13.1242499999999</cx:pt>
          <cx:pt idx="6501">13.1242499999999</cx:pt>
          <cx:pt idx="6502">13.1242499999999</cx:pt>
          <cx:pt idx="6503">38.719669999999702</cx:pt>
          <cx:pt idx="6504">13.1242499999999</cx:pt>
          <cx:pt idx="6505">17.702379999999902</cx:pt>
          <cx:pt idx="6506">13.1242499999999</cx:pt>
          <cx:pt idx="6507">11.625359999999899</cx:pt>
          <cx:pt idx="6508">13.1242499999999</cx:pt>
          <cx:pt idx="6509">15.04954</cx:pt>
          <cx:pt idx="6510">13.1242499999999</cx:pt>
          <cx:pt idx="6511">13.1242499999999</cx:pt>
          <cx:pt idx="6512">13.1242499999999</cx:pt>
          <cx:pt idx="6513">15.04954</cx:pt>
          <cx:pt idx="6514">14.75474</cx:pt>
          <cx:pt idx="6515">15.04954</cx:pt>
          <cx:pt idx="6516">5.7946200000000196</cx:pt>
          <cx:pt idx="6517">13.1242499999999</cx:pt>
          <cx:pt idx="6518">13.1242499999999</cx:pt>
          <cx:pt idx="6519">3.34601999999999</cx:pt>
          <cx:pt idx="6520">8.5446400000000207</cx:pt>
          <cx:pt idx="6521">15.491739999999901</cx:pt>
          <cx:pt idx="6522">19.547980000000003</cx:pt>
          <cx:pt idx="6523">40.86927</cx:pt>
          <cx:pt idx="6524">15.344340000000001</cx:pt>
          <cx:pt idx="6525">11.625359999999899</cx:pt>
          <cx:pt idx="6526">15.04954</cx:pt>
          <cx:pt idx="6527">13.1242499999999</cx:pt>
          <cx:pt idx="6528">14.0406599999999</cx:pt>
          <cx:pt idx="6529">13.1242499999999</cx:pt>
          <cx:pt idx="6530">12.3333599999999</cx:pt>
          <cx:pt idx="6531">13.1242499999999</cx:pt>
          <cx:pt idx="6532">3.4742199999999896</cx:pt>
          <cx:pt idx="6533">40.600569999999706</cx:pt>
          <cx:pt idx="6534">13.606859999999902</cx:pt>
          <cx:pt idx="6535">15.04954</cx:pt>
          <cx:pt idx="6536">15.786539999999999</cx:pt>
          <cx:pt idx="6537">13.1242499999999</cx:pt>
          <cx:pt idx="6538">15.04954</cx:pt>
          <cx:pt idx="6539">15.04954</cx:pt>
          <cx:pt idx="6540">13.1242499999999</cx:pt>
          <cx:pt idx="6541">15.04954</cx:pt>
          <cx:pt idx="6542">11.625359999999899</cx:pt>
          <cx:pt idx="6543">15.04954</cx:pt>
          <cx:pt idx="6544">13.1242499999999</cx:pt>
          <cx:pt idx="6545">13.1242499999999</cx:pt>
          <cx:pt idx="6546">15.04954</cx:pt>
          <cx:pt idx="6547">4.6151999999999997</cx:pt>
          <cx:pt idx="6548">9.5979900000000011</cx:pt>
          <cx:pt idx="6549">15.04954</cx:pt>
          <cx:pt idx="6550">13.1242499999999</cx:pt>
          <cx:pt idx="6551">49.4676699999997</cx:pt>
          <cx:pt idx="6552">8.3823999999999987</cx:pt>
          <cx:pt idx="6553">13.1242499999999</cx:pt>
          <cx:pt idx="6554">13.1242499999999</cx:pt>
          <cx:pt idx="6555">55.352199999999996</cx:pt>
          <cx:pt idx="6556">13.1242499999999</cx:pt>
          <cx:pt idx="6557">13.1242499999999</cx:pt>
          <cx:pt idx="6558">19.394179999999999</cx:pt>
          <cx:pt idx="6559">13.1242499999999</cx:pt>
          <cx:pt idx="6560">15.04954</cx:pt>
          <cx:pt idx="6561">15.04954</cx:pt>
          <cx:pt idx="6562">13.1242499999999</cx:pt>
          <cx:pt idx="6563">15.04954</cx:pt>
          <cx:pt idx="6564">15.04954</cx:pt>
          <cx:pt idx="6565">15.04954</cx:pt>
          <cx:pt idx="6566">13.1242499999999</cx:pt>
          <cx:pt idx="6567">10.7091899999999</cx:pt>
          <cx:pt idx="6568">13.1242499999999</cx:pt>
          <cx:pt idx="6569">15.04954</cx:pt>
          <cx:pt idx="6570">5.0126199999999894</cx:pt>
          <cx:pt idx="6571">18.778979999999901</cx:pt>
          <cx:pt idx="6572">15.04954</cx:pt>
          <cx:pt idx="6573">15.04954</cx:pt>
          <cx:pt idx="6574">13.1242499999999</cx:pt>
          <cx:pt idx="6575">11.625359999999899</cx:pt>
          <cx:pt idx="6576">5.7683999999999997</cx:pt>
          <cx:pt idx="6577">13.1242499999999</cx:pt>
          <cx:pt idx="6578">13.1242499999999</cx:pt>
          <cx:pt idx="6579">3.8460000000000001</cx:pt>
          <cx:pt idx="6580">15.04954</cx:pt>
          <cx:pt idx="6581">13.1242499999999</cx:pt>
          <cx:pt idx="6582">15.04954</cx:pt>
          <cx:pt idx="6583">13.1242499999999</cx:pt>
          <cx:pt idx="6584">3.08962</cx:pt>
          <cx:pt idx="6585">13.1242499999999</cx:pt>
          <cx:pt idx="6586">13.1242499999999</cx:pt>
          <cx:pt idx="6587">7.0439199999999991</cx:pt>
          <cx:pt idx="6588">13.1242499999999</cx:pt>
          <cx:pt idx="6589">18.009979999999899</cx:pt>
          <cx:pt idx="6590">13.1242499999999</cx:pt>
          <cx:pt idx="6591">13.1242499999999</cx:pt>
          <cx:pt idx="6592">40.86927</cx:pt>
          <cx:pt idx="6593">17.24098</cx:pt>
          <cx:pt idx="6594">13.1242499999999</cx:pt>
          <cx:pt idx="6595">11.625359999999899</cx:pt>
          <cx:pt idx="6596">15.04954</cx:pt>
          <cx:pt idx="6597">11.625359999999899</cx:pt>
          <cx:pt idx="6598">13.1242499999999</cx:pt>
          <cx:pt idx="6599">13.1242499999999</cx:pt>
          <cx:pt idx="6600">13.1242499999999</cx:pt>
          <cx:pt idx="6601">13.1242499999999</cx:pt>
          <cx:pt idx="6602">3.4742199999999896</cx:pt>
          <cx:pt idx="6603">11.625359999999899</cx:pt>
          <cx:pt idx="6604">14.0406599999999</cx:pt>
          <cx:pt idx="6605">4.6280199999999905</cx:pt>
          <cx:pt idx="6606">19.547980000000003</cx:pt>
          <cx:pt idx="6607">15.04954</cx:pt>
          <cx:pt idx="6608">15.04954</cx:pt>
          <cx:pt idx="6609">5.1279999999999903</cx:pt>
          <cx:pt idx="6610">15.04954</cx:pt>
          <cx:pt idx="6611">13.1242499999999</cx:pt>
          <cx:pt idx="6612">15.04954</cx:pt>
          <cx:pt idx="6613">13.736999999999998</cx:pt>
          <cx:pt idx="6614">13.1242499999999</cx:pt>
          <cx:pt idx="6615">15.04954</cx:pt>
          <cx:pt idx="6616">15.04954</cx:pt>
          <cx:pt idx="6617">10.5564</cx:pt>
          <cx:pt idx="6618">15.344340000000001</cx:pt>
          <cx:pt idx="6619">15.04954</cx:pt>
          <cx:pt idx="6620">5.89949999999999</cx:pt>
          <cx:pt idx="6621">15.786539999999999</cx:pt>
          <cx:pt idx="6622">17.24098</cx:pt>
          <cx:pt idx="6623">16.917999999999999</cx:pt>
          <cx:pt idx="6624">17.24098</cx:pt>
          <cx:pt idx="6625">14.0406599999999</cx:pt>
          <cx:pt idx="6626">12.839249999999899</cx:pt>
          <cx:pt idx="6627">13.606859999999902</cx:pt>
          <cx:pt idx="6628">11.625359999999899</cx:pt>
          <cx:pt idx="6629">13.1242499999999</cx:pt>
          <cx:pt idx="6630">15.04954</cx:pt>
          <cx:pt idx="6631">12.3333599999999</cx:pt>
          <cx:pt idx="6632">13.1242499999999</cx:pt>
          <cx:pt idx="6633">50.246899999999904</cx:pt>
          <cx:pt idx="6634">15.344340000000001</cx:pt>
          <cx:pt idx="6635">15.04954</cx:pt>
          <cx:pt idx="6636">6.0699300000000198</cx:pt>
          <cx:pt idx="6637">13.1242499999999</cx:pt>
          <cx:pt idx="6638">14.0261999999999</cx:pt>
          <cx:pt idx="6639">15.04954</cx:pt>
          <cx:pt idx="6640">17.24098</cx:pt>
          <cx:pt idx="6641">13.1242499999999</cx:pt>
          <cx:pt idx="6642">15.04954</cx:pt>
          <cx:pt idx="6643">11.625359999999899</cx:pt>
          <cx:pt idx="6644">3.08962</cx:pt>
          <cx:pt idx="6645">2.1922199999999998</cx:pt>
          <cx:pt idx="6646">13.1242499999999</cx:pt>
          <cx:pt idx="6647">13.1242499999999</cx:pt>
          <cx:pt idx="6648">13.1242499999999</cx:pt>
          <cx:pt idx="6649">6.3059099999999892</cx:pt>
          <cx:pt idx="6650">13.1242499999999</cx:pt>
          <cx:pt idx="6651">4.1023999999999994</cx:pt>
          <cx:pt idx="6652">13.1242499999999</cx:pt>
          <cx:pt idx="6653">11.625359999999899</cx:pt>
          <cx:pt idx="6654">13.1242499999999</cx:pt>
          <cx:pt idx="6655">13.1242499999999</cx:pt>
          <cx:pt idx="6656">13.1242499999999</cx:pt>
          <cx:pt idx="6657">13.1242499999999</cx:pt>
          <cx:pt idx="6658">8.1120000000000001</cx:pt>
          <cx:pt idx="6659">18.009979999999899</cx:pt>
          <cx:pt idx="6660">13.1242499999999</cx:pt>
          <cx:pt idx="6661">11.3421599999999</cx:pt>
          <cx:pt idx="6662">15.04954</cx:pt>
          <cx:pt idx="6663">15.04954</cx:pt>
          <cx:pt idx="6664">40.600569999999706</cx:pt>
          <cx:pt idx="6665">14.75474</cx:pt>
          <cx:pt idx="6666">13.1242499999999</cx:pt>
          <cx:pt idx="6667">10.7091899999999</cx:pt>
          <cx:pt idx="6668">13.1242499999999</cx:pt>
          <cx:pt idx="6669">37.913569999999702</cx:pt>
          <cx:pt idx="6670">12.839249999999899</cx:pt>
          <cx:pt idx="6671">13.1242499999999</cx:pt>
          <cx:pt idx="6672">15.786539999999999</cx:pt>
          <cx:pt idx="6673">17.24098</cx:pt>
          <cx:pt idx="6674">49.198969999999697</cx:pt>
          <cx:pt idx="6675">12.177599999999899</cx:pt>
          <cx:pt idx="6676">11.625359999999899</cx:pt>
          <cx:pt idx="6677">3.9870200000000002</cx:pt>
          <cx:pt idx="6678">18.456</cx:pt>
          <cx:pt idx="6679">13.1242499999999</cx:pt>
          <cx:pt idx="6680">13.1242499999999</cx:pt>
          <cx:pt idx="6681">13.1242499999999</cx:pt>
          <cx:pt idx="6682">11.328000000000001</cx:pt>
          <cx:pt idx="6683">15.04954</cx:pt>
          <cx:pt idx="6684">17.24098</cx:pt>
          <cx:pt idx="6685">12.3333599999999</cx:pt>
          <cx:pt idx="6686">13.1242499999999</cx:pt>
          <cx:pt idx="6687">11.625359999999899</cx:pt>
          <cx:pt idx="6688">3.2306400000000202</cx:pt>
          <cx:pt idx="6689">13.1242499999999</cx:pt>
          <cx:pt idx="6690">13.1242499999999</cx:pt>
          <cx:pt idx="6691">14.0406599999999</cx:pt>
          <cx:pt idx="6692">5.1536400000000198</cx:pt>
          <cx:pt idx="6693">13.1242499999999</cx:pt>
          <cx:pt idx="6694">13.1242499999999</cx:pt>
          <cx:pt idx="6695">15.04954</cx:pt>
          <cx:pt idx="6696">13.1242499999999</cx:pt>
          <cx:pt idx="6697">13.1242499999999</cx:pt>
          <cx:pt idx="6698">11.625359999999899</cx:pt>
          <cx:pt idx="6699">13.1242499999999</cx:pt>
          <cx:pt idx="6700">13.1242499999999</cx:pt>
          <cx:pt idx="6701">13.1242499999999</cx:pt>
          <cx:pt idx="6702">2.1922199999999998</cx:pt>
          <cx:pt idx="6703">12.050159999999901</cx:pt>
          <cx:pt idx="6704">11.625359999999899</cx:pt>
          <cx:pt idx="6705">13.1242499999999</cx:pt>
          <cx:pt idx="6706">13.1242499999999</cx:pt>
          <cx:pt idx="6707">4.6280199999999905</cx:pt>
          <cx:pt idx="6708">13.1242499999999</cx:pt>
          <cx:pt idx="6709">5.1279999999999903</cx:pt>
          <cx:pt idx="6710">13.751459999999899</cx:pt>
          <cx:pt idx="6711">13.1242499999999</cx:pt>
          <cx:pt idx="6712">13.896059999999899</cx:pt>
          <cx:pt idx="6713">13.1242499999999</cx:pt>
          <cx:pt idx="6714">15.04954</cx:pt>
          <cx:pt idx="6715">13.1242499999999</cx:pt>
          <cx:pt idx="6716">15.04954</cx:pt>
          <cx:pt idx="6717">13.1242499999999</cx:pt>
          <cx:pt idx="6718">13.1242499999999</cx:pt>
          <cx:pt idx="6719">4.7433999999999994</cx:pt>
          <cx:pt idx="6720">13.1242499999999</cx:pt>
          <cx:pt idx="6721">15.04954</cx:pt>
          <cx:pt idx="6722">13.1242499999999</cx:pt>
          <cx:pt idx="6723">11.625359999999899</cx:pt>
          <cx:pt idx="6724">18.778979999999901</cx:pt>
          <cx:pt idx="6725">15.344340000000001</cx:pt>
          <cx:pt idx="6726">13.1242499999999</cx:pt>
          <cx:pt idx="6727">13.1242499999999</cx:pt>
          <cx:pt idx="6728">5.0382600000000197</cx:pt>
          <cx:pt idx="6729">2.8332199999999998</cx:pt>
          <cx:pt idx="6730">13.1242499999999</cx:pt>
          <cx:pt idx="6731">18.778979999999901</cx:pt>
          <cx:pt idx="6732">2.1922199999999998</cx:pt>
          <cx:pt idx="6733">36.570069999999703</cx:pt>
          <cx:pt idx="6734">9.8757900000000003</cx:pt>
          <cx:pt idx="6735">13.1242499999999</cx:pt>
          <cx:pt idx="6736">11.625359999999899</cx:pt>
          <cx:pt idx="6737">13.1242499999999</cx:pt>
          <cx:pt idx="6738">13.1242499999999</cx:pt>
          <cx:pt idx="6739">13.1242499999999</cx:pt>
          <cx:pt idx="6740">13.1242499999999</cx:pt>
          <cx:pt idx="6741">39.525770000000001</cx:pt>
          <cx:pt idx="6742">15.04954</cx:pt>
          <cx:pt idx="6743">15.639140000000001</cx:pt>
          <cx:pt idx="6744">4.8715999999999999</cx:pt>
          <cx:pt idx="6745">11.625359999999899</cx:pt>
          <cx:pt idx="6746">13.1242499999999</cx:pt>
          <cx:pt idx="6747">13.1242499999999</cx:pt>
          <cx:pt idx="6748">13.1242499999999</cx:pt>
          <cx:pt idx="6749">15.04954</cx:pt>
          <cx:pt idx="6750">18.778979999999901</cx:pt>
          <cx:pt idx="6751">13.1242499999999</cx:pt>
          <cx:pt idx="6752">15.04954</cx:pt>
          <cx:pt idx="6753">13.1242499999999</cx:pt>
          <cx:pt idx="6754">12.839249999999899</cx:pt>
          <cx:pt idx="6755">13.1242499999999</cx:pt>
          <cx:pt idx="6756">4.7433999999999994</cx:pt>
          <cx:pt idx="6757">15.04954</cx:pt>
          <cx:pt idx="6758">13.1242499999999</cx:pt>
          <cx:pt idx="6759">11.625359999999899</cx:pt>
          <cx:pt idx="6760">13.1242499999999</cx:pt>
          <cx:pt idx="6761">18.778979999999901</cx:pt>
          <cx:pt idx="6762">17.24098</cx:pt>
          <cx:pt idx="6763">7.1655999999999995</cx:pt>
          <cx:pt idx="6764">13.1242499999999</cx:pt>
          <cx:pt idx="6765">13.1242499999999</cx:pt>
          <cx:pt idx="6766">15.04954</cx:pt>
          <cx:pt idx="6767">12.839249999999899</cx:pt>
          <cx:pt idx="6768">13.1242499999999</cx:pt>
          <cx:pt idx="6769">3.4742199999999896</cx:pt>
          <cx:pt idx="6770">14.0406599999999</cx:pt>
          <cx:pt idx="6771">13.1242499999999</cx:pt>
          <cx:pt idx="6772">11.625359999999899</cx:pt>
          <cx:pt idx="6773">4.3588000000000005</cx:pt>
          <cx:pt idx="6774">13.1242499999999</cx:pt>
          <cx:pt idx="6775">15.04954</cx:pt>
          <cx:pt idx="6776">13.1242499999999</cx:pt>
          <cx:pt idx="6777">13.1242499999999</cx:pt>
          <cx:pt idx="6778">13.1242499999999</cx:pt>
          <cx:pt idx="6779">13.1242499999999</cx:pt>
          <cx:pt idx="6780">13.1242499999999</cx:pt>
          <cx:pt idx="6781">13.1242499999999</cx:pt>
          <cx:pt idx="6782">15.04954</cx:pt>
          <cx:pt idx="6783">18.778979999999901</cx:pt>
          <cx:pt idx="6784">18.917400000000001</cx:pt>
          <cx:pt idx="6785">15.04954</cx:pt>
          <cx:pt idx="6786">36.838769999999997</cx:pt>
          <cx:pt idx="6787">15.04954</cx:pt>
          <cx:pt idx="6788">17.24098</cx:pt>
          <cx:pt idx="6789">3.08962</cx:pt>
          <cx:pt idx="6790">18.778979999999901</cx:pt>
          <cx:pt idx="6791">3.60242</cx:pt>
          <cx:pt idx="6792">15.04954</cx:pt>
          <cx:pt idx="6793">17.24098</cx:pt>
          <cx:pt idx="6794">15.04954</cx:pt>
          <cx:pt idx="6795">13.1242499999999</cx:pt>
          <cx:pt idx="6796">13.1242499999999</cx:pt>
          <cx:pt idx="6797">13.1242499999999</cx:pt>
          <cx:pt idx="6798">18.778979999999901</cx:pt>
          <cx:pt idx="6799">13.1242499999999</cx:pt>
          <cx:pt idx="6800">36.838769999999997</cx:pt>
          <cx:pt idx="6801">2.5639999999999898</cx:pt>
          <cx:pt idx="6802">12.3333599999999</cx:pt>
          <cx:pt idx="6803">11.625359999999899</cx:pt>
          <cx:pt idx="6804">11.625359999999899</cx:pt>
          <cx:pt idx="6805">15.04954</cx:pt>
          <cx:pt idx="6806">1.42302</cx:pt>
          <cx:pt idx="6807">13.1242499999999</cx:pt>
          <cx:pt idx="6808">13.1242499999999</cx:pt>
          <cx:pt idx="6809">13.1242499999999</cx:pt>
          <cx:pt idx="6810">2.1922199999999998</cx:pt>
          <cx:pt idx="6811">15.04954</cx:pt>
          <cx:pt idx="6812">15.04954</cx:pt>
          <cx:pt idx="6813">13.1242499999999</cx:pt>
          <cx:pt idx="6814">4.1023999999999994</cx:pt>
          <cx:pt idx="6815">13.1242499999999</cx:pt>
          <cx:pt idx="6816">13.1242499999999</cx:pt>
          <cx:pt idx="6817">3.8460000000000001</cx:pt>
          <cx:pt idx="6818">11.3421599999999</cx:pt>
          <cx:pt idx="6819">2.1922199999999998</cx:pt>
          <cx:pt idx="6820">5.89949999999999</cx:pt>
          <cx:pt idx="6821">13.1242499999999</cx:pt>
          <cx:pt idx="6822">12.3333599999999</cx:pt>
          <cx:pt idx="6823">11.625359999999899</cx:pt>
          <cx:pt idx="6824">11.625359999999899</cx:pt>
          <cx:pt idx="6825">9.5840999999999994</cx:pt>
          <cx:pt idx="6826">15.04954</cx:pt>
          <cx:pt idx="6827">15.04954</cx:pt>
          <cx:pt idx="6828">13.1242499999999</cx:pt>
          <cx:pt idx="6829">15.04954</cx:pt>
          <cx:pt idx="6830">35.495269999999898</cx:pt>
          <cx:pt idx="6831">13.1242499999999</cx:pt>
          <cx:pt idx="6832">3.7562600000000201</cx:pt>
          <cx:pt idx="6833">15.04954</cx:pt>
          <cx:pt idx="6834">17.24098</cx:pt>
          <cx:pt idx="6835">13.1242499999999</cx:pt>
          <cx:pt idx="6836">11.894399999999999</cx:pt>
          <cx:pt idx="6837">13.1242499999999</cx:pt>
          <cx:pt idx="6838">11.3421599999999</cx:pt>
          <cx:pt idx="6839">13.1242499999999</cx:pt>
          <cx:pt idx="6840">15.04954</cx:pt>
          <cx:pt idx="6841">2.7050200000000002</cx:pt>
          <cx:pt idx="6842">13.1242499999999</cx:pt>
          <cx:pt idx="6843">3.4613999999999998</cx:pt>
          <cx:pt idx="6844">10.834199999999999</cx:pt>
          <cx:pt idx="6845">18.009979999999899</cx:pt>
          <cx:pt idx="6846">17.687000000000001</cx:pt>
          <cx:pt idx="6847">18.4713799999999</cx:pt>
          <cx:pt idx="6848">38.182270000000003</cx:pt>
          <cx:pt idx="6849">13.1242499999999</cx:pt>
          <cx:pt idx="6850">13.1242499999999</cx:pt>
          <cx:pt idx="6851">15.04954</cx:pt>
          <cx:pt idx="6852">13.1242499999999</cx:pt>
          <cx:pt idx="6853">11.625359999999899</cx:pt>
          <cx:pt idx="6854">11.625359999999899</cx:pt>
          <cx:pt idx="6855">13.1242499999999</cx:pt>
          <cx:pt idx="6856">4.2305999999999999</cx:pt>
          <cx:pt idx="6857">43.556270000000005</cx:pt>
          <cx:pt idx="6858">13.1242499999999</cx:pt>
          <cx:pt idx="6859">38.182270000000003</cx:pt>
          <cx:pt idx="6860">12.3333599999999</cx:pt>
          <cx:pt idx="6861">13.1242499999999</cx:pt>
          <cx:pt idx="6862">19.547980000000003</cx:pt>
          <cx:pt idx="6863">4.7562199999999999</cx:pt>
          <cx:pt idx="6864">12.3333599999999</cx:pt>
          <cx:pt idx="6865">3.0768</cx:pt>
          <cx:pt idx="6866">13.1242499999999</cx:pt>
          <cx:pt idx="6867">13.1242499999999</cx:pt>
          <cx:pt idx="6868">13.1242499999999</cx:pt>
          <cx:pt idx="6869">6.5549999999999997</cx:pt>
          <cx:pt idx="6870">13.1242499999999</cx:pt>
          <cx:pt idx="6871">45.974569999999702</cx:pt>
          <cx:pt idx="6872">14.75474</cx:pt>
          <cx:pt idx="6873">11.625359999999899</cx:pt>
          <cx:pt idx="6874">4.6151999999999997</cx:pt>
          <cx:pt idx="6875">13.1242499999999</cx:pt>
          <cx:pt idx="6876">13.1242499999999</cx:pt>
          <cx:pt idx="6877">5.7683999999999997</cx:pt>
          <cx:pt idx="6878">11.625359999999899</cx:pt>
          <cx:pt idx="6879">13.1242499999999</cx:pt>
          <cx:pt idx="6880">15.491739999999901</cx:pt>
          <cx:pt idx="6881">13.1242499999999</cx:pt>
          <cx:pt idx="6882">13.1242499999999</cx:pt>
          <cx:pt idx="6883">17.548580000000001</cx:pt>
          <cx:pt idx="6884">13.1242499999999</cx:pt>
          <cx:pt idx="6885">13.1242499999999</cx:pt>
          <cx:pt idx="6886">13.1242499999999</cx:pt>
          <cx:pt idx="6887">13.1242499999999</cx:pt>
          <cx:pt idx="6888">15.04954</cx:pt>
          <cx:pt idx="6889">13.1242499999999</cx:pt>
          <cx:pt idx="6890">13.1242499999999</cx:pt>
          <cx:pt idx="6891">13.1242499999999</cx:pt>
          <cx:pt idx="6892">39.767599999999995</cx:pt>
          <cx:pt idx="6893">18.778979999999901</cx:pt>
          <cx:pt idx="6894">13.1242499999999</cx:pt>
          <cx:pt idx="6895">13.1242499999999</cx:pt>
          <cx:pt idx="6896">13.1242499999999</cx:pt>
          <cx:pt idx="6897">13.1242499999999</cx:pt>
          <cx:pt idx="6898">11.766959999999999</cx:pt>
          <cx:pt idx="6899">15.04954</cx:pt>
          <cx:pt idx="6900">11.625359999999899</cx:pt>
          <cx:pt idx="6901">14.0406599999999</cx:pt>
          <cx:pt idx="6902">15.344340000000001</cx:pt>
          <cx:pt idx="6903">15.786539999999999</cx:pt>
          <cx:pt idx="6904">13.1242499999999</cx:pt>
          <cx:pt idx="6905">7.7199199999999992</cx:pt>
          <cx:pt idx="6906">15.04954</cx:pt>
          <cx:pt idx="6907">13.1242499999999</cx:pt>
          <cx:pt idx="6908">4.7433999999999994</cx:pt>
          <cx:pt idx="6909">13.1242499999999</cx:pt>
          <cx:pt idx="6910">13.1242499999999</cx:pt>
          <cx:pt idx="6911">13.1242499999999</cx:pt>
          <cx:pt idx="6912">4.7562199999999999</cx:pt>
          <cx:pt idx="6913">13.1242499999999</cx:pt>
          <cx:pt idx="6914">15.04954</cx:pt>
          <cx:pt idx="6915">14.0406599999999</cx:pt>
          <cx:pt idx="6916">13.1242499999999</cx:pt>
          <cx:pt idx="6917">13.1242499999999</cx:pt>
          <cx:pt idx="6918">13.1242499999999</cx:pt>
          <cx:pt idx="6919">15.04954</cx:pt>
          <cx:pt idx="6920">13.1242499999999</cx:pt>
          <cx:pt idx="6921">11.625359999999899</cx:pt>
          <cx:pt idx="6922">13.1242499999999</cx:pt>
          <cx:pt idx="6923">13.1242499999999</cx:pt>
          <cx:pt idx="6924">13.1242499999999</cx:pt>
          <cx:pt idx="6925">13.1242499999999</cx:pt>
          <cx:pt idx="6926">10.7091899999999</cx:pt>
          <cx:pt idx="6927">11.625359999999899</cx:pt>
          <cx:pt idx="6928">13.1242499999999</cx:pt>
          <cx:pt idx="6929">38.182270000000003</cx:pt>
          <cx:pt idx="6930">17.24098</cx:pt>
          <cx:pt idx="6931">17.24098</cx:pt>
          <cx:pt idx="6932">13.1242499999999</cx:pt>
          <cx:pt idx="6933">13.1242499999999</cx:pt>
          <cx:pt idx="6934">13.1242499999999</cx:pt>
          <cx:pt idx="6935">13.1242499999999</cx:pt>
          <cx:pt idx="6936">14.0406599999999</cx:pt>
          <cx:pt idx="6937">15.04954</cx:pt>
          <cx:pt idx="6938">15.04954</cx:pt>
          <cx:pt idx="6939">1.42302</cx:pt>
          <cx:pt idx="6940">44.3623699999997</cx:pt>
          <cx:pt idx="6941">13.1242499999999</cx:pt>
          <cx:pt idx="6942">11.625359999999899</cx:pt>
          <cx:pt idx="6943">17.24098</cx:pt>
          <cx:pt idx="6944">15.04954</cx:pt>
          <cx:pt idx="6945">18.778979999999901</cx:pt>
          <cx:pt idx="6946">13.1242499999999</cx:pt>
          <cx:pt idx="6947">6.1616999999999997</cx:pt>
          <cx:pt idx="6948">11.625359999999899</cx:pt>
          <cx:pt idx="6949">13.1242499999999</cx:pt>
          <cx:pt idx="6950">13.1242499999999</cx:pt>
          <cx:pt idx="6951">13.1242499999999</cx:pt>
          <cx:pt idx="6952">15.786539999999999</cx:pt>
          <cx:pt idx="6953">15.04954</cx:pt>
          <cx:pt idx="6954">13.1242499999999</cx:pt>
          <cx:pt idx="6955">2.1922199999999998</cx:pt>
          <cx:pt idx="6956">11.625359999999899</cx:pt>
          <cx:pt idx="6957">13.1242499999999</cx:pt>
          <cx:pt idx="6958">13.1242499999999</cx:pt>
          <cx:pt idx="6959">36.301369999999999</cx:pt>
          <cx:pt idx="6960">13.1242499999999</cx:pt>
          <cx:pt idx="6961">18.778979999999901</cx:pt>
          <cx:pt idx="6962">15.04954</cx:pt>
          <cx:pt idx="6963">15.04954</cx:pt>
          <cx:pt idx="6964">13.1242499999999</cx:pt>
          <cx:pt idx="6965">13.1242499999999</cx:pt>
          <cx:pt idx="6966">3.34601999999999</cx:pt>
          <cx:pt idx="6967">13.1242499999999</cx:pt>
          <cx:pt idx="6968">15.04954</cx:pt>
          <cx:pt idx="6969">15.04954</cx:pt>
          <cx:pt idx="6970">17.24098</cx:pt>
          <cx:pt idx="6971">14.055119999999999</cx:pt>
          <cx:pt idx="6972">13.1242499999999</cx:pt>
          <cx:pt idx="6973">18.778979999999901</cx:pt>
          <cx:pt idx="6974">13.1242499999999</cx:pt>
          <cx:pt idx="6975">15.04954</cx:pt>
          <cx:pt idx="6976">15.04954</cx:pt>
          <cx:pt idx="6977">11.625359999999899</cx:pt>
          <cx:pt idx="6978">11.625359999999899</cx:pt>
          <cx:pt idx="6979">15.04954</cx:pt>
          <cx:pt idx="6980">11.625359999999899</cx:pt>
          <cx:pt idx="6981">14.75474</cx:pt>
          <cx:pt idx="6982">43.287569999999697</cx:pt>
          <cx:pt idx="6983">11.7669599999999</cx:pt>
          <cx:pt idx="6984">13.1242499999999</cx:pt>
          <cx:pt idx="6985">13.1242499999999</cx:pt>
          <cx:pt idx="6986">13.1242499999999</cx:pt>
          <cx:pt idx="6987">11.625359999999899</cx:pt>
          <cx:pt idx="6988">13.1242499999999</cx:pt>
          <cx:pt idx="6989">10.2924899999999</cx:pt>
          <cx:pt idx="6990">18.778979999999901</cx:pt>
          <cx:pt idx="6991">4.9998000000000005</cx:pt>
          <cx:pt idx="6992">18.778979999999901</cx:pt>
          <cx:pt idx="6993">13.1242499999999</cx:pt>
          <cx:pt idx="6994">15.04954</cx:pt>
          <cx:pt idx="6995">11.7669599999999</cx:pt>
          <cx:pt idx="6996">15.491739999999901</cx:pt>
          <cx:pt idx="6997">13.1242499999999</cx:pt>
          <cx:pt idx="6998">18.778979999999901</cx:pt>
          <cx:pt idx="6999">11.625359999999899</cx:pt>
          <cx:pt idx="7000">15.04954</cx:pt>
          <cx:pt idx="7001">13.1242499999999</cx:pt>
          <cx:pt idx="7002">15.04954</cx:pt>
          <cx:pt idx="7003">13.1242499999999</cx:pt>
          <cx:pt idx="7004">11.625359999999899</cx:pt>
          <cx:pt idx="7005">11.625359999999899</cx:pt>
          <cx:pt idx="7006">13.1242499999999</cx:pt>
          <cx:pt idx="7007">13.1242499999999</cx:pt>
          <cx:pt idx="7008">2.3204199999999999</cx:pt>
          <cx:pt idx="7009">11.625359999999899</cx:pt>
          <cx:pt idx="7010">12.3333599999999</cx:pt>
          <cx:pt idx="7011">14.75474</cx:pt>
          <cx:pt idx="7012">13.1242499999999</cx:pt>
          <cx:pt idx="7013">13.1242499999999</cx:pt>
          <cx:pt idx="7014">11.625359999999899</cx:pt>
          <cx:pt idx="7015">17.24098</cx:pt>
          <cx:pt idx="7016">4.3588000000000005</cx:pt>
          <cx:pt idx="7017">17.24098</cx:pt>
          <cx:pt idx="7018">45.974569999999702</cx:pt>
          <cx:pt idx="7019">13.1242499999999</cx:pt>
          <cx:pt idx="7020">49.198969999999697</cx:pt>
          <cx:pt idx="7021">15.04954</cx:pt>
          <cx:pt idx="7022">15.04954</cx:pt>
          <cx:pt idx="7023">5.1408199999999997</cx:pt>
          <cx:pt idx="7024">11.625359999999899</cx:pt>
          <cx:pt idx="7025">13.1242499999999</cx:pt>
          <cx:pt idx="7026">13.1242499999999</cx:pt>
          <cx:pt idx="7027">8.0173600000000214</cx:pt>
          <cx:pt idx="7028">13.1242499999999</cx:pt>
          <cx:pt idx="7029">15.04954</cx:pt>
          <cx:pt idx="7030">15.786539999999999</cx:pt>
          <cx:pt idx="7031">13.1242499999999</cx:pt>
          <cx:pt idx="7032">13.1242499999999</cx:pt>
          <cx:pt idx="7033">4.7433999999999994</cx:pt>
          <cx:pt idx="7034">6.8171999999999997</cx:pt>
          <cx:pt idx="7035">15.04954</cx:pt>
          <cx:pt idx="7036">13.1242499999999</cx:pt>
          <cx:pt idx="7037">11.9085599999999</cx:pt>
          <cx:pt idx="7038">13.1242499999999</cx:pt>
          <cx:pt idx="7039">17.24098</cx:pt>
          <cx:pt idx="7040">13.1242499999999</cx:pt>
          <cx:pt idx="7041">13.1242499999999</cx:pt>
          <cx:pt idx="7042">6.2927999999999997</cx:pt>
          <cx:pt idx="7043">13.1242499999999</cx:pt>
          <cx:pt idx="7044">13.1242499999999</cx:pt>
          <cx:pt idx="7045">13.1242499999999</cx:pt>
          <cx:pt idx="7046">13.1242499999999</cx:pt>
          <cx:pt idx="7047">13.1242499999999</cx:pt>
          <cx:pt idx="7048">13.1242499999999</cx:pt>
          <cx:pt idx="7049">18.009979999999899</cx:pt>
          <cx:pt idx="7050">13.1242499999999</cx:pt>
          <cx:pt idx="7051">13.1242499999999</cx:pt>
          <cx:pt idx="7052">17.24098</cx:pt>
          <cx:pt idx="7053">12.036</cx:pt>
          <cx:pt idx="7054">11.625359999999899</cx:pt>
          <cx:pt idx="7055">13.1242499999999</cx:pt>
          <cx:pt idx="7056">18.778979999999901</cx:pt>
          <cx:pt idx="7057">18.009979999999899</cx:pt>
          <cx:pt idx="7058">13.1242499999999</cx:pt>
          <cx:pt idx="7059">13.1242499999999</cx:pt>
          <cx:pt idx="7060">13.1242499999999</cx:pt>
          <cx:pt idx="7061">13.1242499999999</cx:pt>
          <cx:pt idx="7062">13.1242499999999</cx:pt>
          <cx:pt idx="7063">13.1242499999999</cx:pt>
          <cx:pt idx="7064">13.1242499999999</cx:pt>
          <cx:pt idx="7065">17.24098</cx:pt>
          <cx:pt idx="7066">13.1242499999999</cx:pt>
          <cx:pt idx="7067">15.04954</cx:pt>
          <cx:pt idx="7068">7.4359999999999999</cx:pt>
          <cx:pt idx="7069">13.1242499999999</cx:pt>
          <cx:pt idx="7070">11.625359999999899</cx:pt>
          <cx:pt idx="7071">11.625359999999899</cx:pt>
          <cx:pt idx="7072">13.1242499999999</cx:pt>
          <cx:pt idx="7073">15.04954</cx:pt>
          <cx:pt idx="7074">13.1242499999999</cx:pt>
          <cx:pt idx="7075">13.1242499999999</cx:pt>
          <cx:pt idx="7076">3.34601999999999</cx:pt>
          <cx:pt idx="7077">10.7091899999999</cx:pt>
          <cx:pt idx="7078">15.04954</cx:pt>
          <cx:pt idx="7079">11.625359999999899</cx:pt>
          <cx:pt idx="7080">15.04954</cx:pt>
          <cx:pt idx="7081">13.1242499999999</cx:pt>
          <cx:pt idx="7082">11.625359999999899</cx:pt>
          <cx:pt idx="7083">17.24098</cx:pt>
          <cx:pt idx="7084">15.6244</cx:pt>
          <cx:pt idx="7085">12.3333599999999</cx:pt>
          <cx:pt idx="7086">14.0406599999999</cx:pt>
          <cx:pt idx="7087">17.2256</cx:pt>
          <cx:pt idx="7088">11.3421599999999</cx:pt>
          <cx:pt idx="7089">17.24098</cx:pt>
          <cx:pt idx="7090">15.04954</cx:pt>
          <cx:pt idx="7091">8.3823999999999987</cx:pt>
          <cx:pt idx="7092">10.973099999999999</cx:pt>
          <cx:pt idx="7093">34.930999999999997</cx:pt>
          <cx:pt idx="7094">15.786539999999999</cx:pt>
          <cx:pt idx="7095">13.1242499999999</cx:pt>
          <cx:pt idx="7096">13.1242499999999</cx:pt>
          <cx:pt idx="7097">13.1242499999999</cx:pt>
          <cx:pt idx="7098">2.1922199999999998</cx:pt>
          <cx:pt idx="7099">8.9232000000000014</cx:pt>
          <cx:pt idx="7100">10.278600000000001</cx:pt>
          <cx:pt idx="7101">13.1242499999999</cx:pt>
          <cx:pt idx="7102">15.04954</cx:pt>
          <cx:pt idx="7103">13.1242499999999</cx:pt>
          <cx:pt idx="7104">15.04954</cx:pt>
          <cx:pt idx="7105">5.5061999999999998</cx:pt>
          <cx:pt idx="7106">13.1242499999999</cx:pt>
          <cx:pt idx="7107">11.625359999999899</cx:pt>
          <cx:pt idx="7108">13.1242499999999</cx:pt>
          <cx:pt idx="7109">13.1242499999999</cx:pt>
          <cx:pt idx="7110">13.1242499999999</cx:pt>
          <cx:pt idx="7111">13.1242499999999</cx:pt>
          <cx:pt idx="7112">11.625359999999899</cx:pt>
          <cx:pt idx="7113">13.1242499999999</cx:pt>
          <cx:pt idx="7114">13.1242499999999</cx:pt>
          <cx:pt idx="7115">15.04954</cx:pt>
          <cx:pt idx="7116">13.1242499999999</cx:pt>
          <cx:pt idx="7117">8.5311199999999907</cx:pt>
          <cx:pt idx="7118">13.1242499999999</cx:pt>
          <cx:pt idx="7119">18.456</cx:pt>
          <cx:pt idx="7120">15.04954</cx:pt>
          <cx:pt idx="7121">11.625359999999899</cx:pt>
          <cx:pt idx="7122">13.1242499999999</cx:pt>
          <cx:pt idx="7123">13.1242499999999</cx:pt>
          <cx:pt idx="7124">19.225000000000001</cx:pt>
          <cx:pt idx="7125">18.778979999999901</cx:pt>
          <cx:pt idx="7126">15.04954</cx:pt>
          <cx:pt idx="7127">15.786539999999999</cx:pt>
          <cx:pt idx="7128">11.625359999999899</cx:pt>
          <cx:pt idx="7129">2.3204199999999999</cx:pt>
          <cx:pt idx="7130">13.1242499999999</cx:pt>
          <cx:pt idx="7131">13.1242499999999</cx:pt>
          <cx:pt idx="7132">17.24098</cx:pt>
          <cx:pt idx="7133">14.75474</cx:pt>
          <cx:pt idx="7134">15.04954</cx:pt>
          <cx:pt idx="7135">6.2927999999999997</cx:pt>
          <cx:pt idx="7136">13.1242499999999</cx:pt>
          <cx:pt idx="7137">13.1242499999999</cx:pt>
          <cx:pt idx="7138">13.1242499999999</cx:pt>
          <cx:pt idx="7139">15.04954</cx:pt>
          <cx:pt idx="7140">14.75474</cx:pt>
          <cx:pt idx="7141">15.04954</cx:pt>
          <cx:pt idx="7142">13.1242499999999</cx:pt>
          <cx:pt idx="7143">4.1152199999999999</cx:pt>
          <cx:pt idx="7144">13.1242499999999</cx:pt>
          <cx:pt idx="7145">17.24098</cx:pt>
          <cx:pt idx="7146">3.8716400000000197</cx:pt>
          <cx:pt idx="7147">13.1242499999999</cx:pt>
          <cx:pt idx="7148">40.86927</cx:pt>
          <cx:pt idx="7149">17.08718</cx:pt>
          <cx:pt idx="7150">13.1242499999999</cx:pt>
          <cx:pt idx="7151">13.1242499999999</cx:pt>
          <cx:pt idx="7152">13.1242499999999</cx:pt>
          <cx:pt idx="7153">13.1242499999999</cx:pt>
          <cx:pt idx="7154">18.778979999999901</cx:pt>
          <cx:pt idx="7155">15.04954</cx:pt>
          <cx:pt idx="7156">15.04954</cx:pt>
          <cx:pt idx="7157">15.04954</cx:pt>
          <cx:pt idx="7158">4.8972400000000205</cx:pt>
          <cx:pt idx="7159">17.24098</cx:pt>
          <cx:pt idx="7160">13.1242499999999</cx:pt>
          <cx:pt idx="7161">13.1242499999999</cx:pt>
          <cx:pt idx="7162">11.625359999999899</cx:pt>
          <cx:pt idx="7163">11.625359999999899</cx:pt>
          <cx:pt idx="7164">4.2434199999999995</cx:pt>
          <cx:pt idx="7165">3.34601999999999</cx:pt>
          <cx:pt idx="7166">13.1242499999999</cx:pt>
          <cx:pt idx="7167">11.625359999999899</cx:pt>
          <cx:pt idx="7168">15.04954</cx:pt>
          <cx:pt idx="7169">11.625359999999899</cx:pt>
          <cx:pt idx="7170">12.319199999999899</cx:pt>
          <cx:pt idx="7171">13.1242499999999</cx:pt>
          <cx:pt idx="7172">13.1242499999999</cx:pt>
          <cx:pt idx="7173">13.1242499999999</cx:pt>
          <cx:pt idx="7174">18.009979999999899</cx:pt>
          <cx:pt idx="7175">15.04954</cx:pt>
          <cx:pt idx="7176">13.1242499999999</cx:pt>
          <cx:pt idx="7177">14.75474</cx:pt>
          <cx:pt idx="7178">15.04954</cx:pt>
          <cx:pt idx="7179">15.04954</cx:pt>
          <cx:pt idx="7180">13.1242499999999</cx:pt>
          <cx:pt idx="7181">11.625359999999899</cx:pt>
          <cx:pt idx="7182">17.24098</cx:pt>
          <cx:pt idx="7183">11.625359999999899</cx:pt>
          <cx:pt idx="7184">19.086580000000001</cx:pt>
          <cx:pt idx="7185">43.287569999999697</cx:pt>
          <cx:pt idx="7186">15.04954</cx:pt>
          <cx:pt idx="7187">15.04954</cx:pt>
          <cx:pt idx="7188">3.9741999999999997</cx:pt>
          <cx:pt idx="7189">11.625359999999899</cx:pt>
          <cx:pt idx="7190">15.04954</cx:pt>
          <cx:pt idx="7191">18.778979999999901</cx:pt>
          <cx:pt idx="7192">13.1242499999999</cx:pt>
          <cx:pt idx="7193">11.625359999999899</cx:pt>
          <cx:pt idx="7194">11.625359999999899</cx:pt>
          <cx:pt idx="7195">5.6504099999999999</cx:pt>
          <cx:pt idx="7196">13.1242499999999</cx:pt>
          <cx:pt idx="7197">15.04954</cx:pt>
          <cx:pt idx="7198">17.24098</cx:pt>
          <cx:pt idx="7199">35.495269999999898</cx:pt>
          <cx:pt idx="7200">13.1242499999999</cx:pt>
          <cx:pt idx="7201">10.7091899999999</cx:pt>
          <cx:pt idx="7202">13.1242499999999</cx:pt>
          <cx:pt idx="7203">35.1997</cx:pt>
          <cx:pt idx="7204">15.04954</cx:pt>
          <cx:pt idx="7205">13.1242499999999</cx:pt>
          <cx:pt idx="7206">13.1242499999999</cx:pt>
          <cx:pt idx="7207">10.834199999999999</cx:pt>
          <cx:pt idx="7208">11.625359999999899</cx:pt>
          <cx:pt idx="7209">15.04954</cx:pt>
          <cx:pt idx="7210">13.1242499999999</cx:pt>
          <cx:pt idx="7211">3.8460000000000001</cx:pt>
          <cx:pt idx="7212">3.4742199999999896</cx:pt>
          <cx:pt idx="7213">13.1242499999999</cx:pt>
          <cx:pt idx="7214">11.625359999999899</cx:pt>
          <cx:pt idx="7215">13.1242499999999</cx:pt>
          <cx:pt idx="7216">15.04954</cx:pt>
          <cx:pt idx="7217">18.778979999999901</cx:pt>
          <cx:pt idx="7218">13.1242499999999</cx:pt>
          <cx:pt idx="7219">8.7880000000000003</cx:pt>
          <cx:pt idx="7220">35.495269999999898</cx:pt>
          <cx:pt idx="7221">11.92272</cx:pt>
          <cx:pt idx="7222">46.5119699999997</cx:pt>
          <cx:pt idx="7223">15.04954</cx:pt>
          <cx:pt idx="7224">13.1242499999999</cx:pt>
          <cx:pt idx="7225">11.625359999999899</cx:pt>
          <cx:pt idx="7226">15.04954</cx:pt>
          <cx:pt idx="7227">13.1242499999999</cx:pt>
          <cx:pt idx="7228">13.1242499999999</cx:pt>
          <cx:pt idx="7229">11.625359999999899</cx:pt>
          <cx:pt idx="7230">13.1242499999999</cx:pt>
          <cx:pt idx="7231">13.1242499999999</cx:pt>
          <cx:pt idx="7232">17.24098</cx:pt>
          <cx:pt idx="7233">3.9741999999999997</cx:pt>
          <cx:pt idx="7234">15.04954</cx:pt>
          <cx:pt idx="7235">13.1242499999999</cx:pt>
          <cx:pt idx="7236">38.47784</cx:pt>
          <cx:pt idx="7237">15.04954</cx:pt>
          <cx:pt idx="7238">17.24098</cx:pt>
          <cx:pt idx="7239">14.75474</cx:pt>
          <cx:pt idx="7240">17.24098</cx:pt>
          <cx:pt idx="7241">13.1242499999999</cx:pt>
          <cx:pt idx="7242">18.778979999999901</cx:pt>
          <cx:pt idx="7243">1.42302</cx:pt>
          <cx:pt idx="7244">15.04954</cx:pt>
          <cx:pt idx="7245">18.778979999999901</cx:pt>
          <cx:pt idx="7246">17.24098</cx:pt>
          <cx:pt idx="7247">13.1242499999999</cx:pt>
          <cx:pt idx="7248">9.5840999999999994</cx:pt>
          <cx:pt idx="7249">13.1242499999999</cx:pt>
          <cx:pt idx="7250">13.1242499999999</cx:pt>
          <cx:pt idx="7251">12.839249999999899</cx:pt>
          <cx:pt idx="7252">13.1242499999999</cx:pt>
          <cx:pt idx="7253">13.1242499999999</cx:pt>
          <cx:pt idx="7254">13.1242499999999</cx:pt>
          <cx:pt idx="7255">15.04954</cx:pt>
          <cx:pt idx="7256">15.04954</cx:pt>
          <cx:pt idx="7257">15.04954</cx:pt>
          <cx:pt idx="7258">2.5639999999999898</cx:pt>
          <cx:pt idx="7259">12.3333599999999</cx:pt>
          <cx:pt idx="7260">15.04954</cx:pt>
          <cx:pt idx="7261">15.04954</cx:pt>
          <cx:pt idx="7262">19.547980000000003</cx:pt>
          <cx:pt idx="7263">11.625359999999899</cx:pt>
          <cx:pt idx="7264">13.1242499999999</cx:pt>
          <cx:pt idx="7265">15.04954</cx:pt>
          <cx:pt idx="7266">18.778979999999901</cx:pt>
          <cx:pt idx="7267">17.24098</cx:pt>
          <cx:pt idx="7268">4.4998199999999899</cx:pt>
          <cx:pt idx="7269">6.5549999999999997</cx:pt>
          <cx:pt idx="7270">15.04954</cx:pt>
          <cx:pt idx="7271">19.547980000000003</cx:pt>
          <cx:pt idx="7272">13.1242499999999</cx:pt>
          <cx:pt idx="7273">15.04954</cx:pt>
          <cx:pt idx="7274">18.794359999999998</cx:pt>
          <cx:pt idx="7275">13.1242499999999</cx:pt>
          <cx:pt idx="7276">15.04954</cx:pt>
          <cx:pt idx="7277">13.1242499999999</cx:pt>
          <cx:pt idx="7278">15.04954</cx:pt>
          <cx:pt idx="7279">15.04954</cx:pt>
          <cx:pt idx="7280">10.6952999999999</cx:pt>
          <cx:pt idx="7281">13.1242499999999</cx:pt>
          <cx:pt idx="7282">13.1242499999999</cx:pt>
          <cx:pt idx="7283">13.1242499999999</cx:pt>
          <cx:pt idx="7284">17.24098</cx:pt>
          <cx:pt idx="7285">15.786539999999999</cx:pt>
          <cx:pt idx="7286">13.1242499999999</cx:pt>
          <cx:pt idx="7287">13.1242499999999</cx:pt>
          <cx:pt idx="7288">5.2561999999999998</cx:pt>
          <cx:pt idx="7289">12.3333599999999</cx:pt>
          <cx:pt idx="7290">3.4613999999999998</cx:pt>
          <cx:pt idx="7291">1.42302</cx:pt>
          <cx:pt idx="7292">13.1242499999999</cx:pt>
          <cx:pt idx="7293">13.1242499999999</cx:pt>
          <cx:pt idx="7294">11.625359999999899</cx:pt>
          <cx:pt idx="7295">36.032670000000003</cx:pt>
          <cx:pt idx="7296">15.04954</cx:pt>
          <cx:pt idx="7297">13.1242499999999</cx:pt>
          <cx:pt idx="7298">5.89949999999999</cx:pt>
          <cx:pt idx="7299">13.1242499999999</cx:pt>
          <cx:pt idx="7300">46.5119699999997</cx:pt>
          <cx:pt idx="7301">18.778979999999901</cx:pt>
          <cx:pt idx="7302">16.764200000000002</cx:pt>
          <cx:pt idx="7303">13.1242499999999</cx:pt>
          <cx:pt idx="7304">11.625359999999899</cx:pt>
          <cx:pt idx="7305">13.1242499999999</cx:pt>
          <cx:pt idx="7306">15.04954</cx:pt>
          <cx:pt idx="7307">7.3008000000000006</cx:pt>
          <cx:pt idx="7308">13.1242499999999</cx:pt>
          <cx:pt idx="7309">15.04954</cx:pt>
          <cx:pt idx="7310">6.03059999999999</cx:pt>
          <cx:pt idx="7311">13.1242499999999</cx:pt>
          <cx:pt idx="7312">19.071199999999997</cx:pt>
          <cx:pt idx="7313">40.86927</cx:pt>
          <cx:pt idx="7314">13.1242499999999</cx:pt>
          <cx:pt idx="7315">13.1242499999999</cx:pt>
          <cx:pt idx="7316">13.1242499999999</cx:pt>
          <cx:pt idx="7317">13.1242499999999</cx:pt>
          <cx:pt idx="7318">13.1242499999999</cx:pt>
          <cx:pt idx="7319">13.1242499999999</cx:pt>
          <cx:pt idx="7320">15.04954</cx:pt>
          <cx:pt idx="7321">4.7433999999999994</cx:pt>
          <cx:pt idx="7322">15.639140000000001</cx:pt>
          <cx:pt idx="7323">13.1242499999999</cx:pt>
          <cx:pt idx="7324">15.04954</cx:pt>
          <cx:pt idx="7325">15.04954</cx:pt>
          <cx:pt idx="7326">13.1242499999999</cx:pt>
          <cx:pt idx="7327">13.1242499999999</cx:pt>
          <cx:pt idx="7328">3.5895999999999999</cx:pt>
          <cx:pt idx="7329">13.1242499999999</cx:pt>
          <cx:pt idx="7330">18.009979999999899</cx:pt>
          <cx:pt idx="7331">15.344340000000001</cx:pt>
          <cx:pt idx="7332">16.93338</cx:pt>
          <cx:pt idx="7333">41.4066699999997</cx:pt>
          <cx:pt idx="7334">15.04954</cx:pt>
          <cx:pt idx="7335">11.625359999999899</cx:pt>
          <cx:pt idx="7336">13.1242499999999</cx:pt>
          <cx:pt idx="7337">44.093669999999705</cx:pt>
          <cx:pt idx="7338">4.3588000000000005</cx:pt>
          <cx:pt idx="7339">13.1242499999999</cx:pt>
          <cx:pt idx="7340">15.04954</cx:pt>
          <cx:pt idx="7341">13.1242499999999</cx:pt>
          <cx:pt idx="7342">15.04954</cx:pt>
          <cx:pt idx="7343">15.04954</cx:pt>
          <cx:pt idx="7344">13.1242499999999</cx:pt>
          <cx:pt idx="7345">15.04954</cx:pt>
          <cx:pt idx="7346">15.04954</cx:pt>
          <cx:pt idx="7347">44.3623699999997</cx:pt>
          <cx:pt idx="7348">13.1242499999999</cx:pt>
          <cx:pt idx="7349">15.04954</cx:pt>
          <cx:pt idx="7350">6.3190200000000196</cx:pt>
          <cx:pt idx="7351">17.548580000000001</cx:pt>
          <cx:pt idx="7352">13.1242499999999</cx:pt>
          <cx:pt idx="7353">11.625359999999899</cx:pt>
          <cx:pt idx="7354">13.1242499999999</cx:pt>
          <cx:pt idx="7355">17.2256</cx:pt>
          <cx:pt idx="7356">13.1242499999999</cx:pt>
          <cx:pt idx="7357">3.34601999999999</cx:pt>
          <cx:pt idx="7358">13.1242499999999</cx:pt>
          <cx:pt idx="7359">15.04954</cx:pt>
          <cx:pt idx="7360">2.7050200000000002</cx:pt>
          <cx:pt idx="7361">4.7433999999999994</cx:pt>
          <cx:pt idx="7362">15.04954</cx:pt>
          <cx:pt idx="7363">11.625359999999899</cx:pt>
          <cx:pt idx="7364">14.784220000000001</cx:pt>
          <cx:pt idx="7365">13.1242499999999</cx:pt>
          <cx:pt idx="7366">17.24098</cx:pt>
          <cx:pt idx="7367">13.1242499999999</cx:pt>
          <cx:pt idx="7368">9.0583999999999989</cx:pt>
          <cx:pt idx="7369">13.1242499999999</cx:pt>
          <cx:pt idx="7370">35.495269999999898</cx:pt>
          <cx:pt idx="7371">13.1242499999999</cx:pt>
          <cx:pt idx="7372">11.3421599999999</cx:pt>
          <cx:pt idx="7373">13.1242499999999</cx:pt>
          <cx:pt idx="7374">13.1242499999999</cx:pt>
          <cx:pt idx="7375">15.04954</cx:pt>
          <cx:pt idx="7376">11.625359999999899</cx:pt>
          <cx:pt idx="7377">13.1242499999999</cx:pt>
          <cx:pt idx="7378">13.1242499999999</cx:pt>
          <cx:pt idx="7379">13.1242499999999</cx:pt>
          <cx:pt idx="7380">13.1242499999999</cx:pt>
          <cx:pt idx="7381">15.04954</cx:pt>
          <cx:pt idx="7382">13.1242499999999</cx:pt>
          <cx:pt idx="7383">13.1242499999999</cx:pt>
          <cx:pt idx="7384">15.04954</cx:pt>
          <cx:pt idx="7385">17.702379999999902</cx:pt>
          <cx:pt idx="7386">13.1242499999999</cx:pt>
          <cx:pt idx="7387">13.1242499999999</cx:pt>
          <cx:pt idx="7388">13.1242499999999</cx:pt>
          <cx:pt idx="7389">15.04954</cx:pt>
          <cx:pt idx="7390">10.153589999999999</cx:pt>
          <cx:pt idx="7391">8.3959200000000003</cx:pt>
          <cx:pt idx="7392">13.1242499999999</cx:pt>
          <cx:pt idx="7393">11.625359999999899</cx:pt>
          <cx:pt idx="7394">17.24098</cx:pt>
          <cx:pt idx="7395">13.1242499999999</cx:pt>
          <cx:pt idx="7396">13.1242499999999</cx:pt>
          <cx:pt idx="7397">15.04954</cx:pt>
          <cx:pt idx="7398">15.04954</cx:pt>
          <cx:pt idx="7399">15.04954</cx:pt>
          <cx:pt idx="7400">12.3333599999999</cx:pt>
          <cx:pt idx="7401">4.4998199999999899</cx:pt>
          <cx:pt idx="7402">12.839249999999899</cx:pt>
          <cx:pt idx="7403">17.24098</cx:pt>
          <cx:pt idx="7404">6.1616999999999997</cx:pt>
          <cx:pt idx="7405">13.1242499999999</cx:pt>
          <cx:pt idx="7406">10.834199999999999</cx:pt>
          <cx:pt idx="7407">13.1242499999999</cx:pt>
          <cx:pt idx="7408">17.24098</cx:pt>
          <cx:pt idx="7409">3.08962</cx:pt>
          <cx:pt idx="7410">12.3333599999999</cx:pt>
          <cx:pt idx="7411">13.1242499999999</cx:pt>
          <cx:pt idx="7412">15.04954</cx:pt>
          <cx:pt idx="7413">13.462259999999901</cx:pt>
          <cx:pt idx="7414">18.009979999999899</cx:pt>
          <cx:pt idx="7415">13.1242499999999</cx:pt>
          <cx:pt idx="7416">12.839249999999899</cx:pt>
          <cx:pt idx="7417">13.1242499999999</cx:pt>
          <cx:pt idx="7418">4.1023999999999994</cx:pt>
          <cx:pt idx="7419">13.1242499999999</cx:pt>
          <cx:pt idx="7420">11.625359999999899</cx:pt>
          <cx:pt idx="7421">15.344340000000001</cx:pt>
          <cx:pt idx="7422">13.606859999999902</cx:pt>
          <cx:pt idx="7423">17.24098</cx:pt>
          <cx:pt idx="7424">13.1242499999999</cx:pt>
          <cx:pt idx="7425">14.0261999999999</cx:pt>
          <cx:pt idx="7426">6.1616999999999997</cx:pt>
          <cx:pt idx="7427">13.1242499999999</cx:pt>
          <cx:pt idx="7428">13.1242499999999</cx:pt>
          <cx:pt idx="7429">12.3333599999999</cx:pt>
          <cx:pt idx="7430">18.778979999999901</cx:pt>
          <cx:pt idx="7431">15.04954</cx:pt>
          <cx:pt idx="7432">4.9998000000000005</cx:pt>
          <cx:pt idx="7433">15.04954</cx:pt>
          <cx:pt idx="7434">13.1242499999999</cx:pt>
          <cx:pt idx="7435">15.786539999999999</cx:pt>
          <cx:pt idx="7436">11.625359999999899</cx:pt>
          <cx:pt idx="7437">15.04954</cx:pt>
          <cx:pt idx="7438">13.1242499999999</cx:pt>
          <cx:pt idx="7439">13.1242499999999</cx:pt>
          <cx:pt idx="7440">15.786539999999999</cx:pt>
          <cx:pt idx="7441">15.04954</cx:pt>
          <cx:pt idx="7442">15.04954</cx:pt>
          <cx:pt idx="7443">13.1242499999999</cx:pt>
          <cx:pt idx="7444">4.8715999999999999</cx:pt>
          <cx:pt idx="7445">13.1242499999999</cx:pt>
          <cx:pt idx="7446">18.778979999999901</cx:pt>
          <cx:pt idx="7447">6.5549999999999997</cx:pt>
          <cx:pt idx="7448">13.1242499999999</cx:pt>
          <cx:pt idx="7449">5.89949999999999</cx:pt>
          <cx:pt idx="7450">15.04954</cx:pt>
          <cx:pt idx="7451">18.778979999999901</cx:pt>
          <cx:pt idx="7452">15.04954</cx:pt>
          <cx:pt idx="7453">13.1242499999999</cx:pt>
          <cx:pt idx="7454">9.0583999999999989</cx:pt>
          <cx:pt idx="7455">7.4359999999999999</cx:pt>
          <cx:pt idx="7456">13.1242499999999</cx:pt>
          <cx:pt idx="7457">13.1242499999999</cx:pt>
          <cx:pt idx="7458">15.04954</cx:pt>
          <cx:pt idx="7459">13.1242499999999</cx:pt>
          <cx:pt idx="7460">15.04954</cx:pt>
          <cx:pt idx="7461">13.751459999999899</cx:pt>
          <cx:pt idx="7462">13.1242499999999</cx:pt>
          <cx:pt idx="7463">9.8619000000000003</cx:pt>
          <cx:pt idx="7464">13.1242499999999</cx:pt>
          <cx:pt idx="7465">11.625359999999899</cx:pt>
          <cx:pt idx="7466">13.1242499999999</cx:pt>
          <cx:pt idx="7467">15.344340000000001</cx:pt>
          <cx:pt idx="7468">11.625359999999899</cx:pt>
          <cx:pt idx="7469">13.1242499999999</cx:pt>
          <cx:pt idx="7470">18.778979999999901</cx:pt>
          <cx:pt idx="7471">17.24098</cx:pt>
          <cx:pt idx="7472">13.1242499999999</cx:pt>
          <cx:pt idx="7473">13.1242499999999</cx:pt>
          <cx:pt idx="7474">2.1922199999999998</cx:pt>
          <cx:pt idx="7475">13.1242499999999</cx:pt>
          <cx:pt idx="7476">18.778979999999901</cx:pt>
          <cx:pt idx="7477">13.1242499999999</cx:pt>
          <cx:pt idx="7478">1.42302</cx:pt>
          <cx:pt idx="7479">13.1242499999999</cx:pt>
          <cx:pt idx="7480">13.1242499999999</cx:pt>
          <cx:pt idx="7481">13.1242499999999</cx:pt>
          <cx:pt idx="7482">13.1242499999999</cx:pt>
          <cx:pt idx="7483">13.1242499999999</cx:pt>
          <cx:pt idx="7484">11.625359999999899</cx:pt>
          <cx:pt idx="7485">13.1242499999999</cx:pt>
          <cx:pt idx="7486">13.1242499999999</cx:pt>
          <cx:pt idx="7487">13.1242499999999</cx:pt>
          <cx:pt idx="7488">13.606860000000001</cx:pt>
          <cx:pt idx="7489">15.04954</cx:pt>
          <cx:pt idx="7490">19.240380000000002</cx:pt>
          <cx:pt idx="7491">13.1242499999999</cx:pt>
          <cx:pt idx="7492">13.1242499999999</cx:pt>
          <cx:pt idx="7493">3.9741999999999997</cx:pt>
          <cx:pt idx="7494">13.1242499999999</cx:pt>
          <cx:pt idx="7495">12.616559999999899</cx:pt>
          <cx:pt idx="7496">13.1242499999999</cx:pt>
          <cx:pt idx="7497">13.1242499999999</cx:pt>
          <cx:pt idx="7498">15.344340000000001</cx:pt>
          <cx:pt idx="7499">15.04954</cx:pt>
          <cx:pt idx="7500">13.1242499999999</cx:pt>
          <cx:pt idx="7501">14.607339999999899</cx:pt>
          <cx:pt idx="7502">13.1242499999999</cx:pt>
          <cx:pt idx="7503">13.1242499999999</cx:pt>
          <cx:pt idx="7504">15.04954</cx:pt>
          <cx:pt idx="7505">5.5193099999999999</cx:pt>
          <cx:pt idx="7506">13.1242499999999</cx:pt>
          <cx:pt idx="7507">15.344340000000001</cx:pt>
          <cx:pt idx="7508">18.778979999999901</cx:pt>
          <cx:pt idx="7509">11.625359999999899</cx:pt>
          <cx:pt idx="7510">9.5979899999999798</cx:pt>
          <cx:pt idx="7511">35.495269999999898</cx:pt>
          <cx:pt idx="7512">17.24098</cx:pt>
          <cx:pt idx="7513">11.625359999999899</cx:pt>
          <cx:pt idx="7514">17.24098</cx:pt>
          <cx:pt idx="7515">11.625359999999899</cx:pt>
          <cx:pt idx="7516">13.1242499999999</cx:pt>
          <cx:pt idx="7517">17.24098</cx:pt>
          <cx:pt idx="7518">15.04954</cx:pt>
          <cx:pt idx="7519">11.625359999999899</cx:pt>
          <cx:pt idx="7520">9.3201899999999789</cx:pt>
          <cx:pt idx="7521">13.1242499999999</cx:pt>
          <cx:pt idx="7522">3.8460000000000001</cx:pt>
          <cx:pt idx="7523">13.1242499999999</cx:pt>
          <cx:pt idx="7524">13.1242499999999</cx:pt>
          <cx:pt idx="7525">13.1242499999999</cx:pt>
          <cx:pt idx="7526">15.04954</cx:pt>
          <cx:pt idx="7527">13.1242499999999</cx:pt>
          <cx:pt idx="7528">2.7050200000000002</cx:pt>
          <cx:pt idx="7529">13.1242499999999</cx:pt>
          <cx:pt idx="7530">13.1242499999999</cx:pt>
          <cx:pt idx="7531">13.1242499999999</cx:pt>
          <cx:pt idx="7532">17.24098</cx:pt>
          <cx:pt idx="7533">14.607339999999899</cx:pt>
          <cx:pt idx="7534">13.1242499999999</cx:pt>
          <cx:pt idx="7535">18.778979999999901</cx:pt>
          <cx:pt idx="7536">15.491739999999901</cx:pt>
          <cx:pt idx="7537">13.1242499999999</cx:pt>
          <cx:pt idx="7538">15.04954</cx:pt>
          <cx:pt idx="7539">3.8460000000000001</cx:pt>
          <cx:pt idx="7540">11.625359999999899</cx:pt>
          <cx:pt idx="7541">15.344340000000001</cx:pt>
          <cx:pt idx="7542">18.778979999999901</cx:pt>
          <cx:pt idx="7543">13.1242499999999</cx:pt>
          <cx:pt idx="7544">12.3333599999999</cx:pt>
          <cx:pt idx="7545">2.9614199999999999</cx:pt>
          <cx:pt idx="7546">15.04954</cx:pt>
          <cx:pt idx="7547">13.1242499999999</cx:pt>
          <cx:pt idx="7548">15.04954</cx:pt>
          <cx:pt idx="7549">18.778979999999901</cx:pt>
          <cx:pt idx="7550">17.24098</cx:pt>
          <cx:pt idx="7551">13.1242499999999</cx:pt>
          <cx:pt idx="7552">11.625359999999899</cx:pt>
          <cx:pt idx="7553">13.1242499999999</cx:pt>
          <cx:pt idx="7554">13.1242499999999</cx:pt>
          <cx:pt idx="7555">13.1242499999999</cx:pt>
          <cx:pt idx="7556">13.1242499999999</cx:pt>
          <cx:pt idx="7557">15.04954</cx:pt>
          <cx:pt idx="7558">1.6794199999999999</cx:pt>
          <cx:pt idx="7559">36.032670000000003</cx:pt>
          <cx:pt idx="7560">3.2050000000000001</cx:pt>
          <cx:pt idx="7561">11.625359999999899</cx:pt>
          <cx:pt idx="7562">13.1242499999999</cx:pt>
          <cx:pt idx="7563">13.1242499999999</cx:pt>
          <cx:pt idx="7564">15.04954</cx:pt>
          <cx:pt idx="7565">13.1242499999999</cx:pt>
          <cx:pt idx="7566">13.1242499999999</cx:pt>
          <cx:pt idx="7567">3.60242</cx:pt>
          <cx:pt idx="7568">12.839249999999899</cx:pt>
          <cx:pt idx="7569">13.1242499999999</cx:pt>
          <cx:pt idx="7570">13.1242499999999</cx:pt>
          <cx:pt idx="7571">40.86927</cx:pt>
          <cx:pt idx="7572">13.1242499999999</cx:pt>
          <cx:pt idx="7573">18.778979999999901</cx:pt>
          <cx:pt idx="7574">3.4742199999999896</cx:pt>
          <cx:pt idx="7575">13.1242499999999</cx:pt>
          <cx:pt idx="7576">13.1242499999999</cx:pt>
          <cx:pt idx="7577">3.9741999999999997</cx:pt>
          <cx:pt idx="7578">11.625359999999899</cx:pt>
          <cx:pt idx="7579">13.1242499999999</cx:pt>
          <cx:pt idx="7580">15.04954</cx:pt>
          <cx:pt idx="7581">15.04954</cx:pt>
          <cx:pt idx="7582">6.4239000000000006</cx:pt>
          <cx:pt idx="7583">17.24098</cx:pt>
          <cx:pt idx="7584">13.1242499999999</cx:pt>
          <cx:pt idx="7585">12.3333599999999</cx:pt>
          <cx:pt idx="7586">13.1242499999999</cx:pt>
          <cx:pt idx="7587">13.1242499999999</cx:pt>
          <cx:pt idx="7588">13.1242499999999</cx:pt>
          <cx:pt idx="7589">17.24098</cx:pt>
          <cx:pt idx="7590">15.04954</cx:pt>
          <cx:pt idx="7591">11.625359999999899</cx:pt>
          <cx:pt idx="7592">13.1242499999999</cx:pt>
          <cx:pt idx="7593">6.1748099999999999</cx:pt>
          <cx:pt idx="7594">13.1242499999999</cx:pt>
          <cx:pt idx="7595">15.04954</cx:pt>
          <cx:pt idx="7596">11.3421599999999</cx:pt>
          <cx:pt idx="7597">38.4509699999997</cx:pt>
          <cx:pt idx="7598">13.1242499999999</cx:pt>
          <cx:pt idx="7599">15.786539999999999</cx:pt>
          <cx:pt idx="7600">17.24098</cx:pt>
          <cx:pt idx="7601">6.8171999999999997</cx:pt>
          <cx:pt idx="7602">13.1242499999999</cx:pt>
          <cx:pt idx="7603">4.7433999999999994</cx:pt>
          <cx:pt idx="7604">13.1242499999999</cx:pt>
          <cx:pt idx="7605">13.1242499999999</cx:pt>
          <cx:pt idx="7606">15.04954</cx:pt>
          <cx:pt idx="7607">13.1242499999999</cx:pt>
          <cx:pt idx="7608">13.1242499999999</cx:pt>
          <cx:pt idx="7609">9.722999999999999</cx:pt>
          <cx:pt idx="7610">43.556270000000005</cx:pt>
          <cx:pt idx="7611">13.1242499999999</cx:pt>
          <cx:pt idx="7612">11.625359999999899</cx:pt>
          <cx:pt idx="7613">15.04954</cx:pt>
          <cx:pt idx="7614">18.778979999999901</cx:pt>
          <cx:pt idx="7615">15.491739999999901</cx:pt>
          <cx:pt idx="7616">12.3333599999999</cx:pt>
          <cx:pt idx="7617">12.839249999999899</cx:pt>
          <cx:pt idx="7618">15.19694</cx:pt>
          <cx:pt idx="7619">13.751459999999899</cx:pt>
          <cx:pt idx="7620">13.1242499999999</cx:pt>
          <cx:pt idx="7621">17.24098</cx:pt>
          <cx:pt idx="7622">15.786539999999999</cx:pt>
          <cx:pt idx="7623">13.1242499999999</cx:pt>
          <cx:pt idx="7624">6.03059999999999</cx:pt>
          <cx:pt idx="7625">13.1242499999999</cx:pt>
          <cx:pt idx="7626">13.1242499999999</cx:pt>
          <cx:pt idx="7627">13.1242499999999</cx:pt>
          <cx:pt idx="7628">13.1242499999999</cx:pt>
          <cx:pt idx="7629">15.04954</cx:pt>
          <cx:pt idx="7630">13.1242499999999</cx:pt>
          <cx:pt idx="7631">13.1242499999999</cx:pt>
          <cx:pt idx="7632">13.1242499999999</cx:pt>
          <cx:pt idx="7633">15.491739999999901</cx:pt>
          <cx:pt idx="7634">15.04954</cx:pt>
          <cx:pt idx="7635">14.0406599999999</cx:pt>
          <cx:pt idx="7636">15.04954</cx:pt>
          <cx:pt idx="7637">13.1242499999999</cx:pt>
          <cx:pt idx="7638">13.1242499999999</cx:pt>
          <cx:pt idx="7639">17.24098</cx:pt>
          <cx:pt idx="7640">15.04954</cx:pt>
          <cx:pt idx="7641">18.009979999999899</cx:pt>
          <cx:pt idx="7642">15.04954</cx:pt>
          <cx:pt idx="7643">13.1242499999999</cx:pt>
          <cx:pt idx="7644">15.04954</cx:pt>
          <cx:pt idx="7645">40.86927</cx:pt>
          <cx:pt idx="7646">16.93338</cx:pt>
          <cx:pt idx="7647">13.1242499999999</cx:pt>
          <cx:pt idx="7648">13.1242499999999</cx:pt>
          <cx:pt idx="7649">13.1242499999999</cx:pt>
          <cx:pt idx="7650">13.1242499999999</cx:pt>
          <cx:pt idx="7651">13.1242499999999</cx:pt>
          <cx:pt idx="7652">17.24098</cx:pt>
          <cx:pt idx="7653">13.1242499999999</cx:pt>
          <cx:pt idx="7654">18.778979999999901</cx:pt>
          <cx:pt idx="7655">35.495269999999898</cx:pt>
          <cx:pt idx="7656">15.04954</cx:pt>
          <cx:pt idx="7657">13.1242499999999</cx:pt>
          <cx:pt idx="7658">9.5840999999999994</cx:pt>
          <cx:pt idx="7659">13.1242499999999</cx:pt>
          <cx:pt idx="7660">13.1242499999999</cx:pt>
          <cx:pt idx="7661">13.1242499999999</cx:pt>
          <cx:pt idx="7662">11.625359999999899</cx:pt>
          <cx:pt idx="7663">4.9998000000000005</cx:pt>
          <cx:pt idx="7664">4.6151999999999997</cx:pt>
          <cx:pt idx="7665">11.625359999999899</cx:pt>
          <cx:pt idx="7666">13.1242499999999</cx:pt>
          <cx:pt idx="7667">18.778979999999901</cx:pt>
          <cx:pt idx="7668">15.786539999999999</cx:pt>
          <cx:pt idx="7669">13.1242499999999</cx:pt>
          <cx:pt idx="7670">13.1242499999999</cx:pt>
          <cx:pt idx="7671">12.839249999999899</cx:pt>
          <cx:pt idx="7672">13.606860000000001</cx:pt>
          <cx:pt idx="7673">15.04954</cx:pt>
          <cx:pt idx="7674">35.495269999999898</cx:pt>
          <cx:pt idx="7675">13.1242499999999</cx:pt>
          <cx:pt idx="7676">37.913569999999702</cx:pt>
          <cx:pt idx="7677">5.0126199999999894</cx:pt>
          <cx:pt idx="7678">18.778979999999901</cx:pt>
          <cx:pt idx="7679">13.1242499999999</cx:pt>
          <cx:pt idx="7680">8.7880000000000003</cx:pt>
          <cx:pt idx="7681">13.1242499999999</cx:pt>
          <cx:pt idx="7682">8.1120000000000001</cx:pt>
          <cx:pt idx="7683">17.24098</cx:pt>
          <cx:pt idx="7684">13.1242499999999</cx:pt>
          <cx:pt idx="7685">13.1242499999999</cx:pt>
          <cx:pt idx="7686">15.04954</cx:pt>
          <cx:pt idx="7687">13.1242499999999</cx:pt>
          <cx:pt idx="7688">15.04954</cx:pt>
          <cx:pt idx="7689">13.1242499999999</cx:pt>
          <cx:pt idx="7690">13.1242499999999</cx:pt>
          <cx:pt idx="7691">18.3175799999999</cx:pt>
          <cx:pt idx="7692">14.0406599999999</cx:pt>
          <cx:pt idx="7693">12.839249999999899</cx:pt>
          <cx:pt idx="7694">13.1242499999999</cx:pt>
          <cx:pt idx="7695">15.04954</cx:pt>
          <cx:pt idx="7696">15.04954</cx:pt>
          <cx:pt idx="7697">13.1242499999999</cx:pt>
          <cx:pt idx="7698">15.786539999999999</cx:pt>
          <cx:pt idx="7699">13.1242499999999</cx:pt>
          <cx:pt idx="7700">13.1242499999999</cx:pt>
          <cx:pt idx="7701">46.780670000000001</cx:pt>
          <cx:pt idx="7702">15.491739999999901</cx:pt>
          <cx:pt idx="7703">11.625359999999899</cx:pt>
          <cx:pt idx="7704">15.04954</cx:pt>
          <cx:pt idx="7705">13.1242499999999</cx:pt>
          <cx:pt idx="7706">15.04954</cx:pt>
          <cx:pt idx="7707">11.625359999999899</cx:pt>
          <cx:pt idx="7708">15.04954</cx:pt>
          <cx:pt idx="7709">13.1242499999999</cx:pt>
          <cx:pt idx="7710">13.1242499999999</cx:pt>
          <cx:pt idx="7711">6.03059999999999</cx:pt>
          <cx:pt idx="7712">13.1242499999999</cx:pt>
          <cx:pt idx="7713">13.1242499999999</cx:pt>
          <cx:pt idx="7714">13.1242499999999</cx:pt>
          <cx:pt idx="7715">13.1242499999999</cx:pt>
          <cx:pt idx="7716">15.04954</cx:pt>
          <cx:pt idx="7717">13.1242499999999</cx:pt>
          <cx:pt idx="7718">13.1242499999999</cx:pt>
          <cx:pt idx="7719">13.1242499999999</cx:pt>
          <cx:pt idx="7720">15.786539999999999</cx:pt>
          <cx:pt idx="7721">17.24098</cx:pt>
          <cx:pt idx="7722">13.1242499999999</cx:pt>
          <cx:pt idx="7723">14.75474</cx:pt>
          <cx:pt idx="7724">19.686400000000003</cx:pt>
          <cx:pt idx="7725">13.1242499999999</cx:pt>
          <cx:pt idx="7726">14.0406599999999</cx:pt>
          <cx:pt idx="7727">13.1242499999999</cx:pt>
          <cx:pt idx="7728">13.1242499999999</cx:pt>
          <cx:pt idx="7729">13.1242499999999</cx:pt>
          <cx:pt idx="7730">11.625359999999899</cx:pt>
          <cx:pt idx="7731">11.625359999999899</cx:pt>
          <cx:pt idx="7732">10.973099999999999</cx:pt>
          <cx:pt idx="7733">13.1242499999999</cx:pt>
          <cx:pt idx="7734">12.839249999999899</cx:pt>
          <cx:pt idx="7735">18.778979999999901</cx:pt>
          <cx:pt idx="7736">15.04954</cx:pt>
          <cx:pt idx="7737">2.7050200000000002</cx:pt>
          <cx:pt idx="7738">13.1242499999999</cx:pt>
          <cx:pt idx="7739">15.04954</cx:pt>
          <cx:pt idx="7740">13.1242499999999</cx:pt>
          <cx:pt idx="7741">13.1242499999999</cx:pt>
          <cx:pt idx="7742">15.04954</cx:pt>
          <cx:pt idx="7743">13.1242499999999</cx:pt>
          <cx:pt idx="7744">13.1242499999999</cx:pt>
          <cx:pt idx="7745">13.1242499999999</cx:pt>
          <cx:pt idx="7746">13.1242499999999</cx:pt>
          <cx:pt idx="7747">15.04954</cx:pt>
          <cx:pt idx="7748">13.1242499999999</cx:pt>
          <cx:pt idx="7749">11.328000000000001</cx:pt>
          <cx:pt idx="7750">15.04954</cx:pt>
          <cx:pt idx="7751">15.491739999999901</cx:pt>
          <cx:pt idx="7752">13.1242499999999</cx:pt>
          <cx:pt idx="7753">40.600569999999706</cx:pt>
          <cx:pt idx="7754">11.625359999999899</cx:pt>
          <cx:pt idx="7755">13.1242499999999</cx:pt>
          <cx:pt idx="7756">15.786539999999999</cx:pt>
          <cx:pt idx="7757">15.04954</cx:pt>
          <cx:pt idx="7758">10.6952999999999</cx:pt>
          <cx:pt idx="7759">13.1242499999999</cx:pt>
          <cx:pt idx="7760">15.04954</cx:pt>
          <cx:pt idx="7761">12.839249999999899</cx:pt>
          <cx:pt idx="7762">13.1242499999999</cx:pt>
          <cx:pt idx="7763">18.6098</cx:pt>
          <cx:pt idx="7764">13.1242499999999</cx:pt>
          <cx:pt idx="7765">4.8715999999999999</cx:pt>
          <cx:pt idx="7766">12.839249999999899</cx:pt>
          <cx:pt idx="7767">13.1242499999999</cx:pt>
          <cx:pt idx="7768">36.838769999999997</cx:pt>
          <cx:pt idx="7769">13.1242499999999</cx:pt>
          <cx:pt idx="7770">17.24098</cx:pt>
          <cx:pt idx="7771">12.839249999999899</cx:pt>
          <cx:pt idx="7772">13.1242499999999</cx:pt>
          <cx:pt idx="7773">38.182270000000003</cx:pt>
          <cx:pt idx="7774">3.4742199999999896</cx:pt>
          <cx:pt idx="7775">16.93338</cx:pt>
          <cx:pt idx="7776">13.1242499999999</cx:pt>
          <cx:pt idx="7777">13.1242499999999</cx:pt>
          <cx:pt idx="7778">19.378799999999998</cx:pt>
          <cx:pt idx="7779">4.9998000000000005</cx:pt>
          <cx:pt idx="7780">12.967500000000001</cx:pt>
          <cx:pt idx="7781">13.1242499999999</cx:pt>
          <cx:pt idx="7782">11.625359999999899</cx:pt>
          <cx:pt idx="7783">13.1242499999999</cx:pt>
          <cx:pt idx="7784">18.3175799999999</cx:pt>
          <cx:pt idx="7785">17.24098</cx:pt>
          <cx:pt idx="7786">46.753799999999998</cx:pt>
          <cx:pt idx="7787">13.1242499999999</cx:pt>
          <cx:pt idx="7788">12.839249999999899</cx:pt>
          <cx:pt idx="7789">15.491739999999901</cx:pt>
          <cx:pt idx="7790">13.1242499999999</cx:pt>
          <cx:pt idx="7791">13.1242499999999</cx:pt>
          <cx:pt idx="7792">11.625359999999899</cx:pt>
          <cx:pt idx="7793">13.1242499999999</cx:pt>
          <cx:pt idx="7794">13.1242499999999</cx:pt>
          <cx:pt idx="7795">13.1242499999999</cx:pt>
          <cx:pt idx="7796">13.1242499999999</cx:pt>
          <cx:pt idx="7797">13.1242499999999</cx:pt>
          <cx:pt idx="7798">13.1242499999999</cx:pt>
          <cx:pt idx="7799">13.1242499999999</cx:pt>
          <cx:pt idx="7800">17.24098</cx:pt>
          <cx:pt idx="7801">11.625359999999899</cx:pt>
          <cx:pt idx="7802">3.4613999999999998</cx:pt>
          <cx:pt idx="7803">6.03059999999999</cx:pt>
          <cx:pt idx="7804">12.3333599999999</cx:pt>
          <cx:pt idx="7805">13.1242499999999</cx:pt>
          <cx:pt idx="7806">13.1242499999999</cx:pt>
          <cx:pt idx="7807">15.04954</cx:pt>
          <cx:pt idx="7808">17.24098</cx:pt>
          <cx:pt idx="7809">17.994599999999998</cx:pt>
          <cx:pt idx="7810">17.24098</cx:pt>
          <cx:pt idx="7811">13.751459999999899</cx:pt>
          <cx:pt idx="7812">15.04954</cx:pt>
          <cx:pt idx="7813">13.1242499999999</cx:pt>
          <cx:pt idx="7814">17.24098</cx:pt>
          <cx:pt idx="7815">11.3421599999999</cx:pt>
          <cx:pt idx="7816">11.625359999999899</cx:pt>
          <cx:pt idx="7817">6.1616999999999997</cx:pt>
          <cx:pt idx="7818">69.351469999999708</cx:pt>
          <cx:pt idx="7819">15.04954</cx:pt>
          <cx:pt idx="7820">2.44862</cx:pt>
          <cx:pt idx="7821">13.1242499999999</cx:pt>
          <cx:pt idx="7822">4.3716200000000001</cx:pt>
          <cx:pt idx="7823">13.1242499999999</cx:pt>
          <cx:pt idx="7824">15.04954</cx:pt>
          <cx:pt idx="7825">12.177599999999899</cx:pt>
          <cx:pt idx="7826">13.1242499999999</cx:pt>
          <cx:pt idx="7827">15.786539999999999</cx:pt>
          <cx:pt idx="7828">15.04954</cx:pt>
          <cx:pt idx="7829">13.606860000000001</cx:pt>
          <cx:pt idx="7830">13.1242499999999</cx:pt>
          <cx:pt idx="7831">13.1242499999999</cx:pt>
          <cx:pt idx="7832">5.7815099999999902</cx:pt>
          <cx:pt idx="7833">13.1242499999999</cx:pt>
          <cx:pt idx="7834">13.1242499999999</cx:pt>
          <cx:pt idx="7835">13.1242499999999</cx:pt>
          <cx:pt idx="7836">13.1242499999999</cx:pt>
          <cx:pt idx="7837">19.547980000000003</cx:pt>
          <cx:pt idx="7838">11.625359999999899</cx:pt>
          <cx:pt idx="7839">13.1242499999999</cx:pt>
          <cx:pt idx="7840">13.1242499999999</cx:pt>
          <cx:pt idx="7841">15.491739999999901</cx:pt>
          <cx:pt idx="7842">6.8171999999999997</cx:pt>
          <cx:pt idx="7843">15.491739999999901</cx:pt>
          <cx:pt idx="7844">15.04954</cx:pt>
          <cx:pt idx="7845">11.625359999999899</cx:pt>
          <cx:pt idx="7846">13.1242499999999</cx:pt>
          <cx:pt idx="7847">13.1242499999999</cx:pt>
          <cx:pt idx="7848">13.1242499999999</cx:pt>
          <cx:pt idx="7849">9.6118800000000206</cx:pt>
          <cx:pt idx="7850">15.04954</cx:pt>
          <cx:pt idx="7851">15.04954</cx:pt>
          <cx:pt idx="7852">13.1242499999999</cx:pt>
          <cx:pt idx="7853">15.04954</cx:pt>
          <cx:pt idx="7854">19.547980000000003</cx:pt>
          <cx:pt idx="7855">15.04954</cx:pt>
          <cx:pt idx="7856">13.1242499999999</cx:pt>
          <cx:pt idx="7857">11.625359999999899</cx:pt>
          <cx:pt idx="7858">6.5549999999999997</cx:pt>
          <cx:pt idx="7859">15.786539999999999</cx:pt>
          <cx:pt idx="7860">17.24098</cx:pt>
          <cx:pt idx="7861">13.1242499999999</cx:pt>
          <cx:pt idx="7862">17.24098</cx:pt>
          <cx:pt idx="7863">15.04954</cx:pt>
          <cx:pt idx="7864">13.1242499999999</cx:pt>
          <cx:pt idx="7865">13.1242499999999</cx:pt>
          <cx:pt idx="7866">15.04954</cx:pt>
          <cx:pt idx="7867">6.4239000000000006</cx:pt>
          <cx:pt idx="7868">13.1242499999999</cx:pt>
          <cx:pt idx="7869">13.1242499999999</cx:pt>
          <cx:pt idx="7870">1.42302</cx:pt>
          <cx:pt idx="7871">12.839249999999899</cx:pt>
          <cx:pt idx="7872">13.1242499999999</cx:pt>
          <cx:pt idx="7873">13.1242499999999</cx:pt>
          <cx:pt idx="7874">43.287569999999697</cx:pt>
          <cx:pt idx="7875">15.04954</cx:pt>
          <cx:pt idx="7876">39.257069999999999</cx:pt>
          <cx:pt idx="7877">13.1242499999999</cx:pt>
          <cx:pt idx="7878">11.625359999999899</cx:pt>
          <cx:pt idx="7879">11.625359999999899</cx:pt>
          <cx:pt idx="7880">11.625359999999899</cx:pt>
          <cx:pt idx="7881">13.1242499999999</cx:pt>
          <cx:pt idx="7882">17.24098</cx:pt>
          <cx:pt idx="7883">13.1242499999999</cx:pt>
          <cx:pt idx="7884">15.04954</cx:pt>
          <cx:pt idx="7885">14.75474</cx:pt>
          <cx:pt idx="7886">15.786539999999999</cx:pt>
          <cx:pt idx="7887">13.1242499999999</cx:pt>
          <cx:pt idx="7888">13.1242499999999</cx:pt>
          <cx:pt idx="7889">46.565709999999697</cx:pt>
          <cx:pt idx="7890">13.1242499999999</cx:pt>
          <cx:pt idx="7891">17.24098</cx:pt>
          <cx:pt idx="7892">13.1242499999999</cx:pt>
          <cx:pt idx="7893">18.778979999999901</cx:pt>
          <cx:pt idx="7894">15.04954</cx:pt>
          <cx:pt idx="7895">11.625359999999899</cx:pt>
          <cx:pt idx="7896">15.04954</cx:pt>
          <cx:pt idx="7897">13.1242499999999</cx:pt>
          <cx:pt idx="7898">2.5639999999999898</cx:pt>
          <cx:pt idx="7899">15.04954</cx:pt>
          <cx:pt idx="7900">15.19694</cx:pt>
          <cx:pt idx="7901">51.617269999999905</cx:pt>
          <cx:pt idx="7902">13.1242499999999</cx:pt>
          <cx:pt idx="7903">14.0406599999999</cx:pt>
          <cx:pt idx="7904">13.1242499999999</cx:pt>
          <cx:pt idx="7905">15.04954</cx:pt>
          <cx:pt idx="7906">10.7091899999999</cx:pt>
          <cx:pt idx="7907">13.1242499999999</cx:pt>
          <cx:pt idx="7908">13.1242499999999</cx:pt>
          <cx:pt idx="7909">13.1242499999999</cx:pt>
          <cx:pt idx="7910">11.625359999999899</cx:pt>
          <cx:pt idx="7911">40.600569999999706</cx:pt>
          <cx:pt idx="7912">7.3143200000000004</cx:pt>
          <cx:pt idx="7913">13.1242499999999</cx:pt>
          <cx:pt idx="7914">13.1242499999999</cx:pt>
          <cx:pt idx="7915">17.24098</cx:pt>
          <cx:pt idx="7916">13.1242499999999</cx:pt>
          <cx:pt idx="7917">15.04954</cx:pt>
          <cx:pt idx="7918">17.702379999999902</cx:pt>
          <cx:pt idx="7919">11.625359999999899</cx:pt>
          <cx:pt idx="7920">35.495269999999898</cx:pt>
          <cx:pt idx="7921">15.04954</cx:pt>
          <cx:pt idx="7922">13.1242499999999</cx:pt>
          <cx:pt idx="7923">13.1242499999999</cx:pt>
          <cx:pt idx="7924">15.04954</cx:pt>
          <cx:pt idx="7925">13.1242499999999</cx:pt>
          <cx:pt idx="7926">3.8460000000000001</cx:pt>
          <cx:pt idx="7927">4.4998199999999899</cx:pt>
          <cx:pt idx="7928">6.03059999999999</cx:pt>
          <cx:pt idx="7929">13.1242499999999</cx:pt>
          <cx:pt idx="7930">13.1242499999999</cx:pt>
          <cx:pt idx="7931">18.009979999999899</cx:pt>
          <cx:pt idx="7932">13.1242499999999</cx:pt>
          <cx:pt idx="7933">13.1242499999999</cx:pt>
          <cx:pt idx="7934">37.913569999999702</cx:pt>
          <cx:pt idx="7935">13.1242499999999</cx:pt>
          <cx:pt idx="7936">13.1242499999999</cx:pt>
          <cx:pt idx="7937">16.93338</cx:pt>
          <cx:pt idx="7938">13.1242499999999</cx:pt>
          <cx:pt idx="7939">13.1242499999999</cx:pt>
          <cx:pt idx="7940">13.1242499999999</cx:pt>
          <cx:pt idx="7941">4.1152199999999999</cx:pt>
          <cx:pt idx="7942">13.1242499999999</cx:pt>
          <cx:pt idx="7943">15.04954</cx:pt>
          <cx:pt idx="7944">6.8171999999999997</cx:pt>
          <cx:pt idx="7945">3.4613999999999998</cx:pt>
          <cx:pt idx="7946">13.1242499999999</cx:pt>
          <cx:pt idx="7947">9.3201899999999789</cx:pt>
          <cx:pt idx="7948">15.04954</cx:pt>
          <cx:pt idx="7949">17.24098</cx:pt>
          <cx:pt idx="7950">11.625359999999899</cx:pt>
          <cx:pt idx="7951">15.04954</cx:pt>
          <cx:pt idx="7952">13.1242499999999</cx:pt>
          <cx:pt idx="7953">15.786539999999999</cx:pt>
          <cx:pt idx="7954">15.04954</cx:pt>
          <cx:pt idx="7955">3.08962</cx:pt>
          <cx:pt idx="7956">1.42302</cx:pt>
          <cx:pt idx="7957">15.04954</cx:pt>
          <cx:pt idx="7958">13.1242499999999</cx:pt>
          <cx:pt idx="7959">13.1242499999999</cx:pt>
          <cx:pt idx="7960">13.1242499999999</cx:pt>
          <cx:pt idx="7961">11.483759999999901</cx:pt>
          <cx:pt idx="7962">13.1242499999999</cx:pt>
          <cx:pt idx="7963">11.625359999999899</cx:pt>
          <cx:pt idx="7964">8.260720000000001</cx:pt>
          <cx:pt idx="7965">13.1242499999999</cx:pt>
          <cx:pt idx="7966">9.0583999999999989</cx:pt>
          <cx:pt idx="7967">13.1242499999999</cx:pt>
          <cx:pt idx="7968">15.04954</cx:pt>
          <cx:pt idx="7969">2.9614199999999999</cx:pt>
          <cx:pt idx="7970">13.1242499999999</cx:pt>
          <cx:pt idx="7971">13.1242499999999</cx:pt>
          <cx:pt idx="7972">35.495269999999898</cx:pt>
          <cx:pt idx="7973">13.1242499999999</cx:pt>
          <cx:pt idx="7974">15.04954</cx:pt>
          <cx:pt idx="7975">13.1242499999999</cx:pt>
          <cx:pt idx="7976">17.24098</cx:pt>
          <cx:pt idx="7977">15.04954</cx:pt>
          <cx:pt idx="7978">11.625359999999899</cx:pt>
          <cx:pt idx="7979">13.1242499999999</cx:pt>
          <cx:pt idx="7980">17.24098</cx:pt>
          <cx:pt idx="7981">13.1242499999999</cx:pt>
          <cx:pt idx="7982">17.24098</cx:pt>
          <cx:pt idx="7983">13.1242499999999</cx:pt>
          <cx:pt idx="7984">18.009979999999899</cx:pt>
          <cx:pt idx="7985">13.1242499999999</cx:pt>
          <cx:pt idx="7986">15.04954</cx:pt>
          <cx:pt idx="7987">11.625359999999899</cx:pt>
          <cx:pt idx="7988">13.1242499999999</cx:pt>
          <cx:pt idx="7989">13.1242499999999</cx:pt>
          <cx:pt idx="7990">13.1242499999999</cx:pt>
          <cx:pt idx="7991">10.973099999999999</cx:pt>
          <cx:pt idx="7992">17.24098</cx:pt>
          <cx:pt idx="7993">13.1242499999999</cx:pt>
          <cx:pt idx="7994">13.1242499999999</cx:pt>
          <cx:pt idx="7995">13.1242499999999</cx:pt>
          <cx:pt idx="7996">11.625359999999899</cx:pt>
          <cx:pt idx="7997">13.1242499999999</cx:pt>
          <cx:pt idx="7998">13.1242499999999</cx:pt>
          <cx:pt idx="7999">11.625359999999899</cx:pt>
          <cx:pt idx="8000">13.1242499999999</cx:pt>
          <cx:pt idx="8001">6.5549999999999997</cx:pt>
          <cx:pt idx="8002">15.04954</cx:pt>
          <cx:pt idx="8003">11.3421599999999</cx:pt>
          <cx:pt idx="8004">13.1242499999999</cx:pt>
          <cx:pt idx="8005">13.1242499999999</cx:pt>
          <cx:pt idx="8006">15.04954</cx:pt>
          <cx:pt idx="8007">13.1242499999999</cx:pt>
          <cx:pt idx="8008">13.1242499999999</cx:pt>
          <cx:pt idx="8009">13.1242499999999</cx:pt>
          <cx:pt idx="8010">14.75474</cx:pt>
          <cx:pt idx="8011">13.1242499999999</cx:pt>
          <cx:pt idx="8012">9.7368899999999794</cx:pt>
          <cx:pt idx="8013">7.9767999999999892</cx:pt>
          <cx:pt idx="8014">14.75474</cx:pt>
          <cx:pt idx="8015">3.8460000000000001</cx:pt>
          <cx:pt idx="8016">15.344340000000001</cx:pt>
          <cx:pt idx="8017">15.04954</cx:pt>
          <cx:pt idx="8018">13.1242499999999</cx:pt>
          <cx:pt idx="8019">13.1242499999999</cx:pt>
          <cx:pt idx="8020">13.1242499999999</cx:pt>
          <cx:pt idx="8021">10.848089999999901</cx:pt>
          <cx:pt idx="8022">13.1242499999999</cx:pt>
          <cx:pt idx="8023">13.1242499999999</cx:pt>
          <cx:pt idx="8024">3.8460000000000001</cx:pt>
          <cx:pt idx="8025">13.1242499999999</cx:pt>
          <cx:pt idx="8026">15.04954</cx:pt>
          <cx:pt idx="8027">13.1242499999999</cx:pt>
          <cx:pt idx="8028">15.04954</cx:pt>
          <cx:pt idx="8029">13.1242499999999</cx:pt>
          <cx:pt idx="8030">13.1242499999999</cx:pt>
          <cx:pt idx="8031">40.600569999999706</cx:pt>
          <cx:pt idx="8032">13.1242499999999</cx:pt>
          <cx:pt idx="8033">15.04954</cx:pt>
          <cx:pt idx="8034">13.1242499999999</cx:pt>
          <cx:pt idx="8035">13.1242499999999</cx:pt>
          <cx:pt idx="8036">13.1242499999999</cx:pt>
          <cx:pt idx="8037">10.7091899999999</cx:pt>
          <cx:pt idx="8038">13.1242499999999</cx:pt>
          <cx:pt idx="8039">15.04954</cx:pt>
          <cx:pt idx="8040">13.1242499999999</cx:pt>
          <cx:pt idx="8041">13.1242499999999</cx:pt>
          <cx:pt idx="8042">13.1242499999999</cx:pt>
          <cx:pt idx="8043">13.1242499999999</cx:pt>
          <cx:pt idx="8044">15.04954</cx:pt>
          <cx:pt idx="8045">11.625359999999899</cx:pt>
          <cx:pt idx="8046">13.1242499999999</cx:pt>
          <cx:pt idx="8047">11.625359999999899</cx:pt>
          <cx:pt idx="8048">11.625359999999899</cx:pt>
          <cx:pt idx="8049">12.3333599999999</cx:pt>
          <cx:pt idx="8050">13.1242499999999</cx:pt>
          <cx:pt idx="8051">13.1242499999999</cx:pt>
          <cx:pt idx="8052">13.1242499999999</cx:pt>
          <cx:pt idx="8053">13.1242499999999</cx:pt>
          <cx:pt idx="8054">4.3588000000000005</cx:pt>
          <cx:pt idx="8055">12.839249999999899</cx:pt>
          <cx:pt idx="8056">13.1242499999999</cx:pt>
          <cx:pt idx="8057">40.86927</cx:pt>
          <cx:pt idx="8058">15.04954</cx:pt>
          <cx:pt idx="8059">11.3421599999999</cx:pt>
          <cx:pt idx="8060">5.2690199999999905</cx:pt>
          <cx:pt idx="8061">13.1242499999999</cx:pt>
          <cx:pt idx="8062">13.1242499999999</cx:pt>
          <cx:pt idx="8063">11.625359999999899</cx:pt>
          <cx:pt idx="8064">13.1242499999999</cx:pt>
          <cx:pt idx="8065">16.93338</cx:pt>
          <cx:pt idx="8066">13.1242499999999</cx:pt>
          <cx:pt idx="8067">11.625359999999899</cx:pt>
          <cx:pt idx="8068">11.625359999999899</cx:pt>
          <cx:pt idx="8069">15.04954</cx:pt>
          <cx:pt idx="8070">13.1242499999999</cx:pt>
          <cx:pt idx="8071">44.3623699999997</cx:pt>
          <cx:pt idx="8072">15.04954</cx:pt>
          <cx:pt idx="8073">15.04954</cx:pt>
          <cx:pt idx="8074">15.04954</cx:pt>
          <cx:pt idx="8075">15.04954</cx:pt>
          <cx:pt idx="8076">13.1242499999999</cx:pt>
          <cx:pt idx="8077">13.1242499999999</cx:pt>
          <cx:pt idx="8078">13.1242499999999</cx:pt>
          <cx:pt idx="8079">4.4870000000000001</cx:pt>
          <cx:pt idx="8080">3.9870200000000002</cx:pt>
          <cx:pt idx="8081">13.1242499999999</cx:pt>
          <cx:pt idx="8082">15.344340000000001</cx:pt>
          <cx:pt idx="8083">13.1242499999999</cx:pt>
          <cx:pt idx="8084">17.24098</cx:pt>
          <cx:pt idx="8085">13.1242499999999</cx:pt>
          <cx:pt idx="8086">15.04954</cx:pt>
          <cx:pt idx="8087">13.1242499999999</cx:pt>
          <cx:pt idx="8088">13.1242499999999</cx:pt>
          <cx:pt idx="8089">13.1242499999999</cx:pt>
          <cx:pt idx="8090">13.1242499999999</cx:pt>
          <cx:pt idx="8091">15.04954</cx:pt>
          <cx:pt idx="8092">56.722569999999692</cx:pt>
          <cx:pt idx="8093">13.1242499999999</cx:pt>
          <cx:pt idx="8094">13.1242499999999</cx:pt>
          <cx:pt idx="8095">11.625359999999899</cx:pt>
          <cx:pt idx="8096">17.24098</cx:pt>
          <cx:pt idx="8097">13.1242499999999</cx:pt>
          <cx:pt idx="8098">13.1242499999999</cx:pt>
          <cx:pt idx="8099">13.1242499999999</cx:pt>
          <cx:pt idx="8100">13.1242499999999</cx:pt>
          <cx:pt idx="8101">40.86927</cx:pt>
          <cx:pt idx="8102">3.08962</cx:pt>
          <cx:pt idx="8103">15.04954</cx:pt>
          <cx:pt idx="8104">8.260720000000001</cx:pt>
          <cx:pt idx="8105">12.825000000000001</cx:pt>
          <cx:pt idx="8106">13.1242499999999</cx:pt>
          <cx:pt idx="8107">11.625359999999899</cx:pt>
          <cx:pt idx="8108">13.1242499999999</cx:pt>
          <cx:pt idx="8109">15.04954</cx:pt>
          <cx:pt idx="8110">11.625359999999899</cx:pt>
          <cx:pt idx="8111">11.625359999999899</cx:pt>
          <cx:pt idx="8112">11.625359999999899</cx:pt>
          <cx:pt idx="8113">4.1152199999999999</cx:pt>
          <cx:pt idx="8114">43.556270000000005</cx:pt>
          <cx:pt idx="8115">11.625359999999899</cx:pt>
          <cx:pt idx="8116">15.04954</cx:pt>
          <cx:pt idx="8117">13.1242499999999</cx:pt>
          <cx:pt idx="8118">13.1242499999999</cx:pt>
          <cx:pt idx="8119">12.3333599999999</cx:pt>
          <cx:pt idx="8120">15.04954</cx:pt>
          <cx:pt idx="8121">43.287569999999697</cx:pt>
          <cx:pt idx="8122">13.1242499999999</cx:pt>
          <cx:pt idx="8123">13.1242499999999</cx:pt>
          <cx:pt idx="8124">13.1242499999999</cx:pt>
          <cx:pt idx="8125">2.7050200000000002</cx:pt>
          <cx:pt idx="8126">13.1242499999999</cx:pt>
          <cx:pt idx="8127">13.1242499999999</cx:pt>
          <cx:pt idx="8128">13.1242499999999</cx:pt>
          <cx:pt idx="8129">15.04954</cx:pt>
          <cx:pt idx="8130">15.04954</cx:pt>
          <cx:pt idx="8131">13.1242499999999</cx:pt>
          <cx:pt idx="8132">5.89949999999999</cx:pt>
          <cx:pt idx="8133">13.1242499999999</cx:pt>
          <cx:pt idx="8134">13.751459999999899</cx:pt>
          <cx:pt idx="8135">13.1242499999999</cx:pt>
          <cx:pt idx="8136">13.1242499999999</cx:pt>
          <cx:pt idx="8137">14.75474</cx:pt>
          <cx:pt idx="8138">13.1242499999999</cx:pt>
          <cx:pt idx="8139">13.1242499999999</cx:pt>
          <cx:pt idx="8140">13.881599999999999</cx:pt>
          <cx:pt idx="8141">19.240380000000002</cx:pt>
          <cx:pt idx="8142">9.722999999999999</cx:pt>
          <cx:pt idx="8143">15.786539999999999</cx:pt>
          <cx:pt idx="8144">13.1242499999999</cx:pt>
          <cx:pt idx="8145">13.1242499999999</cx:pt>
          <cx:pt idx="8146">11.625359999999899</cx:pt>
          <cx:pt idx="8147">11.625359999999899</cx:pt>
          <cx:pt idx="8148">38.988370000000003</cx:pt>
          <cx:pt idx="8149">13.1242499999999</cx:pt>
          <cx:pt idx="8150">10.431389999999901</cx:pt>
          <cx:pt idx="8151">13.1242499999999</cx:pt>
          <cx:pt idx="8152">15.19694</cx:pt>
          <cx:pt idx="8153">13.1242499999999</cx:pt>
          <cx:pt idx="8154">13.1242499999999</cx:pt>
          <cx:pt idx="8155">14.75474</cx:pt>
          <cx:pt idx="8156">13.1242499999999</cx:pt>
          <cx:pt idx="8157">13.1242499999999</cx:pt>
          <cx:pt idx="8158">6.1748099999999999</cx:pt>
          <cx:pt idx="8159">13.1242499999999</cx:pt>
          <cx:pt idx="8160">13.1242499999999</cx:pt>
          <cx:pt idx="8161">15.04954</cx:pt>
          <cx:pt idx="8162">13.1242499999999</cx:pt>
          <cx:pt idx="8163">15.04954</cx:pt>
          <cx:pt idx="8164">14.75474</cx:pt>
          <cx:pt idx="8165">13.1242499999999</cx:pt>
          <cx:pt idx="8166">13.1242499999999</cx:pt>
          <cx:pt idx="8167">4.3716200000000001</cx:pt>
          <cx:pt idx="8168">12.839249999999899</cx:pt>
          <cx:pt idx="8169">13.1242499999999</cx:pt>
          <cx:pt idx="8170">10.431389999999901</cx:pt>
          <cx:pt idx="8171">13.1242499999999</cx:pt>
          <cx:pt idx="8172">11.781120000000001</cx:pt>
          <cx:pt idx="8173">13.1242499999999</cx:pt>
          <cx:pt idx="8174">17.24098</cx:pt>
          <cx:pt idx="8175">13.1242499999999</cx:pt>
          <cx:pt idx="8176">10.973099999999999</cx:pt>
          <cx:pt idx="8177">13.1242499999999</cx:pt>
          <cx:pt idx="8178">35.495269999999898</cx:pt>
          <cx:pt idx="8179">15.04954</cx:pt>
          <cx:pt idx="8180">11.625359999999899</cx:pt>
          <cx:pt idx="8181">13.1242499999999</cx:pt>
          <cx:pt idx="8182">13.1242499999999</cx:pt>
          <cx:pt idx="8183">18.778979999999901</cx:pt>
          <cx:pt idx="8184">15.04954</cx:pt>
          <cx:pt idx="8185">6.5549999999999997</cx:pt>
          <cx:pt idx="8186">11.625359999999899</cx:pt>
          <cx:pt idx="8187">15.04954</cx:pt>
          <cx:pt idx="8188">12.3333599999999</cx:pt>
          <cx:pt idx="8189">10.431389999999901</cx:pt>
          <cx:pt idx="8190">13.1242499999999</cx:pt>
          <cx:pt idx="8191">13.1242499999999</cx:pt>
          <cx:pt idx="8192">17.24098</cx:pt>
          <cx:pt idx="8193">7.8551199999999906</cx:pt>
          <cx:pt idx="8194">11.625359999999899</cx:pt>
          <cx:pt idx="8195">9.3201899999999789</cx:pt>
          <cx:pt idx="8196">35.495269999999898</cx:pt>
          <cx:pt idx="8197">15.04954</cx:pt>
          <cx:pt idx="8198">5.5061999999999998</cx:pt>
          <cx:pt idx="8199">2.5768200000000001</cx:pt>
          <cx:pt idx="8200">13.1242499999999</cx:pt>
          <cx:pt idx="8201">15.04954</cx:pt>
          <cx:pt idx="8202">11.625359999999899</cx:pt>
          <cx:pt idx="8203">13.1242499999999</cx:pt>
          <cx:pt idx="8204">36.838769999999997</cx:pt>
          <cx:pt idx="8205">15.04954</cx:pt>
          <cx:pt idx="8206">13.1242499999999</cx:pt>
          <cx:pt idx="8207">18.778979999999901</cx:pt>
          <cx:pt idx="8208">7.3008000000000006</cx:pt>
          <cx:pt idx="8209">49.1721</cx:pt>
          <cx:pt idx="8210">11.625359999999899</cx:pt>
          <cx:pt idx="8211">37.913569999999702</cx:pt>
          <cx:pt idx="8212">11.625359999999899</cx:pt>
          <cx:pt idx="8213">11.625359999999899</cx:pt>
          <cx:pt idx="8214">11.625359999999899</cx:pt>
          <cx:pt idx="8215">13.1242499999999</cx:pt>
          <cx:pt idx="8216">3.4742199999999896</cx:pt>
          <cx:pt idx="8217">15.491739999999901</cx:pt>
          <cx:pt idx="8218">13.1242499999999</cx:pt>
          <cx:pt idx="8219">11.328000000000001</cx:pt>
          <cx:pt idx="8220">12.839249999999899</cx:pt>
          <cx:pt idx="8221">18.778979999999901</cx:pt>
          <cx:pt idx="8222">13.1242499999999</cx:pt>
          <cx:pt idx="8223">13.1242499999999</cx:pt>
          <cx:pt idx="8224">11.3421599999999</cx:pt>
          <cx:pt idx="8225">13.1242499999999</cx:pt>
          <cx:pt idx="8226">35.495269999999898</cx:pt>
          <cx:pt idx="8227">13.1242499999999</cx:pt>
          <cx:pt idx="8228">5.0126199999999894</cx:pt>
          <cx:pt idx="8229">15.04954</cx:pt>
          <cx:pt idx="8230">13.1242499999999</cx:pt>
          <cx:pt idx="8231">13.1242499999999</cx:pt>
          <cx:pt idx="8232">13.1242499999999</cx:pt>
          <cx:pt idx="8233">13.1242499999999</cx:pt>
          <cx:pt idx="8234">5.9126099999999893</cx:pt>
          <cx:pt idx="8235">15.344340000000001</cx:pt>
          <cx:pt idx="8236">11.625359999999899</cx:pt>
          <cx:pt idx="8237">13.1242499999999</cx:pt>
          <cx:pt idx="8238">15.04954</cx:pt>
          <cx:pt idx="8239">13.736999999999998</cx:pt>
          <cx:pt idx="8240">35.495269999999898</cx:pt>
          <cx:pt idx="8241">3.49986000000002</cx:pt>
          <cx:pt idx="8242">4.1152199999999999</cx:pt>
          <cx:pt idx="8243">13.1242499999999</cx:pt>
          <cx:pt idx="8244">12.839249999999899</cx:pt>
          <cx:pt idx="8245">14.75474</cx:pt>
          <cx:pt idx="8246">18.009979999999899</cx:pt>
          <cx:pt idx="8247">15.04954</cx:pt>
          <cx:pt idx="8248">7.7063999999999995</cx:pt>
          <cx:pt idx="8249">13.1242499999999</cx:pt>
          <cx:pt idx="8250">17.24098</cx:pt>
          <cx:pt idx="8251">13.1242499999999</cx:pt>
          <cx:pt idx="8252">5.2561999999999998</cx:pt>
          <cx:pt idx="8253">10.139699999999999</cx:pt>
          <cx:pt idx="8254">15.04954</cx:pt>
          <cx:pt idx="8255">13.1242499999999</cx:pt>
          <cx:pt idx="8256">11.625359999999899</cx:pt>
          <cx:pt idx="8257">13.1242499999999</cx:pt>
          <cx:pt idx="8258">40.86927</cx:pt>
          <cx:pt idx="8259">10.5564</cx:pt>
          <cx:pt idx="8260">12.460799999999999</cx:pt>
          <cx:pt idx="8261">13.1242499999999</cx:pt>
          <cx:pt idx="8262">6.1748099999999999</cx:pt>
          <cx:pt idx="8263">15.04954</cx:pt>
          <cx:pt idx="8264">15.04954</cx:pt>
          <cx:pt idx="8265">15.04954</cx:pt>
          <cx:pt idx="8266">18.778979999999901</cx:pt>
          <cx:pt idx="8267">13.1242499999999</cx:pt>
          <cx:pt idx="8268">15.04954</cx:pt>
          <cx:pt idx="8269">13.1242499999999</cx:pt>
          <cx:pt idx="8270">40.86927</cx:pt>
          <cx:pt idx="8271">15.04954</cx:pt>
          <cx:pt idx="8272">13.1242499999999</cx:pt>
          <cx:pt idx="8273">7.8415999999999997</cx:pt>
          <cx:pt idx="8274">11.328000000000001</cx:pt>
          <cx:pt idx="8275">15.04954</cx:pt>
          <cx:pt idx="8276">13.1242499999999</cx:pt>
          <cx:pt idx="8277">6.5549999999999997</cx:pt>
          <cx:pt idx="8278">7.3008000000000006</cx:pt>
          <cx:pt idx="8279">13.1242499999999</cx:pt>
          <cx:pt idx="8280">15.04954</cx:pt>
          <cx:pt idx="8281">15.04954</cx:pt>
          <cx:pt idx="8282">11.3421599999999</cx:pt>
          <cx:pt idx="8283">12.3333599999999</cx:pt>
          <cx:pt idx="8284">13.1242499999999</cx:pt>
          <cx:pt idx="8285">15.04954</cx:pt>
          <cx:pt idx="8286">13.1242499999999</cx:pt>
          <cx:pt idx="8287">37.913569999999702</cx:pt>
          <cx:pt idx="8288">16.764200000000002</cx:pt>
          <cx:pt idx="8289">17.24098</cx:pt>
          <cx:pt idx="8290">11.625359999999899</cx:pt>
          <cx:pt idx="8291">11.625359999999899</cx:pt>
          <cx:pt idx="8292">13.1242499999999</cx:pt>
          <cx:pt idx="8293">17.24098</cx:pt>
          <cx:pt idx="8294">5.89949999999999</cx:pt>
          <cx:pt idx="8295">13.1242499999999</cx:pt>
          <cx:pt idx="8296">15.04954</cx:pt>
          <cx:pt idx="8297">13.1242499999999</cx:pt>
          <cx:pt idx="8298">13.1242499999999</cx:pt>
          <cx:pt idx="8299">13.1242499999999</cx:pt>
          <cx:pt idx="8300">13.1242499999999</cx:pt>
          <cx:pt idx="8301">13.1242499999999</cx:pt>
          <cx:pt idx="8302">15.04954</cx:pt>
          <cx:pt idx="8303">48.661569999999699</cx:pt>
          <cx:pt idx="8304">13.1242499999999</cx:pt>
          <cx:pt idx="8305">10.7091899999999</cx:pt>
          <cx:pt idx="8306">13.1242499999999</cx:pt>
          <cx:pt idx="8307">18.009979999999899</cx:pt>
          <cx:pt idx="8308">4.1023999999999994</cx:pt>
          <cx:pt idx="8309">13.1242499999999</cx:pt>
          <cx:pt idx="8310">15.04954</cx:pt>
          <cx:pt idx="8311">15.04954</cx:pt>
          <cx:pt idx="8312">13.1242499999999</cx:pt>
          <cx:pt idx="8313">13.1242499999999</cx:pt>
          <cx:pt idx="8314">11.625359999999899</cx:pt>
          <cx:pt idx="8315">9.0583999999999989</cx:pt>
          <cx:pt idx="8316">13.1242499999999</cx:pt>
          <cx:pt idx="8317">13.1242499999999</cx:pt>
          <cx:pt idx="8318">7.9767999999999892</cx:pt>
          <cx:pt idx="8319">11.9085599999999</cx:pt>
          <cx:pt idx="8320">3.4613999999999998</cx:pt>
          <cx:pt idx="8321">15.04954</cx:pt>
          <cx:pt idx="8322">11.625359999999899</cx:pt>
          <cx:pt idx="8323">3.08962</cx:pt>
          <cx:pt idx="8324">13.1242499999999</cx:pt>
          <cx:pt idx="8325">13.1242499999999</cx:pt>
          <cx:pt idx="8326">13.1242499999999</cx:pt>
          <cx:pt idx="8327">13.1242499999999</cx:pt>
          <cx:pt idx="8328">15.04954</cx:pt>
          <cx:pt idx="8329">15.04954</cx:pt>
          <cx:pt idx="8330">15.04954</cx:pt>
          <cx:pt idx="8331">15.04954</cx:pt>
          <cx:pt idx="8332">11.625359999999899</cx:pt>
          <cx:pt idx="8333">15.786539999999999</cx:pt>
          <cx:pt idx="8334">11.625359999999899</cx:pt>
          <cx:pt idx="8335">13.1242499999999</cx:pt>
          <cx:pt idx="8336">15.04954</cx:pt>
          <cx:pt idx="8337">7.4359999999999999</cx:pt>
          <cx:pt idx="8338">8.9232000000000014</cx:pt>
          <cx:pt idx="8339">15.04954</cx:pt>
          <cx:pt idx="8340">13.1242499999999</cx:pt>
          <cx:pt idx="8341">13.1242499999999</cx:pt>
          <cx:pt idx="8342">3.2434600000000202</cx:pt>
          <cx:pt idx="8343">7.7199199999999992</cx:pt>
          <cx:pt idx="8344">2.9614199999999999</cx:pt>
          <cx:pt idx="8345">13.1242499999999</cx:pt>
          <cx:pt idx="8346">7.4359999999999999</cx:pt>
          <cx:pt idx="8347">12.839249999999899</cx:pt>
          <cx:pt idx="8348">18.778979999999901</cx:pt>
          <cx:pt idx="8349">2.1922199999999998</cx:pt>
          <cx:pt idx="8350">13.1242499999999</cx:pt>
          <cx:pt idx="8351">13.1242499999999</cx:pt>
          <cx:pt idx="8352">13.1242499999999</cx:pt>
          <cx:pt idx="8353">1.42302</cx:pt>
          <cx:pt idx="8354">13.1242499999999</cx:pt>
          <cx:pt idx="8355">6.1748099999999999</cx:pt>
          <cx:pt idx="8356">15.04954</cx:pt>
          <cx:pt idx="8357">14.0261999999999</cx:pt>
          <cx:pt idx="8358">13.1242499999999</cx:pt>
          <cx:pt idx="8359">36.301369999999999</cx:pt>
          <cx:pt idx="8360">13.1242499999999</cx:pt>
          <cx:pt idx="8361">13.1242499999999</cx:pt>
          <cx:pt idx="8362">13.1242499999999</cx:pt>
          <cx:pt idx="8363">15.786539999999999</cx:pt>
          <cx:pt idx="8364">13.1242499999999</cx:pt>
          <cx:pt idx="8365">13.1242499999999</cx:pt>
          <cx:pt idx="8366">13.1242499999999</cx:pt>
          <cx:pt idx="8367">4.7433999999999994</cx:pt>
          <cx:pt idx="8368">13.1242499999999</cx:pt>
          <cx:pt idx="8369">5.7683999999999997</cx:pt>
          <cx:pt idx="8370">43.287569999999697</cx:pt>
          <cx:pt idx="8371">15.344340000000001</cx:pt>
          <cx:pt idx="8372">6.03059999999999</cx:pt>
          <cx:pt idx="8373">13.1242499999999</cx:pt>
          <cx:pt idx="8374">17.24098</cx:pt>
          <cx:pt idx="8375">13.1242499999999</cx:pt>
          <cx:pt idx="8376">3.8588200000000001</cx:pt>
          <cx:pt idx="8377">13.1242499999999</cx:pt>
          <cx:pt idx="8378">3.9741999999999997</cx:pt>
          <cx:pt idx="8379">15.04954</cx:pt>
          <cx:pt idx="8380">13.1242499999999</cx:pt>
          <cx:pt idx="8381">2.7050200000000002</cx:pt>
          <cx:pt idx="8382">17.24098</cx:pt>
          <cx:pt idx="8383">11.625359999999899</cx:pt>
          <cx:pt idx="8384">4.7562199999999999</cx:pt>
          <cx:pt idx="8385">13.751459999999899</cx:pt>
          <cx:pt idx="8386">11.625359999999899</cx:pt>
          <cx:pt idx="8387">13.1242499999999</cx:pt>
          <cx:pt idx="8388">13.1242499999999</cx:pt>
          <cx:pt idx="8389">13.1242499999999</cx:pt>
          <cx:pt idx="8390">15.04954</cx:pt>
          <cx:pt idx="8391">11.625359999999899</cx:pt>
          <cx:pt idx="8392">13.1242499999999</cx:pt>
          <cx:pt idx="8393">15.04954</cx:pt>
          <cx:pt idx="8394">12.3333599999999</cx:pt>
          <cx:pt idx="8395">6.5549999999999997</cx:pt>
          <cx:pt idx="8396">4.8715999999999999</cx:pt>
          <cx:pt idx="8397">5.2561999999999998</cx:pt>
          <cx:pt idx="8398">13.1242499999999</cx:pt>
          <cx:pt idx="8399">15.329599999999999</cx:pt>
          <cx:pt idx="8400">13.1242499999999</cx:pt>
          <cx:pt idx="8401">15.04954</cx:pt>
          <cx:pt idx="8402">18.009979999999899</cx:pt>
          <cx:pt idx="8403">11.625359999999899</cx:pt>
          <cx:pt idx="8404">18.778979999999901</cx:pt>
          <cx:pt idx="8405">41.406669999999998</cx:pt>
          <cx:pt idx="8406">13.1242499999999</cx:pt>
          <cx:pt idx="8407">13.1242499999999</cx:pt>
          <cx:pt idx="8408">13.751459999999899</cx:pt>
          <cx:pt idx="8409">44.093670000000003</cx:pt>
          <cx:pt idx="8410">6.4239000000000006</cx:pt>
          <cx:pt idx="8411">13.1242499999999</cx:pt>
          <cx:pt idx="8412">17.24098</cx:pt>
          <cx:pt idx="8413">35.495269999999898</cx:pt>
          <cx:pt idx="8414">13.1242499999999</cx:pt>
          <cx:pt idx="8415">40.86927</cx:pt>
          <cx:pt idx="8416">15.04954</cx:pt>
          <cx:pt idx="8417">13.5924</cx:pt>
          <cx:pt idx="8418">17.24098</cx:pt>
          <cx:pt idx="8419">13.1242499999999</cx:pt>
          <cx:pt idx="8420">15.04954</cx:pt>
          <cx:pt idx="8421">13.1242499999999</cx:pt>
          <cx:pt idx="8422">2.8332199999999998</cx:pt>
          <cx:pt idx="8423">4.1408600000000195</cx:pt>
          <cx:pt idx="8424">6.6992099999999999</cx:pt>
          <cx:pt idx="8425">37.376169999999995</cx:pt>
          <cx:pt idx="8426">13.1242499999999</cx:pt>
          <cx:pt idx="8427">13.1242499999999</cx:pt>
          <cx:pt idx="8428">13.1242499999999</cx:pt>
          <cx:pt idx="8429">13.1242499999999</cx:pt>
          <cx:pt idx="8430">15.04954</cx:pt>
          <cx:pt idx="8431">12.839249999999899</cx:pt>
          <cx:pt idx="8432">17.24098</cx:pt>
          <cx:pt idx="8433">13.1242499999999</cx:pt>
          <cx:pt idx="8434">15.04954</cx:pt>
          <cx:pt idx="8435">16.917999999999999</cx:pt>
          <cx:pt idx="8436">18.009979999999899</cx:pt>
          <cx:pt idx="8437">13.1242499999999</cx:pt>
          <cx:pt idx="8438">13.1242499999999</cx:pt>
          <cx:pt idx="8439">15.786539999999999</cx:pt>
          <cx:pt idx="8440">15.04954</cx:pt>
          <cx:pt idx="8441">34.689170000000004</cx:pt>
          <cx:pt idx="8442">13.1242499999999</cx:pt>
          <cx:pt idx="8443">15.04954</cx:pt>
          <cx:pt idx="8444">13.1242499999999</cx:pt>
          <cx:pt idx="8445">13.1242499999999</cx:pt>
          <cx:pt idx="8446">14.0406599999999</cx:pt>
          <cx:pt idx="8447">15.04954</cx:pt>
          <cx:pt idx="8448">13.1242499999999</cx:pt>
          <cx:pt idx="8449">13.1242499999999</cx:pt>
          <cx:pt idx="8450">13.1242499999999</cx:pt>
          <cx:pt idx="8451">4.4870000000000001</cx:pt>
          <cx:pt idx="8452">13.1242499999999</cx:pt>
          <cx:pt idx="8453">13.1242499999999</cx:pt>
          <cx:pt idx="8454">13.109999999999999</cx:pt>
          <cx:pt idx="8455">13.1242499999999</cx:pt>
          <cx:pt idx="8456">15.04954</cx:pt>
          <cx:pt idx="8457">35.495269999999898</cx:pt>
          <cx:pt idx="8458">13.1242499999999</cx:pt>
          <cx:pt idx="8459">13.1242499999999</cx:pt>
          <cx:pt idx="8460">15.04954</cx:pt>
          <cx:pt idx="8461">11.625359999999899</cx:pt>
          <cx:pt idx="8462">15.04954</cx:pt>
          <cx:pt idx="8463">15.04954</cx:pt>
          <cx:pt idx="8464">4.1023999999999994</cx:pt>
          <cx:pt idx="8465">11.625359999999899</cx:pt>
          <cx:pt idx="8466">15.04954</cx:pt>
          <cx:pt idx="8467">13.1242499999999</cx:pt>
          <cx:pt idx="8468">13.1242499999999</cx:pt>
          <cx:pt idx="8469">12.839249999999899</cx:pt>
          <cx:pt idx="8470">17.24098</cx:pt>
          <cx:pt idx="8471">17.24098</cx:pt>
          <cx:pt idx="8472">14.75474</cx:pt>
          <cx:pt idx="8473">52.127799999999901</cx:pt>
          <cx:pt idx="8474">13.1242499999999</cx:pt>
          <cx:pt idx="8475">13.1242499999999</cx:pt>
          <cx:pt idx="8476">13.1242499999999</cx:pt>
          <cx:pt idx="8477">15.04954</cx:pt>
          <cx:pt idx="8478">13.1242499999999</cx:pt>
          <cx:pt idx="8479">3.4742199999999896</cx:pt>
          <cx:pt idx="8480">13.1242499999999</cx:pt>
          <cx:pt idx="8481">13.1242499999999</cx:pt>
          <cx:pt idx="8482">13.1242499999999</cx:pt>
          <cx:pt idx="8483">11.625359999999899</cx:pt>
          <cx:pt idx="8484">13.1242499999999</cx:pt>
          <cx:pt idx="8485">15.786539999999999</cx:pt>
          <cx:pt idx="8486">13.1242499999999</cx:pt>
          <cx:pt idx="8487">13.1242499999999</cx:pt>
          <cx:pt idx="8488">35.495269999999898</cx:pt>
          <cx:pt idx="8489">11.625359999999899</cx:pt>
          <cx:pt idx="8490">13.1242499999999</cx:pt>
          <cx:pt idx="8491">15.04954</cx:pt>
          <cx:pt idx="8492">15.04954</cx:pt>
          <cx:pt idx="8493">17.24098</cx:pt>
          <cx:pt idx="8494">13.1242499999999</cx:pt>
          <cx:pt idx="8495">7.9767999999999892</cx:pt>
          <cx:pt idx="8496">12.319199999999899</cx:pt>
          <cx:pt idx="8497">13.1242499999999</cx:pt>
          <cx:pt idx="8498">13.1242499999999</cx:pt>
          <cx:pt idx="8499">13.1242499999999</cx:pt>
          <cx:pt idx="8500">13.1242499999999</cx:pt>
          <cx:pt idx="8501">13.1242499999999</cx:pt>
          <cx:pt idx="8502">9.722999999999999</cx:pt>
          <cx:pt idx="8503">18.917400000000001</cx:pt>
          <cx:pt idx="8504">13.1242499999999</cx:pt>
          <cx:pt idx="8505">19.547980000000003</cx:pt>
          <cx:pt idx="8506">15.04954</cx:pt>
          <cx:pt idx="8507">13.1242499999999</cx:pt>
          <cx:pt idx="8508">13.1242499999999</cx:pt>
          <cx:pt idx="8509">13.1242499999999</cx:pt>
          <cx:pt idx="8510">13.1242499999999</cx:pt>
          <cx:pt idx="8511">13.1242499999999</cx:pt>
          <cx:pt idx="8512">13.1242499999999</cx:pt>
          <cx:pt idx="8513">15.04954</cx:pt>
          <cx:pt idx="8514">13.1242499999999</cx:pt>
          <cx:pt idx="8515">2.34606000000002</cx:pt>
          <cx:pt idx="8516">15.04954</cx:pt>
          <cx:pt idx="8517">15.786539999999999</cx:pt>
          <cx:pt idx="8518">13.1242499999999</cx:pt>
          <cx:pt idx="8519">15.04954</cx:pt>
          <cx:pt idx="8520">13.1242499999999</cx:pt>
          <cx:pt idx="8521">11.625359999999899</cx:pt>
          <cx:pt idx="8522">13.1242499999999</cx:pt>
          <cx:pt idx="8523">45.974569999999702</cx:pt>
          <cx:pt idx="8524">15.04954</cx:pt>
          <cx:pt idx="8525">11.625359999999899</cx:pt>
          <cx:pt idx="8526">13.1242499999999</cx:pt>
          <cx:pt idx="8527">13.1242499999999</cx:pt>
          <cx:pt idx="8528">11.625359999999899</cx:pt>
          <cx:pt idx="8529">15.04954</cx:pt>
          <cx:pt idx="8530">15.04954</cx:pt>
          <cx:pt idx="8531">13.1242499999999</cx:pt>
          <cx:pt idx="8532">18.778979999999901</cx:pt>
          <cx:pt idx="8533">12.3333599999999</cx:pt>
          <cx:pt idx="8534">12.839249999999899</cx:pt>
          <cx:pt idx="8535">13.1242499999999</cx:pt>
          <cx:pt idx="8536">13.1242499999999</cx:pt>
          <cx:pt idx="8537">13.1242499999999</cx:pt>
          <cx:pt idx="8538">13.606860000000001</cx:pt>
          <cx:pt idx="8539">4.3588000000000005</cx:pt>
          <cx:pt idx="8540">13.1242499999999</cx:pt>
          <cx:pt idx="8541">13.1242499999999</cx:pt>
          <cx:pt idx="8542">11.625359999999899</cx:pt>
          <cx:pt idx="8543">14.75474</cx:pt>
          <cx:pt idx="8544">13.1242499999999</cx:pt>
          <cx:pt idx="8545">45.974569999999702</cx:pt>
          <cx:pt idx="8546">13.1242499999999</cx:pt>
          <cx:pt idx="8547">19.547980000000003</cx:pt>
          <cx:pt idx="8548">13.1242499999999</cx:pt>
          <cx:pt idx="8549">43.824969999999702</cx:pt>
          <cx:pt idx="8550">15.04954</cx:pt>
          <cx:pt idx="8551">15.04954</cx:pt>
          <cx:pt idx="8552">13.1242499999999</cx:pt>
          <cx:pt idx="8553">13.1242499999999</cx:pt>
          <cx:pt idx="8554">12.3333599999999</cx:pt>
          <cx:pt idx="8555">3.4742199999999896</cx:pt>
          <cx:pt idx="8556">11.625359999999899</cx:pt>
          <cx:pt idx="8557">12.333360000000001</cx:pt>
          <cx:pt idx="8558">13.1242499999999</cx:pt>
          <cx:pt idx="8559">18.302199999999999</cx:pt>
          <cx:pt idx="8560">11.625359999999899</cx:pt>
          <cx:pt idx="8561">18.778979999999901</cx:pt>
          <cx:pt idx="8562">4.7433999999999994</cx:pt>
          <cx:pt idx="8563">9.3201899999999789</cx:pt>
          <cx:pt idx="8564">13.1242499999999</cx:pt>
          <cx:pt idx="8565">13.1242499999999</cx:pt>
          <cx:pt idx="8566">13.1242499999999</cx:pt>
          <cx:pt idx="8567">8.6663199999999989</cx:pt>
          <cx:pt idx="8568">13.1242499999999</cx:pt>
          <cx:pt idx="8569">14.0406599999999</cx:pt>
          <cx:pt idx="8570">18.778979999999901</cx:pt>
          <cx:pt idx="8571">15.19694</cx:pt>
          <cx:pt idx="8572">13.1242499999999</cx:pt>
          <cx:pt idx="8573">13.1242499999999</cx:pt>
          <cx:pt idx="8574">13.1242499999999</cx:pt>
          <cx:pt idx="8575">13.1242499999999</cx:pt>
          <cx:pt idx="8576">13.1242499999999</cx:pt>
          <cx:pt idx="8577">15.04954</cx:pt>
          <cx:pt idx="8578">18.778979999999901</cx:pt>
          <cx:pt idx="8579">13.1242499999999</cx:pt>
          <cx:pt idx="8580">12.839249999999899</cx:pt>
          <cx:pt idx="8581">13.1242499999999</cx:pt>
          <cx:pt idx="8582">13.1242499999999</cx:pt>
          <cx:pt idx="8583">11.625359999999899</cx:pt>
          <cx:pt idx="8584">15.04954</cx:pt>
          <cx:pt idx="8585">13.1242499999999</cx:pt>
          <cx:pt idx="8586">13.1242499999999</cx:pt>
          <cx:pt idx="8587">13.1242499999999</cx:pt>
          <cx:pt idx="8588">18.3175799999999</cx:pt>
          <cx:pt idx="8589">9.3201899999999789</cx:pt>
          <cx:pt idx="8590">15.04954</cx:pt>
          <cx:pt idx="8591">11.328000000000001</cx:pt>
          <cx:pt idx="8592">15.04954</cx:pt>
          <cx:pt idx="8593">15.786539999999999</cx:pt>
          <cx:pt idx="8594">17.24098</cx:pt>
          <cx:pt idx="8595">3.5895999999999999</cx:pt>
          <cx:pt idx="8596">11.625359999999899</cx:pt>
          <cx:pt idx="8597">17.24098</cx:pt>
          <cx:pt idx="8598">18.778979999999901</cx:pt>
          <cx:pt idx="8599">9.3201899999999789</cx:pt>
          <cx:pt idx="8600">13.1242499999999</cx:pt>
          <cx:pt idx="8601">13.1242499999999</cx:pt>
          <cx:pt idx="8602">13.1242499999999</cx:pt>
          <cx:pt idx="8603">13.1242499999999</cx:pt>
          <cx:pt idx="8604">13.1242499999999</cx:pt>
          <cx:pt idx="8605">13.1242499999999</cx:pt>
          <cx:pt idx="8606">13.1242499999999</cx:pt>
          <cx:pt idx="8607">13.1242499999999</cx:pt>
          <cx:pt idx="8608">13.1242499999999</cx:pt>
          <cx:pt idx="8609">13.1242499999999</cx:pt>
          <cx:pt idx="8610">13.1242499999999</cx:pt>
          <cx:pt idx="8611">13.1242499999999</cx:pt>
          <cx:pt idx="8612">13.1242499999999</cx:pt>
          <cx:pt idx="8613">13.1242499999999</cx:pt>
          <cx:pt idx="8614">13.1242499999999</cx:pt>
          <cx:pt idx="8615">13.1242499999999</cx:pt>
          <cx:pt idx="8616">13.1242499999999</cx:pt>
          <cx:pt idx="8617">11.625359999999899</cx:pt>
          <cx:pt idx="8618">13.1242499999999</cx:pt>
          <cx:pt idx="8619">13.1242499999999</cx:pt>
          <cx:pt idx="8620">12.3333599999999</cx:pt>
          <cx:pt idx="8621">11.625359999999899</cx:pt>
          <cx:pt idx="8622">13.1242499999999</cx:pt>
          <cx:pt idx="8623">6.5549999999999997</cx:pt>
          <cx:pt idx="8624">11.625359999999899</cx:pt>
          <cx:pt idx="8625">15.04954</cx:pt>
          <cx:pt idx="8626">3.60242</cx:pt>
          <cx:pt idx="8627">10.7091899999999</cx:pt>
          <cx:pt idx="8628">13.1242499999999</cx:pt>
          <cx:pt idx="8629">13.1242499999999</cx:pt>
          <cx:pt idx="8630">13.1242499999999</cx:pt>
          <cx:pt idx="8631">35.495269999999898</cx:pt>
          <cx:pt idx="8632">19.547980000000003</cx:pt>
          <cx:pt idx="8633">13.1242499999999</cx:pt>
          <cx:pt idx="8634">15.04954</cx:pt>
          <cx:pt idx="8635">13.1242499999999</cx:pt>
          <cx:pt idx="8636">13.1242499999999</cx:pt>
          <cx:pt idx="8637">37.644870000000004</cx:pt>
          <cx:pt idx="8638">13.1242499999999</cx:pt>
          <cx:pt idx="8639">11.625359999999899</cx:pt>
          <cx:pt idx="8640">43.287569999999697</cx:pt>
          <cx:pt idx="8641">13.1242499999999</cx:pt>
          <cx:pt idx="8642">13.1242499999999</cx:pt>
          <cx:pt idx="8643">15.344340000000001</cx:pt>
          <cx:pt idx="8644">37.913569999999702</cx:pt>
          <cx:pt idx="8645">15.04954</cx:pt>
          <cx:pt idx="8646">15.04954</cx:pt>
          <cx:pt idx="8647">17.24098</cx:pt>
          <cx:pt idx="8648">11.328000000000001</cx:pt>
          <cx:pt idx="8649">15.344340000000001</cx:pt>
          <cx:pt idx="8650">13.1242499999999</cx:pt>
          <cx:pt idx="8651">15.04954</cx:pt>
          <cx:pt idx="8652">34.95787</cx:pt>
          <cx:pt idx="8653">9.3201899999999789</cx:pt>
          <cx:pt idx="8654">13.1242499999999</cx:pt>
          <cx:pt idx="8655">13.606859999999902</cx:pt>
          <cx:pt idx="8656">13.1242499999999</cx:pt>
          <cx:pt idx="8657">2.1922199999999998</cx:pt>
          <cx:pt idx="8658">13.1242499999999</cx:pt>
          <cx:pt idx="8659">11.625359999999899</cx:pt>
          <cx:pt idx="8660">13.1242499999999</cx:pt>
          <cx:pt idx="8661">12.839249999999899</cx:pt>
          <cx:pt idx="8662">4.8715999999999999</cx:pt>
          <cx:pt idx="8663">15.04954</cx:pt>
          <cx:pt idx="8664">15.04954</cx:pt>
          <cx:pt idx="8665">13.1242499999999</cx:pt>
          <cx:pt idx="8666">15.04954</cx:pt>
          <cx:pt idx="8667">13.1242499999999</cx:pt>
          <cx:pt idx="8668">13.1242499999999</cx:pt>
          <cx:pt idx="8669">15.04954</cx:pt>
          <cx:pt idx="8670">13.1242499999999</cx:pt>
          <cx:pt idx="8671">13.1242499999999</cx:pt>
          <cx:pt idx="8672">15.04954</cx:pt>
          <cx:pt idx="8673">15.04954</cx:pt>
          <cx:pt idx="8674">6.0437099999999999</cx:pt>
          <cx:pt idx="8675">11.625359999999899</cx:pt>
          <cx:pt idx="8676">13.1242499999999</cx:pt>
          <cx:pt idx="8677">15.04954</cx:pt>
          <cx:pt idx="8678">13.1242499999999</cx:pt>
          <cx:pt idx="8679">13.1242499999999</cx:pt>
          <cx:pt idx="8680">18.778979999999901</cx:pt>
          <cx:pt idx="8681">11.625359999999899</cx:pt>
          <cx:pt idx="8682">13.1242499999999</cx:pt>
          <cx:pt idx="8683">13.1242499999999</cx:pt>
          <cx:pt idx="8684">17.24098</cx:pt>
          <cx:pt idx="8685">5.63729999999999</cx:pt>
          <cx:pt idx="8686">13.1242499999999</cx:pt>
          <cx:pt idx="8687">13.1242499999999</cx:pt>
          <cx:pt idx="8688">13.1242499999999</cx:pt>
          <cx:pt idx="8689">36.838769999999997</cx:pt>
          <cx:pt idx="8690">13.1242499999999</cx:pt>
          <cx:pt idx="8691">13.1242499999999</cx:pt>
          <cx:pt idx="8692">13.1242499999999</cx:pt>
          <cx:pt idx="8693">13.1242499999999</cx:pt>
          <cx:pt idx="8694">13.1242499999999</cx:pt>
          <cx:pt idx="8695">11.625359999999899</cx:pt>
          <cx:pt idx="8696">17.24098</cx:pt>
          <cx:pt idx="8697">6.1616999999999997</cx:pt>
          <cx:pt idx="8698">11.625359999999899</cx:pt>
          <cx:pt idx="8699">17.24098</cx:pt>
          <cx:pt idx="8700">13.1242499999999</cx:pt>
          <cx:pt idx="8701">17.24098</cx:pt>
          <cx:pt idx="8702">17.548580000000001</cx:pt>
          <cx:pt idx="8703">13.1242499999999</cx:pt>
          <cx:pt idx="8704">13.1242499999999</cx:pt>
          <cx:pt idx="8705">13.1242499999999</cx:pt>
          <cx:pt idx="8706">13.1242499999999</cx:pt>
          <cx:pt idx="8707">13.1242499999999</cx:pt>
          <cx:pt idx="8708">13.1242499999999</cx:pt>
          <cx:pt idx="8709">12.839249999999899</cx:pt>
          <cx:pt idx="8710">11.625359999999899</cx:pt>
          <cx:pt idx="8711">15.04954</cx:pt>
          <cx:pt idx="8712">11.625359999999899</cx:pt>
          <cx:pt idx="8713">15.04954</cx:pt>
          <cx:pt idx="8714">13.1242499999999</cx:pt>
          <cx:pt idx="8715">13.1242499999999</cx:pt>
          <cx:pt idx="8716">11.611199999999899</cx:pt>
          <cx:pt idx="8717">10.6952999999999</cx:pt>
          <cx:pt idx="8718">15.04954</cx:pt>
          <cx:pt idx="8719">13.1242499999999</cx:pt>
          <cx:pt idx="8720">17.24098</cx:pt>
          <cx:pt idx="8721">13.1242499999999</cx:pt>
          <cx:pt idx="8722">11.625359999999899</cx:pt>
          <cx:pt idx="8723">13.1242499999999</cx:pt>
          <cx:pt idx="8724">15.04954</cx:pt>
          <cx:pt idx="8725">13.1242499999999</cx:pt>
          <cx:pt idx="8726">17.24098</cx:pt>
          <cx:pt idx="8727">13.1242499999999</cx:pt>
          <cx:pt idx="8728">13.1242499999999</cx:pt>
          <cx:pt idx="8729">13.1242499999999</cx:pt>
          <cx:pt idx="8730">15.04954</cx:pt>
          <cx:pt idx="8731">18.778979999999901</cx:pt>
          <cx:pt idx="8732">15.04954</cx:pt>
          <cx:pt idx="8733">15.04954</cx:pt>
          <cx:pt idx="8734">17.24098</cx:pt>
          <cx:pt idx="8735">13.1242499999999</cx:pt>
          <cx:pt idx="8736">13.1242499999999</cx:pt>
          <cx:pt idx="8737">11.625359999999899</cx:pt>
          <cx:pt idx="8738">4.3588000000000005</cx:pt>
          <cx:pt idx="8739">15.04954</cx:pt>
          <cx:pt idx="8740">13.1242499999999</cx:pt>
          <cx:pt idx="8741">13.1242499999999</cx:pt>
          <cx:pt idx="8742">13.1242499999999</cx:pt>
          <cx:pt idx="8743">15.04954</cx:pt>
          <cx:pt idx="8744">13.1242499999999</cx:pt>
          <cx:pt idx="8745">13.1242499999999</cx:pt>
          <cx:pt idx="8746">15.04954</cx:pt>
          <cx:pt idx="8747">11.625359999999899</cx:pt>
          <cx:pt idx="8748">13.1242499999999</cx:pt>
          <cx:pt idx="8749">13.1242499999999</cx:pt>
          <cx:pt idx="8750">13.1242499999999</cx:pt>
          <cx:pt idx="8751">13.1242499999999</cx:pt>
          <cx:pt idx="8752">17.24098</cx:pt>
          <cx:pt idx="8753">13.1242499999999</cx:pt>
          <cx:pt idx="8754">13.1242499999999</cx:pt>
          <cx:pt idx="8755">35.226570000000002</cx:pt>
          <cx:pt idx="8756">13.1242499999999</cx:pt>
          <cx:pt idx="8757">11.625359999999899</cx:pt>
          <cx:pt idx="8758">15.786539999999999</cx:pt>
          <cx:pt idx="8759">12.839249999999899</cx:pt>
          <cx:pt idx="8760">16.93338</cx:pt>
          <cx:pt idx="8761">13.1242499999999</cx:pt>
          <cx:pt idx="8762">15.491739999999901</cx:pt>
          <cx:pt idx="8763">3.0768</cx:pt>
          <cx:pt idx="8764">13.1242499999999</cx:pt>
          <cx:pt idx="8765">4.9998000000000005</cx:pt>
          <cx:pt idx="8766">13.1242499999999</cx:pt>
          <cx:pt idx="8767">43.01887</cx:pt>
          <cx:pt idx="8768">4.1023999999999994</cx:pt>
          <cx:pt idx="8769">13.1242499999999</cx:pt>
          <cx:pt idx="8770">13.1242499999999</cx:pt>
          <cx:pt idx="8771">13.1242499999999</cx:pt>
          <cx:pt idx="8772">7.7199199999999806</cx:pt>
          <cx:pt idx="8773">14.75474</cx:pt>
          <cx:pt idx="8774">15.04954</cx:pt>
          <cx:pt idx="8775">13.1242499999999</cx:pt>
          <cx:pt idx="8776">19.547980000000003</cx:pt>
          <cx:pt idx="8777">13.1242499999999</cx:pt>
          <cx:pt idx="8778">18.778979999999901</cx:pt>
          <cx:pt idx="8779">11.625359999999899</cx:pt>
          <cx:pt idx="8780">12.839249999999899</cx:pt>
          <cx:pt idx="8781">9.5979900000000011</cx:pt>
          <cx:pt idx="8782">15.04954</cx:pt>
          <cx:pt idx="8783">13.1242499999999</cx:pt>
          <cx:pt idx="8784">8.8015199999999787</cx:pt>
          <cx:pt idx="8785">13.1242499999999</cx:pt>
          <cx:pt idx="8786">11.625359999999899</cx:pt>
          <cx:pt idx="8787">13.1242499999999</cx:pt>
          <cx:pt idx="8788">11.625359999999899</cx:pt>
          <cx:pt idx="8789">13.1242499999999</cx:pt>
          <cx:pt idx="8790">13.1242499999999</cx:pt>
          <cx:pt idx="8791">3.8460000000000001</cx:pt>
          <cx:pt idx="8792">15.786539999999999</cx:pt>
          <cx:pt idx="8793">15.04954</cx:pt>
          <cx:pt idx="8794">12.825000000000001</cx:pt>
          <cx:pt idx="8795">15.04954</cx:pt>
          <cx:pt idx="8796">17.2256</cx:pt>
          <cx:pt idx="8797">15.344340000000001</cx:pt>
          <cx:pt idx="8798">17.24098</cx:pt>
          <cx:pt idx="8799">13.1242499999999</cx:pt>
          <cx:pt idx="8800">6.03059999999999</cx:pt>
          <cx:pt idx="8801">13.1242499999999</cx:pt>
          <cx:pt idx="8802">11.625359999999899</cx:pt>
          <cx:pt idx="8803">13.1242499999999</cx:pt>
          <cx:pt idx="8804">11.625359999999899</cx:pt>
          <cx:pt idx="8805">13.1242499999999</cx:pt>
          <cx:pt idx="8806">44.093669999999705</cx:pt>
          <cx:pt idx="8807">13.1242499999999</cx:pt>
          <cx:pt idx="8808">9.3201899999999789</cx:pt>
          <cx:pt idx="8809">6.6860999999999908</cx:pt>
          <cx:pt idx="8810">13.1242499999999</cx:pt>
          <cx:pt idx="8811">13.1242499999999</cx:pt>
          <cx:pt idx="8812">13.1242499999999</cx:pt>
          <cx:pt idx="8813">15.04954</cx:pt>
          <cx:pt idx="8814">17.24098</cx:pt>
          <cx:pt idx="8815">4.7433999999999994</cx:pt>
          <cx:pt idx="8816">13.1242499999999</cx:pt>
          <cx:pt idx="8817">15.04954</cx:pt>
          <cx:pt idx="8818">13.1242499999999</cx:pt>
          <cx:pt idx="8819">15.344340000000001</cx:pt>
          <cx:pt idx="8820">13.1242499999999</cx:pt>
          <cx:pt idx="8821">15.786539999999999</cx:pt>
          <cx:pt idx="8822">15.04954</cx:pt>
          <cx:pt idx="8823">13.1242499999999</cx:pt>
          <cx:pt idx="8824">13.1242499999999</cx:pt>
          <cx:pt idx="8825">13.1242499999999</cx:pt>
          <cx:pt idx="8826">17.2256</cx:pt>
          <cx:pt idx="8827">17.533199999999997</cx:pt>
          <cx:pt idx="8828">15.04954</cx:pt>
          <cx:pt idx="8829">8.6663199999999989</cx:pt>
          <cx:pt idx="8830">15.04954</cx:pt>
          <cx:pt idx="8831">13.1242499999999</cx:pt>
          <cx:pt idx="8832">15.04954</cx:pt>
          <cx:pt idx="8833">15.04954</cx:pt>
          <cx:pt idx="8834">13.1242499999999</cx:pt>
          <cx:pt idx="8835">10.7091899999999</cx:pt>
          <cx:pt idx="8836">12.050159999999901</cx:pt>
          <cx:pt idx="8837">15.04954</cx:pt>
          <cx:pt idx="8838">40.600569999999706</cx:pt>
          <cx:pt idx="8839">13.1242499999999</cx:pt>
          <cx:pt idx="8840">15.04954</cx:pt>
          <cx:pt idx="8841">13.1242499999999</cx:pt>
          <cx:pt idx="8842">13.1242499999999</cx:pt>
          <cx:pt idx="8843">6.1616999999999997</cx:pt>
          <cx:pt idx="8844">13.1242499999999</cx:pt>
          <cx:pt idx="8845">15.04954</cx:pt>
          <cx:pt idx="8846">13.1242499999999</cx:pt>
          <cx:pt idx="8847">15.04954</cx:pt>
          <cx:pt idx="8848">13.1242499999999</cx:pt>
          <cx:pt idx="8849">15.04954</cx:pt>
          <cx:pt idx="8850">12.839249999999899</cx:pt>
          <cx:pt idx="8851">9.3201899999999789</cx:pt>
          <cx:pt idx="8852">6.03059999999999</cx:pt>
          <cx:pt idx="8853">10.0008</cx:pt>
          <cx:pt idx="8854">9.0583999999999989</cx:pt>
          <cx:pt idx="8855">15.04954</cx:pt>
          <cx:pt idx="8856">11.3421599999999</cx:pt>
          <cx:pt idx="8857">10.0146899999999</cx:pt>
          <cx:pt idx="8858">13.1242499999999</cx:pt>
          <cx:pt idx="8859">35.495269999999898</cx:pt>
          <cx:pt idx="8860">13.1242499999999</cx:pt>
          <cx:pt idx="8861">15.04954</cx:pt>
          <cx:pt idx="8862">13.1242499999999</cx:pt>
          <cx:pt idx="8863">11.625359999999899</cx:pt>
          <cx:pt idx="8864">8.3823999999999987</cx:pt>
          <cx:pt idx="8865">18.778979999999901</cx:pt>
          <cx:pt idx="8866">17.24098</cx:pt>
          <cx:pt idx="8867">11.625359999999899</cx:pt>
          <cx:pt idx="8868">13.1242499999999</cx:pt>
          <cx:pt idx="8869">17.24098</cx:pt>
          <cx:pt idx="8870">12.839249999999899</cx:pt>
          <cx:pt idx="8871">43.287569999999697</cx:pt>
          <cx:pt idx="8872">13.1242499999999</cx:pt>
          <cx:pt idx="8873">15.04954</cx:pt>
          <cx:pt idx="8874">15.04954</cx:pt>
          <cx:pt idx="8875">13.1242499999999</cx:pt>
          <cx:pt idx="8876">7.4359999999999999</cx:pt>
          <cx:pt idx="8877">3.9870200000000002</cx:pt>
          <cx:pt idx="8878">13.1242499999999</cx:pt>
          <cx:pt idx="8879">15.04954</cx:pt>
          <cx:pt idx="8880">13.1242499999999</cx:pt>
          <cx:pt idx="8881">18.778979999999901</cx:pt>
          <cx:pt idx="8882">12.319199999999899</cx:pt>
          <cx:pt idx="8883">13.1242499999999</cx:pt>
          <cx:pt idx="8884">15.04954</cx:pt>
          <cx:pt idx="8885">11.625359999999899</cx:pt>
          <cx:pt idx="8886">11.625359999999899</cx:pt>
          <cx:pt idx="8887">6.2927999999999997</cx:pt>
          <cx:pt idx="8888">19.240380000000002</cx:pt>
          <cx:pt idx="8889">15.04954</cx:pt>
          <cx:pt idx="8890">18.778979999999901</cx:pt>
          <cx:pt idx="8891">13.1242499999999</cx:pt>
          <cx:pt idx="8892">13.1242499999999</cx:pt>
          <cx:pt idx="8893">13.1242499999999</cx:pt>
          <cx:pt idx="8894">13.1242499999999</cx:pt>
          <cx:pt idx="8895">13.1242499999999</cx:pt>
          <cx:pt idx="8896">15.04954</cx:pt>
          <cx:pt idx="8897">13.1242499999999</cx:pt>
          <cx:pt idx="8898">9.3201899999999789</cx:pt>
          <cx:pt idx="8899">40.600569999999706</cx:pt>
          <cx:pt idx="8900">10.6952999999999</cx:pt>
          <cx:pt idx="8901">13.1242499999999</cx:pt>
          <cx:pt idx="8902">4.4870000000000001</cx:pt>
          <cx:pt idx="8903">11.3421599999999</cx:pt>
          <cx:pt idx="8904">13.1242499999999</cx:pt>
          <cx:pt idx="8905">11.625359999999899</cx:pt>
          <cx:pt idx="8906">13.1242499999999</cx:pt>
          <cx:pt idx="8907">13.1242499999999</cx:pt>
          <cx:pt idx="8908">18.778979999999901</cx:pt>
          <cx:pt idx="8909">3.08962</cx:pt>
          <cx:pt idx="8910">12.839249999999899</cx:pt>
          <cx:pt idx="8911">12.825000000000001</cx:pt>
          <cx:pt idx="8912">13.1242499999999</cx:pt>
          <cx:pt idx="8913">12.839249999999899</cx:pt>
          <cx:pt idx="8914">15.04954</cx:pt>
          <cx:pt idx="8915">11.3421599999999</cx:pt>
          <cx:pt idx="8916">13.1242499999999</cx:pt>
          <cx:pt idx="8917">13.1242499999999</cx:pt>
          <cx:pt idx="8918">13.1242499999999</cx:pt>
          <cx:pt idx="8919">15.04954</cx:pt>
          <cx:pt idx="8920">15.04954</cx:pt>
          <cx:pt idx="8921">13.1242499999999</cx:pt>
          <cx:pt idx="8922">15.04954</cx:pt>
          <cx:pt idx="8923">13.1242499999999</cx:pt>
          <cx:pt idx="8924">18.778979999999901</cx:pt>
          <cx:pt idx="8925">15.04954</cx:pt>
          <cx:pt idx="8926">12.177599999999899</cx:pt>
          <cx:pt idx="8927">13.1242499999999</cx:pt>
          <cx:pt idx="8928">18.778979999999901</cx:pt>
          <cx:pt idx="8929">13.1242499999999</cx:pt>
          <cx:pt idx="8930">44.631069999999703</cx:pt>
          <cx:pt idx="8931">17.548580000000001</cx:pt>
          <cx:pt idx="8932">13.1242499999999</cx:pt>
          <cx:pt idx="8933">13.1242499999999</cx:pt>
          <cx:pt idx="8934">9.3201899999999789</cx:pt>
          <cx:pt idx="8935">17.24098</cx:pt>
          <cx:pt idx="8936">5.89949999999999</cx:pt>
          <cx:pt idx="8937">15.04954</cx:pt>
          <cx:pt idx="8938">12.825000000000001</cx:pt>
          <cx:pt idx="8939">13.1242499999999</cx:pt>
          <cx:pt idx="8940">13.1242499999999</cx:pt>
          <cx:pt idx="8941">17.548580000000001</cx:pt>
          <cx:pt idx="8942">40.600569999999706</cx:pt>
          <cx:pt idx="8943">13.1242499999999</cx:pt>
          <cx:pt idx="8944">11.625359999999899</cx:pt>
          <cx:pt idx="8945">13.1242499999999</cx:pt>
          <cx:pt idx="8946">11.625359999999899</cx:pt>
          <cx:pt idx="8947">14.607339999999899</cx:pt>
          <cx:pt idx="8948">13.1242499999999</cx:pt>
          <cx:pt idx="8949">13.1242499999999</cx:pt>
          <cx:pt idx="8950">13.1242499999999</cx:pt>
          <cx:pt idx="8951">13.1242499999999</cx:pt>
          <cx:pt idx="8952">13.1242499999999</cx:pt>
          <cx:pt idx="8953">43.287569999999697</cx:pt>
          <cx:pt idx="8954">13.1242499999999</cx:pt>
          <cx:pt idx="8955">15.04954</cx:pt>
          <cx:pt idx="8956">15.04954</cx:pt>
          <cx:pt idx="8957">13.1242499999999</cx:pt>
          <cx:pt idx="8958">3.4613999999999998</cx:pt>
          <cx:pt idx="8959">13.1242499999999</cx:pt>
          <cx:pt idx="8960">13.1242499999999</cx:pt>
          <cx:pt idx="8961">13.1242499999999</cx:pt>
          <cx:pt idx="8962">15.04954</cx:pt>
          <cx:pt idx="8963">15.04954</cx:pt>
          <cx:pt idx="8964">13.1242499999999</cx:pt>
          <cx:pt idx="8965">13.1242499999999</cx:pt>
          <cx:pt idx="8966">13.1242499999999</cx:pt>
          <cx:pt idx="8967">13.1242499999999</cx:pt>
          <cx:pt idx="8968">13.1242499999999</cx:pt>
          <cx:pt idx="8969">13.1242499999999</cx:pt>
          <cx:pt idx="8970">13.1242499999999</cx:pt>
          <cx:pt idx="8971">15.04954</cx:pt>
          <cx:pt idx="8972">43.824969999999702</cx:pt>
          <cx:pt idx="8973">13.1242499999999</cx:pt>
          <cx:pt idx="8974">15.04954</cx:pt>
          <cx:pt idx="8975">11.3421599999999</cx:pt>
          <cx:pt idx="8976">18.778979999999901</cx:pt>
          <cx:pt idx="8977">13.1242499999999</cx:pt>
          <cx:pt idx="8978">15.04954</cx:pt>
          <cx:pt idx="8979">17.24098</cx:pt>
          <cx:pt idx="8980">1.42302</cx:pt>
          <cx:pt idx="8981">13.1242499999999</cx:pt>
          <cx:pt idx="8982">46.780670000000001</cx:pt>
          <cx:pt idx="8983">11.625359999999899</cx:pt>
          <cx:pt idx="8984">13.1242499999999</cx:pt>
          <cx:pt idx="8985">18.148399999999899</cx:pt>
          <cx:pt idx="8986">13.1242499999999</cx:pt>
          <cx:pt idx="8987">13.1242499999999</cx:pt>
          <cx:pt idx="8988">12.3333599999999</cx:pt>
          <cx:pt idx="8989">13.1242499999999</cx:pt>
          <cx:pt idx="8990">15.04954</cx:pt>
          <cx:pt idx="8991">15.04954</cx:pt>
          <cx:pt idx="8992">13.1242499999999</cx:pt>
          <cx:pt idx="8993">3.2050000000000001</cx:pt>
          <cx:pt idx="8994">13.1242499999999</cx:pt>
          <cx:pt idx="8995">13.1242499999999</cx:pt>
          <cx:pt idx="8996">15.04954</cx:pt>
          <cx:pt idx="8997">11.625359999999899</cx:pt>
          <cx:pt idx="8998">13.1242499999999</cx:pt>
          <cx:pt idx="8999">13.1242499999999</cx:pt>
          <cx:pt idx="9000">13.1242499999999</cx:pt>
          <cx:pt idx="9001">15.04954</cx:pt>
          <cx:pt idx="9002">11.625359999999899</cx:pt>
          <cx:pt idx="9003">13.1242499999999</cx:pt>
          <cx:pt idx="9004">13.1242499999999</cx:pt>
          <cx:pt idx="9005">18.778979999999901</cx:pt>
          <cx:pt idx="9006">13.1242499999999</cx:pt>
          <cx:pt idx="9007">13.1242499999999</cx:pt>
          <cx:pt idx="9008">15.344340000000001</cx:pt>
          <cx:pt idx="9009">11.625359999999899</cx:pt>
          <cx:pt idx="9010">13.1242499999999</cx:pt>
          <cx:pt idx="9011">13.1242499999999</cx:pt>
          <cx:pt idx="9012">6.2927999999999997</cx:pt>
          <cx:pt idx="9013">11.625359999999899</cx:pt>
          <cx:pt idx="9014">13.1242499999999</cx:pt>
          <cx:pt idx="9015">13.1242499999999</cx:pt>
          <cx:pt idx="9016">13.1242499999999</cx:pt>
          <cx:pt idx="9017">13.1242499999999</cx:pt>
          <cx:pt idx="9018">13.1242499999999</cx:pt>
          <cx:pt idx="9019">14.75474</cx:pt>
          <cx:pt idx="9020">11.625359999999899</cx:pt>
          <cx:pt idx="9021">36.838769999999997</cx:pt>
          <cx:pt idx="9022">13.1242499999999</cx:pt>
          <cx:pt idx="9023">11.625359999999899</cx:pt>
          <cx:pt idx="9024">12.050159999999901</cx:pt>
          <cx:pt idx="9025">11.625359999999899</cx:pt>
          <cx:pt idx="9026">15.04954</cx:pt>
          <cx:pt idx="9027">13.1242499999999</cx:pt>
          <cx:pt idx="9028">3.2178199999999997</cx:pt>
          <cx:pt idx="9029">13.1242499999999</cx:pt>
          <cx:pt idx="9030">13.1242499999999</cx:pt>
          <cx:pt idx="9031">15.04954</cx:pt>
          <cx:pt idx="9032">13.1242499999999</cx:pt>
          <cx:pt idx="9033">13.1242499999999</cx:pt>
          <cx:pt idx="9034">15.04954</cx:pt>
          <cx:pt idx="9035">10.5564</cx:pt>
          <cx:pt idx="9036">12.839249999999899</cx:pt>
          <cx:pt idx="9037">11.3421599999999</cx:pt>
          <cx:pt idx="9038">6.5549999999999997</cx:pt>
          <cx:pt idx="9039">11.625359999999899</cx:pt>
          <cx:pt idx="9040">11.625359999999899</cx:pt>
          <cx:pt idx="9041">13.1242499999999</cx:pt>
          <cx:pt idx="9042">13.1242499999999</cx:pt>
          <cx:pt idx="9043">13.1242499999999</cx:pt>
          <cx:pt idx="9044">13.1242499999999</cx:pt>
          <cx:pt idx="9045">15.04954</cx:pt>
          <cx:pt idx="9046">15.04954</cx:pt>
          <cx:pt idx="9047">15.04954</cx:pt>
          <cx:pt idx="9048">13.1242499999999</cx:pt>
          <cx:pt idx="9049">43.287569999999697</cx:pt>
          <cx:pt idx="9050">2.9614199999999999</cx:pt>
          <cx:pt idx="9051">15.786539999999999</cx:pt>
          <cx:pt idx="9052">15.04954</cx:pt>
          <cx:pt idx="9053">13.1242499999999</cx:pt>
          <cx:pt idx="9054">17.24098</cx:pt>
          <cx:pt idx="9055">13.1242499999999</cx:pt>
          <cx:pt idx="9056">13.1242499999999</cx:pt>
          <cx:pt idx="9057">13.1242499999999</cx:pt>
          <cx:pt idx="9058">13.1242499999999</cx:pt>
          <cx:pt idx="9059">15.04954</cx:pt>
          <cx:pt idx="9060">15.491739999999901</cx:pt>
          <cx:pt idx="9061">19.240380000000002</cx:pt>
          <cx:pt idx="9062">13.1242499999999</cx:pt>
          <cx:pt idx="9063">6.8171999999999997</cx:pt>
          <cx:pt idx="9064">6.5549999999999997</cx:pt>
          <cx:pt idx="9065">13.1242499999999</cx:pt>
          <cx:pt idx="9066">13.1242499999999</cx:pt>
          <cx:pt idx="9067">15.04954</cx:pt>
          <cx:pt idx="9068">14.607339999999899</cx:pt>
          <cx:pt idx="9069">13.1242499999999</cx:pt>
          <cx:pt idx="9070">46.485099999999704</cx:pt>
          <cx:pt idx="9071">9.3201899999999789</cx:pt>
          <cx:pt idx="9072">13.1242499999999</cx:pt>
          <cx:pt idx="9073">15.04954</cx:pt>
          <cx:pt idx="9074">18.009979999999899</cx:pt>
          <cx:pt idx="9075">11.625359999999899</cx:pt>
          <cx:pt idx="9076">13.1242499999999</cx:pt>
          <cx:pt idx="9077">13.1242499999999</cx:pt>
          <cx:pt idx="9078">13.1242499999999</cx:pt>
          <cx:pt idx="9079">15.04954</cx:pt>
          <cx:pt idx="9080">13.606859999999902</cx:pt>
          <cx:pt idx="9081">13.1242499999999</cx:pt>
          <cx:pt idx="9082">13.1242499999999</cx:pt>
          <cx:pt idx="9083">8.260720000000001</cx:pt>
          <cx:pt idx="9084">15.04954</cx:pt>
          <cx:pt idx="9085">15.04954</cx:pt>
          <cx:pt idx="9086">15.04954</cx:pt>
          <cx:pt idx="9087">13.1242499999999</cx:pt>
          <cx:pt idx="9088">52.154669999999705</cx:pt>
          <cx:pt idx="9089">13.1242499999999</cx:pt>
          <cx:pt idx="9090">17.24098</cx:pt>
          <cx:pt idx="9091">6.03059999999999</cx:pt>
          <cx:pt idx="9092">11.3421599999999</cx:pt>
          <cx:pt idx="9093">10.6952999999999</cx:pt>
          <cx:pt idx="9094">13.1242499999999</cx:pt>
          <cx:pt idx="9095">48.661569999999699</cx:pt>
          <cx:pt idx="9096">13.1242499999999</cx:pt>
          <cx:pt idx="9097">13.1242499999999</cx:pt>
          <cx:pt idx="9098">13.1242499999999</cx:pt>
          <cx:pt idx="9099">13.1242499999999</cx:pt>
          <cx:pt idx="9100">10.986989999999899</cx:pt>
          <cx:pt idx="9101">13.1242499999999</cx:pt>
          <cx:pt idx="9102">2.34606000000002</cx:pt>
          <cx:pt idx="9103">12.050159999999901</cx:pt>
          <cx:pt idx="9104">13.1242499999999</cx:pt>
          <cx:pt idx="9105">15.04954</cx:pt>
          <cx:pt idx="9106">19.547980000000003</cx:pt>
          <cx:pt idx="9107">13.1242499999999</cx:pt>
          <cx:pt idx="9108">9.7368899999999989</cx:pt>
          <cx:pt idx="9109">13.1242499999999</cx:pt>
          <cx:pt idx="9110">13.1242499999999</cx:pt>
          <cx:pt idx="9111">12.839249999999899</cx:pt>
          <cx:pt idx="9112">13.1242499999999</cx:pt>
          <cx:pt idx="9113">7.7199199999999992</cx:pt>
          <cx:pt idx="9114">13.1242499999999</cx:pt>
          <cx:pt idx="9115">15.786539999999999</cx:pt>
          <cx:pt idx="9116">15.344340000000001</cx:pt>
          <cx:pt idx="9117">13.1242499999999</cx:pt>
          <cx:pt idx="9118">11.625359999999899</cx:pt>
          <cx:pt idx="9119">15.04954</cx:pt>
          <cx:pt idx="9120">11.3421599999999</cx:pt>
          <cx:pt idx="9121">13.1242499999999</cx:pt>
          <cx:pt idx="9122">13.1242499999999</cx:pt>
          <cx:pt idx="9123">13.1242499999999</cx:pt>
          <cx:pt idx="9124">17.24098</cx:pt>
          <cx:pt idx="9125">13.1242499999999</cx:pt>
          <cx:pt idx="9126">13.1242499999999</cx:pt>
          <cx:pt idx="9127">11.625359999999899</cx:pt>
          <cx:pt idx="9128">43.556270000000005</cx:pt>
          <cx:pt idx="9129">13.1242499999999</cx:pt>
          <cx:pt idx="9130">13.1242499999999</cx:pt>
          <cx:pt idx="9131">11.625359999999899</cx:pt>
          <cx:pt idx="9132">15.04954</cx:pt>
          <cx:pt idx="9133">18.778979999999901</cx:pt>
          <cx:pt idx="9134">13.1242499999999</cx:pt>
          <cx:pt idx="9135">13.1242499999999</cx:pt>
          <cx:pt idx="9136">13.1242499999999</cx:pt>
          <cx:pt idx="9137">13.1242499999999</cx:pt>
          <cx:pt idx="9138">13.1242499999999</cx:pt>
          <cx:pt idx="9139">11.625359999999899</cx:pt>
          <cx:pt idx="9140">15.786539999999999</cx:pt>
          <cx:pt idx="9141">13.1242499999999</cx:pt>
          <cx:pt idx="9142">8.9232000000000014</cx:pt>
          <cx:pt idx="9143">13.1242499999999</cx:pt>
          <cx:pt idx="9144">17.24098</cx:pt>
          <cx:pt idx="9145">1.9358199999999999</cx:pt>
          <cx:pt idx="9146">17.548580000000001</cx:pt>
          <cx:pt idx="9147">11.625359999999899</cx:pt>
          <cx:pt idx="9148">13.1242499999999</cx:pt>
          <cx:pt idx="9149">13.1242499999999</cx:pt>
          <cx:pt idx="9150">43.556270000000005</cx:pt>
          <cx:pt idx="9151">11.625359999999899</cx:pt>
          <cx:pt idx="9152">4.1023999999999994</cx:pt>
          <cx:pt idx="9153">15.491739999999901</cx:pt>
          <cx:pt idx="9154">13.1242499999999</cx:pt>
          <cx:pt idx="9155">12.839249999999899</cx:pt>
          <cx:pt idx="9156">13.1242499999999</cx:pt>
          <cx:pt idx="9157">12.19176</cx:pt>
          <cx:pt idx="9158">40.600569999999706</cx:pt>
          <cx:pt idx="9159">10.0146899999999</cx:pt>
          <cx:pt idx="9160">13.1242499999999</cx:pt>
          <cx:pt idx="9161">13.1242499999999</cx:pt>
          <cx:pt idx="9162">11.625359999999899</cx:pt>
          <cx:pt idx="9163">13.1242499999999</cx:pt>
          <cx:pt idx="9164">13.1242499999999</cx:pt>
          <cx:pt idx="9165">13.1242499999999</cx:pt>
          <cx:pt idx="9166">15.04954</cx:pt>
          <cx:pt idx="9167">15.04954</cx:pt>
          <cx:pt idx="9168">13.1242499999999</cx:pt>
          <cx:pt idx="9169">13.1242499999999</cx:pt>
          <cx:pt idx="9170">13.1242499999999</cx:pt>
          <cx:pt idx="9171">13.1242499999999</cx:pt>
          <cx:pt idx="9172">13.1242499999999</cx:pt>
          <cx:pt idx="9173">13.1242499999999</cx:pt>
          <cx:pt idx="9174">7.3008000000000006</cx:pt>
          <cx:pt idx="9175">15.04954</cx:pt>
          <cx:pt idx="9176">45.947700000000005</cx:pt>
          <cx:pt idx="9177">8.8015199999999787</cx:pt>
          <cx:pt idx="9178">13.1242499999999</cx:pt>
          <cx:pt idx="9179">13.1242499999999</cx:pt>
          <cx:pt idx="9180">13.1242499999999</cx:pt>
          <cx:pt idx="9181">15.476999999999999</cx:pt>
          <cx:pt idx="9182">13.1242499999999</cx:pt>
          <cx:pt idx="9183">11.625359999999899</cx:pt>
          <cx:pt idx="9184">13.1242499999999</cx:pt>
          <cx:pt idx="9185">15.04954</cx:pt>
          <cx:pt idx="9186">10.139699999999999</cx:pt>
          <cx:pt idx="9187">19.240380000000002</cx:pt>
          <cx:pt idx="9188">13.1242499999999</cx:pt>
          <cx:pt idx="9189">13.1242499999999</cx:pt>
          <cx:pt idx="9190">13.1242499999999</cx:pt>
          <cx:pt idx="9191">13.1242499999999</cx:pt>
          <cx:pt idx="9192">15.04954</cx:pt>
          <cx:pt idx="9193">37.913569999999702</cx:pt>
          <cx:pt idx="9194">12.839249999999899</cx:pt>
          <cx:pt idx="9195">13.1242499999999</cx:pt>
          <cx:pt idx="9196">13.1242499999999</cx:pt>
          <cx:pt idx="9197">17.24098</cx:pt>
          <cx:pt idx="9198">13.1242499999999</cx:pt>
          <cx:pt idx="9199">15.04954</cx:pt>
          <cx:pt idx="9200">13.1242499999999</cx:pt>
          <cx:pt idx="9201">15.344340000000001</cx:pt>
          <cx:pt idx="9202">13.1242499999999</cx:pt>
          <cx:pt idx="9203">15.04954</cx:pt>
          <cx:pt idx="9204">17.24098</cx:pt>
          <cx:pt idx="9205">13.1242499999999</cx:pt>
          <cx:pt idx="9206">10.7091899999999</cx:pt>
          <cx:pt idx="9207">15.04954</cx:pt>
          <cx:pt idx="9208">15.491739999999901</cx:pt>
          <cx:pt idx="9209">15.786539999999999</cx:pt>
          <cx:pt idx="9210">12.839249999999899</cx:pt>
          <cx:pt idx="9211">13.1242499999999</cx:pt>
          <cx:pt idx="9212">13.1242499999999</cx:pt>
          <cx:pt idx="9213">13.1242499999999</cx:pt>
          <cx:pt idx="9214">40.86927</cx:pt>
          <cx:pt idx="9215">13.1242499999999</cx:pt>
          <cx:pt idx="9216">11.625359999999899</cx:pt>
          <cx:pt idx="9217">13.1242499999999</cx:pt>
          <cx:pt idx="9218">15.04954</cx:pt>
          <cx:pt idx="9219">7.3008000000000006</cx:pt>
          <cx:pt idx="9220">17.24098</cx:pt>
          <cx:pt idx="9221">13.1242499999999</cx:pt>
          <cx:pt idx="9222">13.1242499999999</cx:pt>
          <cx:pt idx="9223">11.625359999999899</cx:pt>
          <cx:pt idx="9224">5.7683999999999997</cx:pt>
          <cx:pt idx="9225">17.24098</cx:pt>
          <cx:pt idx="9226">3.4742199999999896</cx:pt>
          <cx:pt idx="9227">15.04954</cx:pt>
          <cx:pt idx="9228">13.49118</cx:pt>
          <cx:pt idx="9229">13.1242499999999</cx:pt>
          <cx:pt idx="9230">11.625359999999899</cx:pt>
          <cx:pt idx="9231">13.1242499999999</cx:pt>
          <cx:pt idx="9232">11.625359999999899</cx:pt>
          <cx:pt idx="9233">13.1242499999999</cx:pt>
          <cx:pt idx="9234">6.8171999999999997</cx:pt>
          <cx:pt idx="9235">19.071199999999997</cx:pt>
          <cx:pt idx="9236">13.1242499999999</cx:pt>
          <cx:pt idx="9237">12.3333599999999</cx:pt>
          <cx:pt idx="9238">19.547980000000003</cx:pt>
          <cx:pt idx="9239">13.1242499999999</cx:pt>
          <cx:pt idx="9240">13.1242499999999</cx:pt>
          <cx:pt idx="9241">13.462260000000001</cx:pt>
          <cx:pt idx="9242">15.04954</cx:pt>
          <cx:pt idx="9243">15.04954</cx:pt>
          <cx:pt idx="9244">17.24098</cx:pt>
          <cx:pt idx="9245">15.786539999999999</cx:pt>
          <cx:pt idx="9246">5.5061999999999998</cx:pt>
          <cx:pt idx="9247">13.1242499999999</cx:pt>
          <cx:pt idx="9248">11.625359999999899</cx:pt>
          <cx:pt idx="9249">13.1242499999999</cx:pt>
          <cx:pt idx="9250">15.04954</cx:pt>
          <cx:pt idx="9251">13.1242499999999</cx:pt>
          <cx:pt idx="9252">13.1242499999999</cx:pt>
          <cx:pt idx="9253">13.1242499999999</cx:pt>
          <cx:pt idx="9254">12.3333599999999</cx:pt>
          <cx:pt idx="9255">13.1242499999999</cx:pt>
          <cx:pt idx="9256">13.1242499999999</cx:pt>
          <cx:pt idx="9257">6.14175</cx:pt>
          <cx:pt idx="9258">3.81501</cx:pt>
          <cx:pt idx="9259">9.1535399999999907</cx:pt>
          <cx:pt idx="9260">5.4309900000000004</cx:pt>
          <cx:pt idx="9261">12.319380000000001</cx:pt>
          <cx:pt idx="9262">5.1511199999999997</cx:pt>
          <cx:pt idx="9263">4.20472</cx:pt>
          <cx:pt idx="9264">26.090769999999903</cx:pt>
          <cx:pt idx="9265">7.0998599999999996</cx:pt>
          <cx:pt idx="9266">26.89687</cx:pt>
          <cx:pt idx="9267">6.2842499999999992</cx:pt>
          <cx:pt idx="9268">3.68391</cx:pt>
          <cx:pt idx="9269">12.780779999999901</cx:pt>
          <cx:pt idx="9270">6.14175</cx:pt>
          <cx:pt idx="9271">6.14175</cx:pt>
          <cx:pt idx="9272">31.464769999999898</cx:pt>
          <cx:pt idx="9273">9.44834</cx:pt>
          <cx:pt idx="9274">6.14175</cx:pt>
          <cx:pt idx="9275">5.1511199999999997</cx:pt>
          <cx:pt idx="9276">5.9613599999999902</cx:pt>
          <cx:pt idx="9277">6.5214599999999994</cx:pt>
          <cx:pt idx="9278">5.8197600000000005</cx:pt>
          <cx:pt idx="9279">4.07721</cx:pt>
          <cx:pt idx="9280">8.1217399999999991</cx:pt>
          <cx:pt idx="9281">10.774939999999999</cx:pt>
          <cx:pt idx="9282">4.3399200000000002</cx:pt>
          <cx:pt idx="9283">2.9614199999999999</cx:pt>
          <cx:pt idx="9284">34.689169999999905</cx:pt>
          <cx:pt idx="9285">5.1511199999999997</cx:pt>
          <cx:pt idx="9286">6.8106600000000004</cx:pt>
          <cx:pt idx="9287">2.9614199999999999</cx:pt>
          <cx:pt idx="9288">4.8807199999999895</cx:pt>
          <cx:pt idx="9289">5.1511199999999997</cx:pt>
          <cx:pt idx="9290">1.80762</cx:pt>
          <cx:pt idx="9291">26.359469999999902</cx:pt>
          <cx:pt idx="9292">42.481469999999696</cx:pt>
          <cx:pt idx="9293">5.4309900000000004</cx:pt>
          <cx:pt idx="9294">5.4309900000000004</cx:pt>
          <cx:pt idx="9295">5.4309900000000004</cx:pt>
          <cx:pt idx="9296">26.090769999999903</cx:pt>
          <cx:pt idx="9297">4.4751199999999995</cx:pt>
          <cx:pt idx="9298">5.1511199999999997</cx:pt>
          <cx:pt idx="9299">6.14175</cx:pt>
          <cx:pt idx="9300">5.6781600000000001</cx:pt>
          <cx:pt idx="9301">9.0061399999999896</cx:pt>
          <cx:pt idx="9302">6.14175</cx:pt>
          <cx:pt idx="9303">6.6660599999999999</cx:pt>
          <cx:pt idx="9304">12.319380000000001</cx:pt>
          <cx:pt idx="9305">4.20472</cx:pt>
          <cx:pt idx="9306">6.14175</cx:pt>
          <cx:pt idx="9307">1.6794199999999999</cx:pt>
          <cx:pt idx="9308">4.4751199999999995</cx:pt>
          <cx:pt idx="9309">6.9552600000000009</cx:pt>
          <cx:pt idx="9310">5.1511199999999997</cx:pt>
          <cx:pt idx="9311">28.509069999999898</cx:pt>
          <cx:pt idx="9312">9.7431400000000004</cx:pt>
          <cx:pt idx="9313">5.9613599999999902</cx:pt>
          <cx:pt idx="9314">5.4309900000000004</cx:pt>
          <cx:pt idx="9315">3.68391</cx:pt>
          <cx:pt idx="9316">5.4309900000000004</cx:pt>
          <cx:pt idx="9317">5.99925</cx:pt>
          <cx:pt idx="9318">4.4751199999999995</cx:pt>
          <cx:pt idx="9319">35.763969999999901</cx:pt>
          <cx:pt idx="9320">5.4309900000000004</cx:pt>
          <cx:pt idx="9321">5.1511199999999997</cx:pt>
          <cx:pt idx="9322">6.14175</cx:pt>
          <cx:pt idx="9323">1.6794199999999999</cx:pt>
          <cx:pt idx="9324">9.44834</cx:pt>
          <cx:pt idx="9325">3.68391</cx:pt>
          <cx:pt idx="9326">11.85798</cx:pt>
          <cx:pt idx="9327">12.01178</cx:pt>
          <cx:pt idx="9328">11.550380000000001</cx:pt>
          <cx:pt idx="9329">7.6782600000000008</cx:pt>
          <cx:pt idx="9330">11.704180000000001</cx:pt>
          <cx:pt idx="9331">5.1511199999999997</cx:pt>
          <cx:pt idx="9332">3.29061</cx:pt>
          <cx:pt idx="9333">5.6781600000000001</cx:pt>
          <cx:pt idx="9334">4.8807200000000002</cx:pt>
          <cx:pt idx="9335">3.68391</cx:pt>
          <cx:pt idx="9336">6.5214599999999994</cx:pt>
          <cx:pt idx="9337">13.088379999999999</cx:pt>
          <cx:pt idx="9338">12.319379999999901</cx:pt>
          <cx:pt idx="9339">13.39598</cx:pt>
          <cx:pt idx="9340">12.01178</cx:pt>
          <cx:pt idx="9341">3.08962</cx:pt>
          <cx:pt idx="9342">5.99925</cx:pt>
          <cx:pt idx="9343">4.6103199999999998</cx:pt>
          <cx:pt idx="9344">5.9613599999999902</cx:pt>
          <cx:pt idx="9345">3.08962</cx:pt>
          <cx:pt idx="9346">6.14175</cx:pt>
          <cx:pt idx="9347">6.14175</cx:pt>
          <cx:pt idx="9348">3.08962</cx:pt>
          <cx:pt idx="9349">3.68391</cx:pt>
          <cx:pt idx="9350">11.704180000000001</cx:pt>
          <cx:pt idx="9351">6.14175</cx:pt>
          <cx:pt idx="9352">4.4751199999999995</cx:pt>
          <cx:pt idx="9353">9.30093999999999</cx:pt>
          <cx:pt idx="9354">6.14175</cx:pt>
          <cx:pt idx="9355">4.4751199999999995</cx:pt>
          <cx:pt idx="9356">9.44834</cx:pt>
          <cx:pt idx="9357">14.164979999999899</cx:pt>
          <cx:pt idx="9358">27.702969999999898</cx:pt>
          <cx:pt idx="9359">8.2691400000000002</cx:pt>
          <cx:pt idx="9360">4.3399200000000002</cx:pt>
          <cx:pt idx="9361">10.92234</cx:pt>
          <cx:pt idx="9362">3.08962</cx:pt>
          <cx:pt idx="9363">10.48014</cx:pt>
          <cx:pt idx="9364">38.182269999999903</cx:pt>
          <cx:pt idx="9365">6.5214599999999994</cx:pt>
          <cx:pt idx="9366">29.046470000000003</cx:pt>
          <cx:pt idx="9367">26.090769999999903</cx:pt>
          <cx:pt idx="9368">4.4751199999999995</cx:pt>
          <cx:pt idx="9369">5.4309900000000004</cx:pt>
          <cx:pt idx="9370">5.1511199999999997</cx:pt>
          <cx:pt idx="9371">38.450969999999899</cx:pt>
          <cx:pt idx="9372">6.9552600000000009</cx:pt>
          <cx:pt idx="9373">9.30093999999999</cx:pt>
          <cx:pt idx="9374">6.2842499999999992</cx:pt>
          <cx:pt idx="9375">2.9614199999999999</cx:pt>
          <cx:pt idx="9376">7.2444600000000001</cx:pt>
          <cx:pt idx="9377">5.4309900000000004</cx:pt>
          <cx:pt idx="9378">5.4309900000000004</cx:pt>
          <cx:pt idx="9379">4.4751199999999995</cx:pt>
          <cx:pt idx="9380">5.4309900000000004</cx:pt>
          <cx:pt idx="9381">5.1511199999999997</cx:pt>
          <cx:pt idx="9382">11.550380000000001</cx:pt>
          <cx:pt idx="9383">27.702969999999898</cx:pt>
          <cx:pt idx="9384">12.62698</cx:pt>
          <cx:pt idx="9385">5.6781600000000001</cx:pt>
          <cx:pt idx="9386">28.240369999999999</cx:pt>
          <cx:pt idx="9387">31.464769999999898</cx:pt>
          <cx:pt idx="9388">6.14175</cx:pt>
          <cx:pt idx="9389">6.2842499999999992</cx:pt>
          <cx:pt idx="9390">6.14175</cx:pt>
          <cx:pt idx="9391">5.6781600000000001</cx:pt>
          <cx:pt idx="9392">1.42302</cx:pt>
          <cx:pt idx="9393">6.14175</cx:pt>
          <cx:pt idx="9394">6.14175</cx:pt>
          <cx:pt idx="9395">4.6103199999999998</cx:pt>
          <cx:pt idx="9396">5.4309900000000004</cx:pt>
          <cx:pt idx="9397">5.4309900000000004</cx:pt>
          <cx:pt idx="9398">6.2842499999999992</cx:pt>
          <cx:pt idx="9399">4.4751199999999995</cx:pt>
          <cx:pt idx="9400">6.9552600000000009</cx:pt>
          <cx:pt idx="9401">7.6782600000000008</cx:pt>
          <cx:pt idx="9402">4.4751199999999995</cx:pt>
          <cx:pt idx="9403">4.74552</cx:pt>
          <cx:pt idx="9404">7.0998599999999996</cx:pt>
          <cx:pt idx="9405">7.0998599999999996</cx:pt>
          <cx:pt idx="9406">3.08962</cx:pt>
          <cx:pt idx="9407">30.1212699999999</cx:pt>
          <cx:pt idx="9408">3.68391</cx:pt>
          <cx:pt idx="9409">5.9613599999999902</cx:pt>
          <cx:pt idx="9410">9.44834</cx:pt>
          <cx:pt idx="9411">5.9613599999999902</cx:pt>
          <cx:pt idx="9412">4.6103199999999998</cx:pt>
          <cx:pt idx="9413">3.68391</cx:pt>
          <cx:pt idx="9414">5.1511199999999997</cx:pt>
          <cx:pt idx="9415">26.628169999999901</cx:pt>
          <cx:pt idx="9416">6.14175</cx:pt>
          <cx:pt idx="9417">5.4309900000000004</cx:pt>
          <cx:pt idx="9418">5.1511199999999997</cx:pt>
          <cx:pt idx="9419">12.93458</cx:pt>
          <cx:pt idx="9420">3.08962</cx:pt>
          <cx:pt idx="9421">5.4309900000000004</cx:pt>
          <cx:pt idx="9422">9.890539999999989</cx:pt>
          <cx:pt idx="9423">4.6103199999999998</cx:pt>
          <cx:pt idx="9424">11.85798</cx:pt>
          <cx:pt idx="9425">31.464769999999898</cx:pt>
          <cx:pt idx="9426">5.1511199999999997</cx:pt>
          <cx:pt idx="9427">5.4309900000000004</cx:pt>
          <cx:pt idx="9428">3.81501</cx:pt>
          <cx:pt idx="9429">10.48014</cx:pt>
          <cx:pt idx="9430">11.704180000000001</cx:pt>
          <cx:pt idx="9431">5.8197600000000005</cx:pt>
          <cx:pt idx="9432">6.2842499999999992</cx:pt>
          <cx:pt idx="9433">4.8807199999999895</cx:pt>
          <cx:pt idx="9434">34.420469999999895</cx:pt>
          <cx:pt idx="9435">13.8573799999999</cx:pt>
          <cx:pt idx="9436">3.68391</cx:pt>
          <cx:pt idx="9437">6.14175</cx:pt>
          <cx:pt idx="9438">6.14175</cx:pt>
          <cx:pt idx="9439">8.1217399999999991</cx:pt>
          <cx:pt idx="9440">6.2842499999999992</cx:pt>
          <cx:pt idx="9441">6.14175</cx:pt>
          <cx:pt idx="9442">3.68391</cx:pt>
          <cx:pt idx="9443">4.4751199999999995</cx:pt>
          <cx:pt idx="9444">7.0998599999999996</cx:pt>
          <cx:pt idx="9445">5.1511199999999997</cx:pt>
          <cx:pt idx="9446">5.4309900000000004</cx:pt>
          <cx:pt idx="9447">5.4309900000000004</cx:pt>
          <cx:pt idx="9448">7.6782600000000008</cx:pt>
          <cx:pt idx="9449">10.92234</cx:pt>
          <cx:pt idx="9450">6.14175</cx:pt>
          <cx:pt idx="9451">5.1511199999999997</cx:pt>
          <cx:pt idx="9452">7.0998599999999996</cx:pt>
          <cx:pt idx="9453">5.4309900000000004</cx:pt>
          <cx:pt idx="9454">5.8197600000000005</cx:pt>
          <cx:pt idx="9455">9.44834</cx:pt>
          <cx:pt idx="9456">3.68391</cx:pt>
          <cx:pt idx="9457">5.1511199999999997</cx:pt>
          <cx:pt idx="9458">26.359470000000002</cx:pt>
          <cx:pt idx="9459">4.3399200000000002</cx:pt>
          <cx:pt idx="9460">5.1511199999999997</cx:pt>
          <cx:pt idx="9461">10.92234</cx:pt>
          <cx:pt idx="9462">3.68391</cx:pt>
          <cx:pt idx="9463">3.68391</cx:pt>
          <cx:pt idx="9464">6.2842499999999992</cx:pt>
          <cx:pt idx="9465">5.4309900000000004</cx:pt>
          <cx:pt idx="9466">3.68391</cx:pt>
          <cx:pt idx="9467">28.777770000000004</cx:pt>
          <cx:pt idx="9468">32.862010000000005</cx:pt>
          <cx:pt idx="9469">5.4309900000000004</cx:pt>
          <cx:pt idx="9470">6.14175</cx:pt>
          <cx:pt idx="9471">3.81501</cx:pt>
          <cx:pt idx="9472">6.2842499999999992</cx:pt>
          <cx:pt idx="9473">3.68391</cx:pt>
          <cx:pt idx="9474">7.6782600000000008</cx:pt>
          <cx:pt idx="9475">5.9613599999999902</cx:pt>
          <cx:pt idx="9476">34.420469999999895</cx:pt>
          <cx:pt idx="9477">9.44834</cx:pt>
          <cx:pt idx="9478">27.702969999999898</cx:pt>
          <cx:pt idx="9479">36.570069999999902</cx:pt>
          <cx:pt idx="9480">10.037939999999999</cx:pt>
          <cx:pt idx="9481">4.20472</cx:pt>
          <cx:pt idx="9482">3.68391</cx:pt>
          <cx:pt idx="9483">5.4309900000000004</cx:pt>
          <cx:pt idx="9484">3.81501</cx:pt>
          <cx:pt idx="9485">10.62754</cx:pt>
          <cx:pt idx="9486">25.822069999999904</cx:pt>
          <cx:pt idx="9487">5.1511199999999997</cx:pt>
          <cx:pt idx="9488">39.042110000000001</cx:pt>
          <cx:pt idx="9489">5.4309900000000004</cx:pt>
          <cx:pt idx="9490">5.6781600000000001</cx:pt>
          <cx:pt idx="9491">5.4309900000000004</cx:pt>
          <cx:pt idx="9492">5.1511199999999997</cx:pt>
          <cx:pt idx="9493">5.4309900000000004</cx:pt>
          <cx:pt idx="9494">5.1511199999999997</cx:pt>
          <cx:pt idx="9495">4.4751199999999995</cx:pt>
          <cx:pt idx="9496">5.4309900000000004</cx:pt>
          <cx:pt idx="9497">5.6781600000000001</cx:pt>
          <cx:pt idx="9498">4.74552</cx:pt>
          <cx:pt idx="9499">4.6103199999999998</cx:pt>
          <cx:pt idx="9500">3.68391</cx:pt>
          <cx:pt idx="9501">5.1511199999999997</cx:pt>
          <cx:pt idx="9502">9.7431400000000004</cx:pt>
          <cx:pt idx="9503">9.44834</cx:pt>
          <cx:pt idx="9504">3.68391</cx:pt>
          <cx:pt idx="9505">4.3399200000000002</cx:pt>
          <cx:pt idx="9506">5.1511199999999997</cx:pt>
          <cx:pt idx="9507">3.81501</cx:pt>
          <cx:pt idx="9508">10.774939999999999</cx:pt>
          <cx:pt idx="9509">2.7050200000000002</cx:pt>
          <cx:pt idx="9510">10.92234</cx:pt>
          <cx:pt idx="9511">3.68391</cx:pt>
          <cx:pt idx="9512">3.08962</cx:pt>
          <cx:pt idx="9513">5.0159200000000004</cx:pt>
          <cx:pt idx="9514">11.704180000000001</cx:pt>
          <cx:pt idx="9515">7.8228599999999995</cx:pt>
          <cx:pt idx="9516">4.4751199999999995</cx:pt>
          <cx:pt idx="9517">5.4309900000000004</cx:pt>
          <cx:pt idx="9518">1.80762</cx:pt>
          <cx:pt idx="9519">3.08962</cx:pt>
          <cx:pt idx="9520">5.4309900000000004</cx:pt>
          <cx:pt idx="9521">6.2842499999999992</cx:pt>
          <cx:pt idx="9522">10.92234</cx:pt>
          <cx:pt idx="9523">5.4309900000000004</cx:pt>
          <cx:pt idx="9524">2.9614199999999999</cx:pt>
          <cx:pt idx="9525">7.0998599999999996</cx:pt>
          <cx:pt idx="9526">5.1511199999999997</cx:pt>
          <cx:pt idx="9527">7.6782599999999892</cx:pt>
          <cx:pt idx="9528">5.1511199999999997</cx:pt>
          <cx:pt idx="9529">4.07721</cx:pt>
          <cx:pt idx="9530">5.4309900000000004</cx:pt>
          <cx:pt idx="9531">5.4309900000000004</cx:pt>
          <cx:pt idx="9532">7.6782599999999892</cx:pt>
          <cx:pt idx="9533">5.4309900000000004</cx:pt>
          <cx:pt idx="9534">7.5336600000000002</cx:pt>
          <cx:pt idx="9535">35.495269999999898</cx:pt>
          <cx:pt idx="9536">9.7431400000000004</cx:pt>
          <cx:pt idx="9537">11.704180000000001</cx:pt>
          <cx:pt idx="9538">5.4309900000000004</cx:pt>
          <cx:pt idx="9539">26.628170000000001</cx:pt>
          <cx:pt idx="9540">6.8106600000000004</cx:pt>
          <cx:pt idx="9541">5.1511199999999997</cx:pt>
          <cx:pt idx="9542">12.01178</cx:pt>
          <cx:pt idx="9543">12.16558</cx:pt>
          <cx:pt idx="9544">4.4751199999999995</cx:pt>
          <cx:pt idx="9545">12.16558</cx:pt>
          <cx:pt idx="9546">5.4309900000000004</cx:pt>
          <cx:pt idx="9547">6.9841800000000207</cx:pt>
          <cx:pt idx="9548">31.733469999999901</cx:pt>
          <cx:pt idx="9549">4.07721</cx:pt>
          <cx:pt idx="9550">3.68391</cx:pt>
          <cx:pt idx="9551">1.80762</cx:pt>
          <cx:pt idx="9552">10.037939999999999</cx:pt>
          <cx:pt idx="9553">34.420469999999895</cx:pt>
          <cx:pt idx="9554">28.777769999999904</cx:pt>
          <cx:pt idx="9555">4.4751199999999995</cx:pt>
          <cx:pt idx="9556">5.6781600000000001</cx:pt>
          <cx:pt idx="9557">5.8197600000000005</cx:pt>
          <cx:pt idx="9558">12.16558</cx:pt>
          <cx:pt idx="9559">5.1511199999999997</cx:pt>
          <cx:pt idx="9560">6.14175</cx:pt>
          <cx:pt idx="9561">4.6103199999999998</cx:pt>
          <cx:pt idx="9562">3.08962</cx:pt>
          <cx:pt idx="9563">6.9552600000000009</cx:pt>
          <cx:pt idx="9564">25.822069999999904</cx:pt>
          <cx:pt idx="9565">6.2842499999999992</cx:pt>
          <cx:pt idx="9566">12.01178</cx:pt>
          <cx:pt idx="9567">28.509069999999898</cx:pt>
          <cx:pt idx="9568">10.92234</cx:pt>
          <cx:pt idx="9569">8.5639399999999899</cx:pt>
          <cx:pt idx="9570">9.44834</cx:pt>
          <cx:pt idx="9571">4.6103199999999998</cx:pt>
          <cx:pt idx="9572">3.94611</cx:pt>
          <cx:pt idx="9573">3.68391</cx:pt>
          <cx:pt idx="9574">6.8106600000000004</cx:pt>
          <cx:pt idx="9575">5.1511199999999997</cx:pt>
          <cx:pt idx="9576">6.5214599999999994</cx:pt>
          <cx:pt idx="9577">26.090769999999903</cx:pt>
          <cx:pt idx="9578">4.4751199999999995</cx:pt>
          <cx:pt idx="9579">3.81501</cx:pt>
          <cx:pt idx="9580">3.68391</cx:pt>
          <cx:pt idx="9581">6.14175</cx:pt>
          <cx:pt idx="9582">13.088379999999999</cx:pt>
          <cx:pt idx="9583">12.78078</cx:pt>
          <cx:pt idx="9584">6.14175</cx:pt>
          <cx:pt idx="9585">6.6660599999999999</cx:pt>
          <cx:pt idx="9586">10.92234</cx:pt>
          <cx:pt idx="9587">6.9552600000000009</cx:pt>
          <cx:pt idx="9588">6.14175</cx:pt>
          <cx:pt idx="9589">10.18534</cx:pt>
          <cx:pt idx="9590">6.14175</cx:pt>
          <cx:pt idx="9591">5.4309900000000004</cx:pt>
          <cx:pt idx="9592">4.20472</cx:pt>
          <cx:pt idx="9593">1.6794199999999999</cx:pt>
          <cx:pt idx="9594">8.7113399999999999</cx:pt>
          <cx:pt idx="9595">10.774939999999999</cx:pt>
          <cx:pt idx="9596">38.719669999999901</cx:pt>
          <cx:pt idx="9597">26.359469999999902</cx:pt>
          <cx:pt idx="9598">14.164979999999899</cx:pt>
          <cx:pt idx="9599">4.4751199999999995</cx:pt>
          <cx:pt idx="9600">5.1511199999999997</cx:pt>
          <cx:pt idx="9601">7.6782600000000008</cx:pt>
          <cx:pt idx="9602">10.48014</cx:pt>
          <cx:pt idx="9603">6.14175</cx:pt>
          <cx:pt idx="9604">14.318779999999901</cx:pt>
          <cx:pt idx="9605">3.81501</cx:pt>
          <cx:pt idx="9606">5.1511199999999997</cx:pt>
          <cx:pt idx="9607">4.4751199999999995</cx:pt>
          <cx:pt idx="9608">5.4309900000000004</cx:pt>
          <cx:pt idx="9609">8.7113399999999999</cx:pt>
          <cx:pt idx="9610">4.4751199999999898</cx:pt>
          <cx:pt idx="9611">43.824969999999603</cx:pt>
          <cx:pt idx="9612">6.14175</cx:pt>
          <cx:pt idx="9613">1.6794199999999999</cx:pt>
          <cx:pt idx="9614">3.81501</cx:pt>
          <cx:pt idx="9615">6.14175</cx:pt>
          <cx:pt idx="9616">4.6103199999999998</cx:pt>
          <cx:pt idx="9617">5.1511199999999997</cx:pt>
          <cx:pt idx="9618">3.42171</cx:pt>
          <cx:pt idx="9619">5.1511199999999997</cx:pt>
          <cx:pt idx="9620">3.68391</cx:pt>
          <cx:pt idx="9621">3.68391</cx:pt>
          <cx:pt idx="9622">10.332739999999999</cx:pt>
          <cx:pt idx="9623">11.550380000000001</cx:pt>
          <cx:pt idx="9624">5.1511199999999997</cx:pt>
          <cx:pt idx="9625">3.08962</cx:pt>
          <cx:pt idx="9626">4.4751199999999995</cx:pt>
          <cx:pt idx="9627">1.42302</cx:pt>
          <cx:pt idx="9628">6.2842499999999992</cx:pt>
          <cx:pt idx="9629">3.81501</cx:pt>
          <cx:pt idx="9630">7.0998599999999996</cx:pt>
          <cx:pt idx="9631">3.81501</cx:pt>
          <cx:pt idx="9632">2.5768200000000001</cx:pt>
          <cx:pt idx="9633">3.08962</cx:pt>
          <cx:pt idx="9634">5.4309900000000004</cx:pt>
          <cx:pt idx="9635">5.9613599999999902</cx:pt>
          <cx:pt idx="9636">6.14175</cx:pt>
          <cx:pt idx="9637">27.97167</cx:pt>
          <cx:pt idx="9638">4.4751199999999898</cx:pt>
          <cx:pt idx="9639">26.090769999999903</cx:pt>
          <cx:pt idx="9640">7.6782600000000008</cx:pt>
          <cx:pt idx="9641">5.4309900000000004</cx:pt>
          <cx:pt idx="9642">11.85798</cx:pt>
          <cx:pt idx="9643">6.2842499999999992</cx:pt>
          <cx:pt idx="9644">5.8197600000000005</cx:pt>
          <cx:pt idx="9645">10.332739999999999</cx:pt>
          <cx:pt idx="9646">4.6103199999999998</cx:pt>
          <cx:pt idx="9647">3.68391</cx:pt>
          <cx:pt idx="9648">3.08962</cx:pt>
          <cx:pt idx="9649">4.4751199999999995</cx:pt>
          <cx:pt idx="9650">5.4309900000000004</cx:pt>
          <cx:pt idx="9651">3.81501</cx:pt>
          <cx:pt idx="9652">5.1511199999999997</cx:pt>
          <cx:pt idx="9653">5.99925</cx:pt>
          <cx:pt idx="9654">7.6782600000000008</cx:pt>
          <cx:pt idx="9655">10.774939999999999</cx:pt>
          <cx:pt idx="9656">4.07721</cx:pt>
          <cx:pt idx="9657">27.97167</cx:pt>
          <cx:pt idx="9658">6.14175</cx:pt>
          <cx:pt idx="9659">6.2842499999999992</cx:pt>
          <cx:pt idx="9660">8.8587399999999992</cx:pt>
          <cx:pt idx="9661">5.4309900000000004</cx:pt>
          <cx:pt idx="9662">3.68391</cx:pt>
          <cx:pt idx="9663">5.4309900000000004</cx:pt>
          <cx:pt idx="9664">5.4309900000000004</cx:pt>
          <cx:pt idx="9665">1.80762</cx:pt>
          <cx:pt idx="9666">5.4309900000000004</cx:pt>
          <cx:pt idx="9667">3.81501</cx:pt>
          <cx:pt idx="9668">3.68391</cx:pt>
          <cx:pt idx="9669">5.9613599999999902</cx:pt>
          <cx:pt idx="9670">6.5214599999999994</cx:pt>
          <cx:pt idx="9671">4.4751199999999995</cx:pt>
          <cx:pt idx="9672">9.44834</cx:pt>
          <cx:pt idx="9673">9.30093999999999</cx:pt>
          <cx:pt idx="9674">6.14175</cx:pt>
          <cx:pt idx="9675">5.4309900000000004</cx:pt>
          <cx:pt idx="9676">7.0998599999999996</cx:pt>
          <cx:pt idx="9677">5.4309900000000004</cx:pt>
          <cx:pt idx="9678">8.5639399999999899</cx:pt>
          <cx:pt idx="9679">2.9614199999999999</cx:pt>
          <cx:pt idx="9680">13.39598</cx:pt>
          <cx:pt idx="9681">6.14175</cx:pt>
          <cx:pt idx="9682">35.468399999999903</cx:pt>
          <cx:pt idx="9683">5.4309900000000004</cx:pt>
          <cx:pt idx="9684">5.4309900000000004</cx:pt>
          <cx:pt idx="9685">14.318779999999901</cx:pt>
          <cx:pt idx="9686">6.9552600000000009</cx:pt>
          <cx:pt idx="9687">5.1511199999999997</cx:pt>
          <cx:pt idx="9688">3.81501</cx:pt>
          <cx:pt idx="9689">6.14175</cx:pt>
          <cx:pt idx="9690">4.20472</cx:pt>
          <cx:pt idx="9691">11.704180000000001</cx:pt>
          <cx:pt idx="9692">6.2842499999999992</cx:pt>
          <cx:pt idx="9693">5.4309900000000004</cx:pt>
          <cx:pt idx="9694">10.92234</cx:pt>
          <cx:pt idx="9695">3.68391</cx:pt>
          <cx:pt idx="9696">7.6782600000000008</cx:pt>
          <cx:pt idx="9697">3.08962</cx:pt>
          <cx:pt idx="9698">10.92234</cx:pt>
          <cx:pt idx="9699">32.539569999999898</cx:pt>
          <cx:pt idx="9700">11.704180000000001</cx:pt>
          <cx:pt idx="9701">6.2842499999999992</cx:pt>
          <cx:pt idx="9702">4.6103199999999998</cx:pt>
          <cx:pt idx="9703">5.1511199999999997</cx:pt>
          <cx:pt idx="9704">5.4309900000000004</cx:pt>
          <cx:pt idx="9705">7.3890599999999997</cx:pt>
          <cx:pt idx="9706">5.8197600000000005</cx:pt>
          <cx:pt idx="9707">3.68391</cx:pt>
          <cx:pt idx="9708">1.6794199999999999</cx:pt>
          <cx:pt idx="9709">8.7113399999999999</cx:pt>
          <cx:pt idx="9710">5.4309900000000004</cx:pt>
          <cx:pt idx="9711">10.92234</cx:pt>
          <cx:pt idx="9712">5.8197600000000005</cx:pt>
          <cx:pt idx="9713">5.4309900000000004</cx:pt>
          <cx:pt idx="9714">7.6782600000000008</cx:pt>
          <cx:pt idx="9715">9.5957399999999993</cx:pt>
          <cx:pt idx="9716">4.6103199999999998</cx:pt>
          <cx:pt idx="9717">6.14175</cx:pt>
          <cx:pt idx="9718">26.359469999999902</cx:pt>
          <cx:pt idx="9719">32.270869999999903</cx:pt>
          <cx:pt idx="9720">2.1922199999999998</cx:pt>
          <cx:pt idx="9721">3.81501</cx:pt>
          <cx:pt idx="9722">12.78078</cx:pt>
          <cx:pt idx="9723">0.91021999999999992</cx:pt>
          <cx:pt idx="9724">12.16558</cx:pt>
          <cx:pt idx="9725">3.81501</cx:pt>
          <cx:pt idx="9726">0.91021999999999992</cx:pt>
          <cx:pt idx="9727">6.2842499999999992</cx:pt>
          <cx:pt idx="9728">12.473180000000001</cx:pt>
          <cx:pt idx="9729">7.2444600000000001</cx:pt>
          <cx:pt idx="9730">35.226569999999903</cx:pt>
          <cx:pt idx="9731">5.1511199999999997</cx:pt>
          <cx:pt idx="9732">26.359469999999902</cx:pt>
          <cx:pt idx="9733">5.8197600000000005</cx:pt>
          <cx:pt idx="9734">5.4309900000000004</cx:pt>
          <cx:pt idx="9735">5.4309900000000004</cx:pt>
          <cx:pt idx="9736">10.62754</cx:pt>
          <cx:pt idx="9737">4.4751199999999995</cx:pt>
          <cx:pt idx="9738">2.1922199999999998</cx:pt>
          <cx:pt idx="9739">5.1511199999999997</cx:pt>
          <cx:pt idx="9740">6.9552600000000009</cx:pt>
          <cx:pt idx="9741">5.9613599999999902</cx:pt>
          <cx:pt idx="9742">11.704180000000001</cx:pt>
          <cx:pt idx="9743">10.92234</cx:pt>
          <cx:pt idx="9744">4.20472</cx:pt>
          <cx:pt idx="9745">6.9552600000000009</cx:pt>
          <cx:pt idx="9746">6.6660599999999999</cx:pt>
          <cx:pt idx="9747">3.68391</cx:pt>
          <cx:pt idx="9748">3.81501</cx:pt>
          <cx:pt idx="9749">6.14175</cx:pt>
          <cx:pt idx="9750">6.14175</cx:pt>
          <cx:pt idx="9751">12.319380000000001</cx:pt>
          <cx:pt idx="9752">5.8197600000000005</cx:pt>
          <cx:pt idx="9753">4.4751199999999995</cx:pt>
          <cx:pt idx="9754">5.4309900000000004</cx:pt>
          <cx:pt idx="9755">9.890539999999989</cx:pt>
          <cx:pt idx="9756">5.1511199999999997</cx:pt>
          <cx:pt idx="9757">5.1511199999999997</cx:pt>
          <cx:pt idx="9758">3.68391</cx:pt>
          <cx:pt idx="9759">10.18534</cx:pt>
          <cx:pt idx="9760">10.18534</cx:pt>
          <cx:pt idx="9761">4.4751199999999995</cx:pt>
          <cx:pt idx="9762">5.1511199999999997</cx:pt>
          <cx:pt idx="9763">5.1511199999999997</cx:pt>
          <cx:pt idx="9764">12.319380000000001</cx:pt>
          <cx:pt idx="9765">10.62754</cx:pt>
          <cx:pt idx="9766">4.4751199999999995</cx:pt>
          <cx:pt idx="9767">6.2842499999999992</cx:pt>
          <cx:pt idx="9768">8.4165399999999995</cx:pt>
          <cx:pt idx="9769">4.4751199999999995</cx:pt>
          <cx:pt idx="9770">7.5336600000000002</cx:pt>
          <cx:pt idx="9771">5.99925</cx:pt>
          <cx:pt idx="9772">35.495269999999898</cx:pt>
          <cx:pt idx="9773">6.9552600000000009</cx:pt>
          <cx:pt idx="9774">5.1511199999999997</cx:pt>
          <cx:pt idx="9775">6.2842499999999992</cx:pt>
          <cx:pt idx="9776">3.81501</cx:pt>
          <cx:pt idx="9777">5.8197600000000005</cx:pt>
          <cx:pt idx="9778">9.5957399999999993</cx:pt>
          <cx:pt idx="9779">4.4751199999999995</cx:pt>
          <cx:pt idx="9780">5.4309900000000004</cx:pt>
          <cx:pt idx="9781">6.14175</cx:pt>
          <cx:pt idx="9782">6.6660599999999999</cx:pt>
          <cx:pt idx="9783">5.99925</cx:pt>
          <cx:pt idx="9784">6.14175</cx:pt>
          <cx:pt idx="9785">26.628169999999901</cx:pt>
          <cx:pt idx="9786">1.55122</cx:pt>
          <cx:pt idx="9787">3.29061</cx:pt>
          <cx:pt idx="9788">2.9614199999999999</cx:pt>
          <cx:pt idx="9789">9.44834</cx:pt>
          <cx:pt idx="9790">10.92234</cx:pt>
          <cx:pt idx="9791">29.315169999999902</cx:pt>
          <cx:pt idx="9792">6.2842499999999992</cx:pt>
          <cx:pt idx="9793">29.046469999999903</cx:pt>
          <cx:pt idx="9794">9.5957399999999993</cx:pt>
          <cx:pt idx="9795">5.4309900000000004</cx:pt>
          <cx:pt idx="9796">4.4751199999999995</cx:pt>
          <cx:pt idx="9797">6.9552600000000009</cx:pt>
          <cx:pt idx="9798">10.774939999999999</cx:pt>
          <cx:pt idx="9799">5.9613599999999902</cx:pt>
          <cx:pt idx="9800">2.3204199999999999</cx:pt>
          <cx:pt idx="9801">3.68391</cx:pt>
          <cx:pt idx="9802">7.3890599999999997</cx:pt>
          <cx:pt idx="9803">4.3399200000000002</cx:pt>
          <cx:pt idx="9804">6.2842499999999992</cx:pt>
          <cx:pt idx="9805">5.6781600000000001</cx:pt>
          <cx:pt idx="9806">5.99925</cx:pt>
          <cx:pt idx="9807">3.81501</cx:pt>
          <cx:pt idx="9808">5.1511199999999997</cx:pt>
          <cx:pt idx="9809">6.9552600000000009</cx:pt>
          <cx:pt idx="9810">5.1511199999999997</cx:pt>
          <cx:pt idx="9811">3.68391</cx:pt>
          <cx:pt idx="9812">6.2842499999999992</cx:pt>
          <cx:pt idx="9813">5.4309900000000004</cx:pt>
          <cx:pt idx="9814">12.473180000000001</cx:pt>
          <cx:pt idx="9815">3.81501</cx:pt>
          <cx:pt idx="9816">3.68391</cx:pt>
          <cx:pt idx="9817">6.14175</cx:pt>
          <cx:pt idx="9818">7.0998599999999996</cx:pt>
          <cx:pt idx="9819">10.92234</cx:pt>
          <cx:pt idx="9820">11.85798</cx:pt>
          <cx:pt idx="9821">5.4309900000000004</cx:pt>
          <cx:pt idx="9822">5.4309900000000004</cx:pt>
          <cx:pt idx="9823">6.14175</cx:pt>
          <cx:pt idx="9824">10.037939999999999</cx:pt>
          <cx:pt idx="9825">5.6781600000000001</cx:pt>
          <cx:pt idx="9826">33.883069999999897</cx:pt>
          <cx:pt idx="9827">12.16558</cx:pt>
          <cx:pt idx="9828">5.4309900000000004</cx:pt>
          <cx:pt idx="9829">1.80762</cx:pt>
          <cx:pt idx="9830">5.4309900000000004</cx:pt>
          <cx:pt idx="9831">3.68391</cx:pt>
          <cx:pt idx="9832">30.927369999999897</cx:pt>
          <cx:pt idx="9833">5.1511199999999997</cx:pt>
          <cx:pt idx="9834">3.68391</cx:pt>
          <cx:pt idx="9835">6.14175</cx:pt>
          <cx:pt idx="9836">29.046469999999903</cx:pt>
          <cx:pt idx="9837">6.9552600000000009</cx:pt>
          <cx:pt idx="9838">5.6781600000000001</cx:pt>
          <cx:pt idx="9839">10.037939999999999</cx:pt>
          <cx:pt idx="9840">1.80762</cx:pt>
          <cx:pt idx="9841">10.774939999999999</cx:pt>
          <cx:pt idx="9842">4.4751199999999995</cx:pt>
          <cx:pt idx="9843">5.1511199999999997</cx:pt>
          <cx:pt idx="9844">5.6781600000000001</cx:pt>
          <cx:pt idx="9845">4.20472</cx:pt>
          <cx:pt idx="9846">5.1511199999999997</cx:pt>
          <cx:pt idx="9847">12.01178</cx:pt>
          <cx:pt idx="9848">12.01178</cx:pt>
          <cx:pt idx="9849">3.29061</cx:pt>
          <cx:pt idx="9850">4.4751199999999995</cx:pt>
          <cx:pt idx="9851">4.20472</cx:pt>
          <cx:pt idx="9852">5.4309900000000004</cx:pt>
          <cx:pt idx="9853">5.9613599999999902</cx:pt>
          <cx:pt idx="9854">10.774939999999999</cx:pt>
          <cx:pt idx="9855">3.81501</cx:pt>
          <cx:pt idx="9856">3.68391</cx:pt>
          <cx:pt idx="9857">10.92234</cx:pt>
          <cx:pt idx="9858">4.4751199999999995</cx:pt>
          <cx:pt idx="9859">29.315169999999902</cx:pt>
          <cx:pt idx="9860">10.037939999999999</cx:pt>
          <cx:pt idx="9861">3.42171</cx:pt>
          <cx:pt idx="9862">11.85798</cx:pt>
          <cx:pt idx="9863">3.68391</cx:pt>
          <cx:pt idx="9864">1.6794199999999999</cx:pt>
          <cx:pt idx="9865">6.14175</cx:pt>
          <cx:pt idx="9866">3.42171</cx:pt>
          <cx:pt idx="9867">5.6781600000000001</cx:pt>
          <cx:pt idx="9868">3.08962</cx:pt>
          <cx:pt idx="9869">6.2842499999999992</cx:pt>
          <cx:pt idx="9870">5.4309900000000004</cx:pt>
          <cx:pt idx="9871">5.1511199999999997</cx:pt>
          <cx:pt idx="9872">6.2842499999999992</cx:pt>
          <cx:pt idx="9873">6.1275000000000004</cx:pt>
          <cx:pt idx="9874">6.9552600000000009</cx:pt>
          <cx:pt idx="9875">28.777769999999904</cx:pt>
          <cx:pt idx="9876">10.62754</cx:pt>
          <cx:pt idx="9877">12.780779999999901</cx:pt>
          <cx:pt idx="9878">11.704180000000001</cx:pt>
          <cx:pt idx="9879">3.08962</cx:pt>
          <cx:pt idx="9880">5.4309900000000004</cx:pt>
          <cx:pt idx="9881">4.3399200000000002</cx:pt>
          <cx:pt idx="9882">5.4309900000000004</cx:pt>
          <cx:pt idx="9883">5.8197600000000005</cx:pt>
          <cx:pt idx="9884">5.4309900000000004</cx:pt>
          <cx:pt idx="9885">5.1511199999999997</cx:pt>
          <cx:pt idx="9886">9.44834</cx:pt>
          <cx:pt idx="9887">11.704180000000001</cx:pt>
          <cx:pt idx="9888">7.6782600000000008</cx:pt>
          <cx:pt idx="9889">5.9613599999999902</cx:pt>
          <cx:pt idx="9890">9.44834</cx:pt>
          <cx:pt idx="9891">6.2842499999999992</cx:pt>
          <cx:pt idx="9892">5.4309900000000004</cx:pt>
          <cx:pt idx="9893">6.9552600000000009</cx:pt>
          <cx:pt idx="9894">5.4309900000000004</cx:pt>
          <cx:pt idx="9895">10.92234</cx:pt>
          <cx:pt idx="9896">26.090769999999903</cx:pt>
          <cx:pt idx="9897">4.4751199999999995</cx:pt>
          <cx:pt idx="9898">4.4751199999999995</cx:pt>
          <cx:pt idx="9899">6.14175</cx:pt>
          <cx:pt idx="9900">5.4309900000000004</cx:pt>
          <cx:pt idx="9901">14.164979999999899</cx:pt>
          <cx:pt idx="9902">4.4751199999999995</cx:pt>
          <cx:pt idx="9903">10.18534</cx:pt>
          <cx:pt idx="9904">5.4309900000000004</cx:pt>
          <cx:pt idx="9905">25.822069999999904</cx:pt>
          <cx:pt idx="9906">12.78078</cx:pt>
          <cx:pt idx="9907">6.14175</cx:pt>
          <cx:pt idx="9908">5.8197600000000005</cx:pt>
          <cx:pt idx="9909">3.68391</cx:pt>
          <cx:pt idx="9910">5.9613599999999902</cx:pt>
          <cx:pt idx="9911">4.4751199999999995</cx:pt>
          <cx:pt idx="9912">3.68391</cx:pt>
          <cx:pt idx="9913">6.14175</cx:pt>
          <cx:pt idx="9914">3.94611</cx:pt>
          <cx:pt idx="9915">10.92234</cx:pt>
          <cx:pt idx="9916">8.5639399999999899</cx:pt>
          <cx:pt idx="9917">3.81501</cx:pt>
          <cx:pt idx="9918">6.14175</cx:pt>
          <cx:pt idx="9919">5.1511199999999997</cx:pt>
          <cx:pt idx="9920">10.332739999999999</cx:pt>
          <cx:pt idx="9921">6.2842499999999992</cx:pt>
          <cx:pt idx="9922">4.20472</cx:pt>
          <cx:pt idx="9923">5.4309900000000004</cx:pt>
          <cx:pt idx="9924">7.3890599999999997</cx:pt>
          <cx:pt idx="9925">2.3204199999999999</cx:pt>
          <cx:pt idx="9926">12.01178</cx:pt>
          <cx:pt idx="9927">4.4751199999999995</cx:pt>
          <cx:pt idx="9928">28.777770000000004</cx:pt>
          <cx:pt idx="9929">3.81501</cx:pt>
          <cx:pt idx="9930">6.14175</cx:pt>
          <cx:pt idx="9931">5.6781600000000001</cx:pt>
          <cx:pt idx="9932">3.68391</cx:pt>
          <cx:pt idx="9933">28.777769999999904</cx:pt>
          <cx:pt idx="9934">7.6782600000000008</cx:pt>
          <cx:pt idx="9935">5.4309900000000004</cx:pt>
          <cx:pt idx="9936">10.62754</cx:pt>
          <cx:pt idx="9937">3.68391</cx:pt>
          <cx:pt idx="9938">10.037939999999999</cx:pt>
          <cx:pt idx="9939">8.4165399999999995</cx:pt>
          <cx:pt idx="9940">5.1511199999999997</cx:pt>
          <cx:pt idx="9941">29.315169999999902</cx:pt>
          <cx:pt idx="9942">6.14175</cx:pt>
          <cx:pt idx="9943">11.704180000000001</cx:pt>
          <cx:pt idx="9944">3.68391</cx:pt>
          <cx:pt idx="9945">5.1511199999999997</cx:pt>
          <cx:pt idx="9946">5.6781600000000001</cx:pt>
          <cx:pt idx="9947">31.464769999999898</cx:pt>
          <cx:pt idx="9948">10.774939999999999</cx:pt>
          <cx:pt idx="9949">3.68391</cx:pt>
          <cx:pt idx="9950">10.92234</cx:pt>
          <cx:pt idx="9951">5.4309900000000004</cx:pt>
          <cx:pt idx="9952">5.1511199999999997</cx:pt>
          <cx:pt idx="9953">4.6103199999999998</cx:pt>
          <cx:pt idx="9954">11.704180000000001</cx:pt>
          <cx:pt idx="9955">3.68391</cx:pt>
          <cx:pt idx="9956">6.14175</cx:pt>
          <cx:pt idx="9957">3.42171</cx:pt>
          <cx:pt idx="9958">6.8106600000000004</cx:pt>
          <cx:pt idx="9959">6.2842499999999992</cx:pt>
          <cx:pt idx="9960">5.1511199999999997</cx:pt>
          <cx:pt idx="9961">4.6103199999999998</cx:pt>
          <cx:pt idx="9962">10.774939999999999</cx:pt>
          <cx:pt idx="9963">4.4751199999999995</cx:pt>
          <cx:pt idx="9964">3.68391</cx:pt>
          <cx:pt idx="9965">13.888139999999998</cx:pt>
          <cx:pt idx="9966">7.6782600000000008</cx:pt>
          <cx:pt idx="9967">1.80762</cx:pt>
          <cx:pt idx="9968">5.1511199999999997</cx:pt>
          <cx:pt idx="9969">14.472579999999899</cx:pt>
          <cx:pt idx="9970">5.4309900000000004</cx:pt>
          <cx:pt idx="9971">5.4309900000000004</cx:pt>
          <cx:pt idx="9972">5.8197600000000005</cx:pt>
          <cx:pt idx="9973">40.869269999999901</cx:pt>
          <cx:pt idx="9974">10.62754</cx:pt>
          <cx:pt idx="9975">9.44834</cx:pt>
          <cx:pt idx="9976">6.14175</cx:pt>
          <cx:pt idx="9977">4.4751199999999995</cx:pt>
          <cx:pt idx="9978">5.1511199999999997</cx:pt>
          <cx:pt idx="9979">3.68391</cx:pt>
          <cx:pt idx="9980">5.6781600000000001</cx:pt>
          <cx:pt idx="9981">8.2691400000000002</cx:pt>
          <cx:pt idx="9982">6.14175</cx:pt>
          <cx:pt idx="9983">9.7431400000000004</cx:pt>
          <cx:pt idx="9984">11.704180000000001</cx:pt>
          <cx:pt idx="9985">5.1511199999999997</cx:pt>
          <cx:pt idx="9986">8.7113399999999999</cx:pt>
          <cx:pt idx="9987">5.1511199999999997</cx:pt>
          <cx:pt idx="9988">5.1511199999999997</cx:pt>
          <cx:pt idx="9989">5.1511199999999997</cx:pt>
          <cx:pt idx="9990">11.704180000000001</cx:pt>
          <cx:pt idx="9991">8.2691400000000002</cx:pt>
          <cx:pt idx="9992">5.4309900000000004</cx:pt>
          <cx:pt idx="9993">3.08962</cx:pt>
          <cx:pt idx="9994">7.0998599999999996</cx:pt>
          <cx:pt idx="9995">35.495269999999898</cx:pt>
          <cx:pt idx="9996">6.2842499999999992</cx:pt>
          <cx:pt idx="9997">3.81501</cx:pt>
          <cx:pt idx="9998">10.62754</cx:pt>
          <cx:pt idx="9999">5.4309900000000004</cx:pt>
          <cx:pt idx="10000">10.92234</cx:pt>
          <cx:pt idx="10001">5.4309900000000004</cx:pt>
          <cx:pt idx="10002">12.01178</cx:pt>
          <cx:pt idx="10003">5.4309900000000004</cx:pt>
          <cx:pt idx="10004">29.046470000000003</cx:pt>
          <cx:pt idx="10005">8.8587399999999992</cx:pt>
          <cx:pt idx="10006">11.85798</cx:pt>
          <cx:pt idx="10007">3.68391</cx:pt>
          <cx:pt idx="10008">6.6660599999999999</cx:pt>
          <cx:pt idx="10009">6.14175</cx:pt>
          <cx:pt idx="10010">1.80762</cx:pt>
          <cx:pt idx="10011">3.81501</cx:pt>
          <cx:pt idx="10012">6.2842499999999992</cx:pt>
          <cx:pt idx="10013">10.18534</cx:pt>
          <cx:pt idx="10014">3.08962</cx:pt>
          <cx:pt idx="10015">5.9613599999999902</cx:pt>
          <cx:pt idx="10016">5.4309900000000004</cx:pt>
          <cx:pt idx="10017">5.4309900000000004</cx:pt>
          <cx:pt idx="10018">9.5957399999999993</cx:pt>
          <cx:pt idx="10019">5.4309900000000004</cx:pt>
          <cx:pt idx="10020">6.5214599999999994</cx:pt>
          <cx:pt idx="10021">7.6782600000000008</cx:pt>
          <cx:pt idx="10022">3.68391</cx:pt>
          <cx:pt idx="10023">5.8197600000000005</cx:pt>
          <cx:pt idx="10024">26.89687</cx:pt>
          <cx:pt idx="10025">5.1511199999999997</cx:pt>
          <cx:pt idx="10026">34.1517699999999</cx:pt>
          <cx:pt idx="10027">4.4751199999999898</cx:pt>
          <cx:pt idx="10028">6.14175</cx:pt>
          <cx:pt idx="10029">3.68391</cx:pt>
          <cx:pt idx="10030">11.85798</cx:pt>
          <cx:pt idx="10031">3.94611</cx:pt>
          <cx:pt idx="10032">29.583869999999902</cx:pt>
          <cx:pt idx="10033">10.037939999999999</cx:pt>
          <cx:pt idx="10034">9.890539999999989</cx:pt>
          <cx:pt idx="10035">10.18534</cx:pt>
          <cx:pt idx="10036">33.076969999999903</cx:pt>
          <cx:pt idx="10037">4.4751199999999995</cx:pt>
          <cx:pt idx="10038">5.1511199999999997</cx:pt>
          <cx:pt idx="10039">6.14175</cx:pt>
          <cx:pt idx="10040">5.8197600000000005</cx:pt>
          <cx:pt idx="10041">5.8197600000000005</cx:pt>
          <cx:pt idx="10042">10.92234</cx:pt>
          <cx:pt idx="10043">4.4751199999999995</cx:pt>
          <cx:pt idx="10044">3.08962</cx:pt>
          <cx:pt idx="10045">6.14175</cx:pt>
          <cx:pt idx="10046">5.8197600000000005</cx:pt>
          <cx:pt idx="10047">3.08962</cx:pt>
          <cx:pt idx="10048">4.4751199999999995</cx:pt>
          <cx:pt idx="10049">3.81501</cx:pt>
          <cx:pt idx="10050">4.6103199999999998</cx:pt>
          <cx:pt idx="10051">3.81501</cx:pt>
          <cx:pt idx="10052">5.4309900000000004</cx:pt>
          <cx:pt idx="10053">4.4751199999999995</cx:pt>
          <cx:pt idx="10054">31.464769999999898</cx:pt>
          <cx:pt idx="10055">10.92234</cx:pt>
          <cx:pt idx="10056">13.703579999999899</cx:pt>
          <cx:pt idx="10057">34.1517699999999</cx:pt>
          <cx:pt idx="10058">5.4309900000000004</cx:pt>
          <cx:pt idx="10059">5.8056000000000001</cx:pt>
          <cx:pt idx="10060">3.68391</cx:pt>
          <cx:pt idx="10061">6.14175</cx:pt>
          <cx:pt idx="10062">7.0998599999999996</cx:pt>
          <cx:pt idx="10063">6.5214599999999994</cx:pt>
          <cx:pt idx="10064">7.8228599999999995</cx:pt>
          <cx:pt idx="10065">4.6103199999999998</cx:pt>
          <cx:pt idx="10066">12.01178</cx:pt>
          <cx:pt idx="10067">3.08962</cx:pt>
          <cx:pt idx="10068">6.6660599999999999</cx:pt>
          <cx:pt idx="10069">6.14175</cx:pt>
          <cx:pt idx="10070">5.8197600000000005</cx:pt>
          <cx:pt idx="10071">7.0998599999999996</cx:pt>
          <cx:pt idx="10072">5.1511199999999997</cx:pt>
          <cx:pt idx="10073">10.62754</cx:pt>
          <cx:pt idx="10074">6.14175</cx:pt>
          <cx:pt idx="10075">4.6103199999999998</cx:pt>
          <cx:pt idx="10076">27.702969999999898</cx:pt>
          <cx:pt idx="10077">10.774939999999999</cx:pt>
          <cx:pt idx="10078">6.4057800000000302</cx:pt>
          <cx:pt idx="10079">5.6781600000000001</cx:pt>
          <cx:pt idx="10080">8.8587399999999992</cx:pt>
          <cx:pt idx="10081">11.704180000000001</cx:pt>
          <cx:pt idx="10082">6.5503800000000192</cx:pt>
          <cx:pt idx="10083">3.08962</cx:pt>
          <cx:pt idx="10084">4.4751199999999995</cx:pt>
          <cx:pt idx="10085">2.44862</cx:pt>
          <cx:pt idx="10086">3.81501</cx:pt>
          <cx:pt idx="10087">4.4751199999999995</cx:pt>
          <cx:pt idx="10088">6.6660599999999999</cx:pt>
          <cx:pt idx="10089">2.1922199999999998</cx:pt>
          <cx:pt idx="10090">27.97167</cx:pt>
          <cx:pt idx="10091">2.8332199999999998</cx:pt>
          <cx:pt idx="10092">12.0117799999999</cx:pt>
          <cx:pt idx="10093">7.5336600000000002</cx:pt>
          <cx:pt idx="10094">10.92234</cx:pt>
          <cx:pt idx="10095">7.0998599999999996</cx:pt>
          <cx:pt idx="10096">4.4751199999999995</cx:pt>
          <cx:pt idx="10097">29.046470000000003</cx:pt>
          <cx:pt idx="10098">3.81501</cx:pt>
          <cx:pt idx="10099">5.4309900000000004</cx:pt>
          <cx:pt idx="10100">4.20472</cx:pt>
          <cx:pt idx="10101">28.777769999999904</cx:pt>
          <cx:pt idx="10102">12.01178</cx:pt>
          <cx:pt idx="10103">14.472579999999999</cx:pt>
          <cx:pt idx="10104">5.99925</cx:pt>
          <cx:pt idx="10105">6.14175</cx:pt>
          <cx:pt idx="10106">10.92234</cx:pt>
          <cx:pt idx="10107">3.08962</cx:pt>
          <cx:pt idx="10108">6.2842499999999992</cx:pt>
          <cx:pt idx="10109">3.08962</cx:pt>
          <cx:pt idx="10110">6.6660599999999999</cx:pt>
          <cx:pt idx="10111">5.1511199999999997</cx:pt>
          <cx:pt idx="10112">4.3399200000000002</cx:pt>
          <cx:pt idx="10113">4.4751199999999995</cx:pt>
          <cx:pt idx="10114">1.6794199999999999</cx:pt>
          <cx:pt idx="10115">4.3399200000000002</cx:pt>
          <cx:pt idx="10116">5.4309900000000004</cx:pt>
          <cx:pt idx="10117">0.91021999999999992</cx:pt>
          <cx:pt idx="10118">9.30093999999999</cx:pt>
          <cx:pt idx="10119">30.658669999999898</cx:pt>
          <cx:pt idx="10120">6.14175</cx:pt>
          <cx:pt idx="10121">1.80762</cx:pt>
          <cx:pt idx="10122">37.91357</cx:pt>
          <cx:pt idx="10123">6.14175</cx:pt>
          <cx:pt idx="10124">26.628170000000001</cx:pt>
          <cx:pt idx="10125">6.2842499999999992</cx:pt>
          <cx:pt idx="10126">11.704180000000001</cx:pt>
          <cx:pt idx="10127">3.68391</cx:pt>
          <cx:pt idx="10128">14.31878</cx:pt>
          <cx:pt idx="10129">11.704180000000001</cx:pt>
          <cx:pt idx="10130">25.822069999999904</cx:pt>
          <cx:pt idx="10131">5.1511199999999997</cx:pt>
          <cx:pt idx="10132">10.774939999999999</cx:pt>
          <cx:pt idx="10133">13.27294</cx:pt>
          <cx:pt idx="10134">5.4309900000000004</cx:pt>
          <cx:pt idx="10135">3.81501</cx:pt>
          <cx:pt idx="10136">2.9614199999999999</cx:pt>
          <cx:pt idx="10137">1.6794199999999999</cx:pt>
          <cx:pt idx="10138">5.4309900000000004</cx:pt>
          <cx:pt idx="10139">3.29061</cx:pt>
          <cx:pt idx="10140">36.838769999999897</cx:pt>
          <cx:pt idx="10141">31.733470000000004</cx:pt>
          <cx:pt idx="10142">3.68391</cx:pt>
          <cx:pt idx="10143">33.614369999999901</cx:pt>
          <cx:pt idx="10144">5.4309900000000004</cx:pt>
          <cx:pt idx="10145">4.6103199999999998</cx:pt>
          <cx:pt idx="10146">9.30093999999999</cx:pt>
          <cx:pt idx="10147">10.774939999999999</cx:pt>
          <cx:pt idx="10148">5.1511199999999997</cx:pt>
          <cx:pt idx="10149">6.14175</cx:pt>
          <cx:pt idx="10150">4.07721</cx:pt>
          <cx:pt idx="10151">28.509069999999898</cx:pt>
          <cx:pt idx="10152">9.44834</cx:pt>
          <cx:pt idx="10153">28.777769999999904</cx:pt>
          <cx:pt idx="10154">5.9613599999999902</cx:pt>
          <cx:pt idx="10155">10.332739999999999</cx:pt>
          <cx:pt idx="10156">5.4309900000000004</cx:pt>
          <cx:pt idx="10157">4.4751199999999995</cx:pt>
          <cx:pt idx="10158">2.3204199999999999</cx:pt>
          <cx:pt idx="10159">3.42171</cx:pt>
          <cx:pt idx="10160">5.1511199999999997</cx:pt>
          <cx:pt idx="10161">5.1511199999999997</cx:pt>
          <cx:pt idx="10162">3.81501</cx:pt>
          <cx:pt idx="10163">5.1511199999999997</cx:pt>
          <cx:pt idx="10164">1.6794199999999999</cx:pt>
          <cx:pt idx="10165">13.0883799999999</cx:pt>
          <cx:pt idx="10166">4.6103199999999998</cx:pt>
          <cx:pt idx="10167">6.14175</cx:pt>
          <cx:pt idx="10168">36.032670000000003</cx:pt>
          <cx:pt idx="10169">12.01178</cx:pt>
          <cx:pt idx="10170">31.464769999999998</cx:pt>
          <cx:pt idx="10171">11.704180000000001</cx:pt>
          <cx:pt idx="10172">4.4751199999999995</cx:pt>
          <cx:pt idx="10173">4.4751199999999995</cx:pt>
          <cx:pt idx="10174">3.81501</cx:pt>
          <cx:pt idx="10175">47.049369999999705</cx:pt>
          <cx:pt idx="10176">5.9613599999999902</cx:pt>
          <cx:pt idx="10177">6.8106600000000004</cx:pt>
          <cx:pt idx="10178">12.780779999999901</cx:pt>
          <cx:pt idx="10179">4.4751199999999995</cx:pt>
          <cx:pt idx="10180">6.14175</cx:pt>
          <cx:pt idx="10181">4.4751199999999995</cx:pt>
          <cx:pt idx="10182">14.6263799999999</cx:pt>
          <cx:pt idx="10183">6.2842499999999992</cx:pt>
          <cx:pt idx="10184">3.68391</cx:pt>
          <cx:pt idx="10185">12.93458</cx:pt>
          <cx:pt idx="10186">6.14175</cx:pt>
          <cx:pt idx="10187">5.4309900000000004</cx:pt>
          <cx:pt idx="10188">4.4751199999999995</cx:pt>
          <cx:pt idx="10189">6.2842499999999992</cx:pt>
          <cx:pt idx="10190">6.6660599999999999</cx:pt>
          <cx:pt idx="10191">12.78078</cx:pt>
          <cx:pt idx="10192">10.037939999999999</cx:pt>
          <cx:pt idx="10193">10.92234</cx:pt>
          <cx:pt idx="10194">4.3399200000000002</cx:pt>
          <cx:pt idx="10195">10.18534</cx:pt>
          <cx:pt idx="10196">5.6781600000000001</cx:pt>
          <cx:pt idx="10197">4.4751199999999995</cx:pt>
          <cx:pt idx="10198">5.1511199999999997</cx:pt>
          <cx:pt idx="10199">32.0021699999999</cx:pt>
          <cx:pt idx="10200">9.5957399999999993</cx:pt>
          <cx:pt idx="10201">4.6103199999999998</cx:pt>
          <cx:pt idx="10202">10.18534</cx:pt>
          <cx:pt idx="10203">27.97167</cx:pt>
          <cx:pt idx="10204">4.4751199999999995</cx:pt>
          <cx:pt idx="10205">29.046469999999903</cx:pt>
          <cx:pt idx="10206">6.5214599999999994</cx:pt>
          <cx:pt idx="10207">5.4309900000000004</cx:pt>
          <cx:pt idx="10208">4.4751199999999995</cx:pt>
          <cx:pt idx="10209">6.2842499999999992</cx:pt>
          <cx:pt idx="10210">5.4309900000000004</cx:pt>
          <cx:pt idx="10211">27.702970000000001</cx:pt>
          <cx:pt idx="10212">3.68391</cx:pt>
          <cx:pt idx="10213">9.44834</cx:pt>
          <cx:pt idx="10214">4.4751199999999995</cx:pt>
          <cx:pt idx="10215">4.6103199999999998</cx:pt>
          <cx:pt idx="10216">50.811169999999898</cx:pt>
          <cx:pt idx="10217">4.4751199999999995</cx:pt>
          <cx:pt idx="10218">7.6782600000000008</cx:pt>
          <cx:pt idx="10219">4.6103199999999998</cx:pt>
          <cx:pt idx="10220">1.6794199999999999</cx:pt>
          <cx:pt idx="10221">10.92234</cx:pt>
          <cx:pt idx="10222">4.4751199999999995</cx:pt>
          <cx:pt idx="10223">4.4751199999999995</cx:pt>
          <cx:pt idx="10224">10.48014</cx:pt>
          <cx:pt idx="10225">6.14175</cx:pt>
          <cx:pt idx="10226">5.6781600000000001</cx:pt>
          <cx:pt idx="10227">12.01178</cx:pt>
          <cx:pt idx="10228">5.8197600000000005</cx:pt>
          <cx:pt idx="10229">10.774939999999999</cx:pt>
          <cx:pt idx="10230">14.16498</cx:pt>
          <cx:pt idx="10231">6.2842499999999992</cx:pt>
          <cx:pt idx="10232">27.702969999999898</cx:pt>
          <cx:pt idx="10233">10.037939999999999</cx:pt>
          <cx:pt idx="10234">3.68391</cx:pt>
          <cx:pt idx="10235">6.5214599999999994</cx:pt>
          <cx:pt idx="10236">5.4309900000000004</cx:pt>
          <cx:pt idx="10237">5.4309900000000004</cx:pt>
          <cx:pt idx="10238">43.824969999999702</cx:pt>
          <cx:pt idx="10239">6.2842499999999992</cx:pt>
          <cx:pt idx="10240">5.8197600000000005</cx:pt>
          <cx:pt idx="10241">5.8480800000000199</cx:pt>
          <cx:pt idx="10242">5.6781600000000001</cx:pt>
          <cx:pt idx="10243">5.4309900000000004</cx:pt>
          <cx:pt idx="10244">4.6103199999999998</cx:pt>
          <cx:pt idx="10245">3.08962</cx:pt>
          <cx:pt idx="10246">3.68391</cx:pt>
          <cx:pt idx="10247">5.1511199999999997</cx:pt>
          <cx:pt idx="10248">3.68391</cx:pt>
          <cx:pt idx="10249">5.4309900000000004</cx:pt>
          <cx:pt idx="10250">28.240369999999999</cx:pt>
          <cx:pt idx="10251">1.42301999999999</cx:pt>
          <cx:pt idx="10252">3.68391</cx:pt>
          <cx:pt idx="10253">3.68391</cx:pt>
          <cx:pt idx="10254">6.9552600000000009</cx:pt>
          <cx:pt idx="10255">6.14175</cx:pt>
          <cx:pt idx="10256">6.2842499999999992</cx:pt>
          <cx:pt idx="10257">8.8882200000000307</cx:pt>
          <cx:pt idx="10258">5.1511199999999997</cx:pt>
          <cx:pt idx="10259">7.5336600000000002</cx:pt>
          <cx:pt idx="10260">26.628169999999901</cx:pt>
          <cx:pt idx="10261">4.3399200000000002</cx:pt>
          <cx:pt idx="10262">3.81501</cx:pt>
          <cx:pt idx="10263">12.319379999999901</cx:pt>
          <cx:pt idx="10264">6.14175</cx:pt>
          <cx:pt idx="10265">6.2842499999999992</cx:pt>
          <cx:pt idx="10266">10.037939999999999</cx:pt>
          <cx:pt idx="10267">12.0117799999999</cx:pt>
          <cx:pt idx="10268">5.4309900000000004</cx:pt>
          <cx:pt idx="10269">26.628170000000001</cx:pt>
          <cx:pt idx="10270">10.18534</cx:pt>
          <cx:pt idx="10271">6.2842499999999992</cx:pt>
          <cx:pt idx="10272">32.808269999999901</cx:pt>
          <cx:pt idx="10273">8.7113399999999999</cx:pt>
          <cx:pt idx="10274">4.4751199999999995</cx:pt>
          <cx:pt idx="10275">3.68391</cx:pt>
          <cx:pt idx="10276">8.4165399999999995</cx:pt>
          <cx:pt idx="10277">5.1511199999999997</cx:pt>
          <cx:pt idx="10278">3.42171</cx:pt>
          <cx:pt idx="10279">4.6103199999999998</cx:pt>
          <cx:pt idx="10280">6.6660599999999999</cx:pt>
          <cx:pt idx="10281">10.62754</cx:pt>
          <cx:pt idx="10282">5.1511199999999997</cx:pt>
          <cx:pt idx="10283">1.6794199999999999</cx:pt>
          <cx:pt idx="10284">6.9552600000000009</cx:pt>
          <cx:pt idx="10285">6.6660599999999999</cx:pt>
          <cx:pt idx="10286">41.406669999999899</cx:pt>
          <cx:pt idx="10287">28.777770000000004</cx:pt>
          <cx:pt idx="10288">5.4309900000000004</cx:pt>
          <cx:pt idx="10289">4.6103199999999998</cx:pt>
          <cx:pt idx="10290">3.81501</cx:pt>
          <cx:pt idx="10291">10.774939999999999</cx:pt>
          <cx:pt idx="10292">1.6794199999999999</cx:pt>
          <cx:pt idx="10293">10.18534</cx:pt>
          <cx:pt idx="10294">8.5639399999999899</cx:pt>
          <cx:pt idx="10295">5.1511199999999997</cx:pt>
          <cx:pt idx="10296">5.9613599999999902</cx:pt>
          <cx:pt idx="10297">5.1511199999999997</cx:pt>
          <cx:pt idx="10298">5.1511199999999997</cx:pt>
          <cx:pt idx="10299">26.359469999999902</cx:pt>
          <cx:pt idx="10300">12.4731799999999</cx:pt>
          <cx:pt idx="10301">3.81501</cx:pt>
          <cx:pt idx="10302">4.4751199999999995</cx:pt>
          <cx:pt idx="10303">5.4309900000000004</cx:pt>
          <cx:pt idx="10304">6.14175</cx:pt>
          <cx:pt idx="10305">5.4309900000000004</cx:pt>
          <cx:pt idx="10306">5.1511199999999997</cx:pt>
          <cx:pt idx="10307">1.80762</cx:pt>
          <cx:pt idx="10308">5.4309900000000004</cx:pt>
          <cx:pt idx="10309">6.2842499999999992</cx:pt>
          <cx:pt idx="10310">5.4309900000000004</cx:pt>
          <cx:pt idx="10311">3.68391</cx:pt>
          <cx:pt idx="10312">7.6782600000000008</cx:pt>
          <cx:pt idx="10313">4.4751199999999995</cx:pt>
          <cx:pt idx="10314">5.1511199999999997</cx:pt>
          <cx:pt idx="10315">5.4309900000000004</cx:pt>
          <cx:pt idx="10316">4.6103199999999998</cx:pt>
          <cx:pt idx="10317">3.68391</cx:pt>
          <cx:pt idx="10318">6.9552600000000009</cx:pt>
          <cx:pt idx="10319">10.92234</cx:pt>
          <cx:pt idx="10320">4.6103199999999998</cx:pt>
          <cx:pt idx="10321">12.4731799999999</cx:pt>
          <cx:pt idx="10322">10.92234</cx:pt>
          <cx:pt idx="10323">4.6103199999999998</cx:pt>
          <cx:pt idx="10324">2.9614199999999999</cx:pt>
          <cx:pt idx="10325">6.9552600000000009</cx:pt>
          <cx:pt idx="10326">6.14175</cx:pt>
          <cx:pt idx="10327">5.1511199999999997</cx:pt>
          <cx:pt idx="10328">5.1511199999999997</cx:pt>
          <cx:pt idx="10329">11.85798</cx:pt>
          <cx:pt idx="10330">1.80762</cx:pt>
          <cx:pt idx="10331">7.8228599999999995</cx:pt>
          <cx:pt idx="10332">6.14175</cx:pt>
          <cx:pt idx="10333">3.68391</cx:pt>
          <cx:pt idx="10334">4.4751199999999995</cx:pt>
          <cx:pt idx="10335">5.4309900000000004</cx:pt>
          <cx:pt idx="10336">5.4309900000000004</cx:pt>
          <cx:pt idx="10337">10.92234</cx:pt>
          <cx:pt idx="10338">11.85798</cx:pt>
          <cx:pt idx="10339">6.14175</cx:pt>
          <cx:pt idx="10340">3.94611</cx:pt>
          <cx:pt idx="10341">11.85798</cx:pt>
          <cx:pt idx="10342">3.81501</cx:pt>
          <cx:pt idx="10343">3.81501</cx:pt>
          <cx:pt idx="10344">2.9614199999999999</cx:pt>
          <cx:pt idx="10345">5.1511199999999997</cx:pt>
          <cx:pt idx="10346">6.14175</cx:pt>
          <cx:pt idx="10347">9.7431400000000004</cx:pt>
          <cx:pt idx="10348">13.2421799999999</cx:pt>
          <cx:pt idx="10349">5.9613599999999902</cx:pt>
          <cx:pt idx="10350">9.30093999999999</cx:pt>
          <cx:pt idx="10351">9.44834</cx:pt>
          <cx:pt idx="10352">6.14175</cx:pt>
          <cx:pt idx="10353">4.3399200000000002</cx:pt>
          <cx:pt idx="10354">10.92234</cx:pt>
          <cx:pt idx="10355">6.9552600000000009</cx:pt>
          <cx:pt idx="10356">0.91021999999999992</cx:pt>
          <cx:pt idx="10357">5.1511199999999997</cx:pt>
          <cx:pt idx="10358">6.14175</cx:pt>
          <cx:pt idx="10359">12.01178</cx:pt>
          <cx:pt idx="10360">5.4309900000000004</cx:pt>
          <cx:pt idx="10361">5.6781600000000001</cx:pt>
          <cx:pt idx="10362">5.8197600000000005</cx:pt>
          <cx:pt idx="10363">3.68391</cx:pt>
          <cx:pt idx="10364">2.5768200000000001</cx:pt>
          <cx:pt idx="10365">4.4751199999999995</cx:pt>
          <cx:pt idx="10366">6.5214599999999994</cx:pt>
          <cx:pt idx="10367">6.2842499999999992</cx:pt>
          <cx:pt idx="10368">10.18534</cx:pt>
          <cx:pt idx="10369">26.359469999999902</cx:pt>
          <cx:pt idx="10370">5.4309900000000004</cx:pt>
          <cx:pt idx="10371">9.5957399999999993</cx:pt>
          <cx:pt idx="10372">6.14175</cx:pt>
          <cx:pt idx="10373">5.1511199999999997</cx:pt>
          <cx:pt idx="10374">5.1511199999999997</cx:pt>
          <cx:pt idx="10375">10.92234</cx:pt>
          <cx:pt idx="10376">5.8197600000000005</cx:pt>
          <cx:pt idx="10377">5.1511199999999997</cx:pt>
          <cx:pt idx="10378">30.927369999999897</cx:pt>
          <cx:pt idx="10379">12.01178</cx:pt>
          <cx:pt idx="10380">5.4309900000000004</cx:pt>
          <cx:pt idx="10381">9.890539999999989</cx:pt>
          <cx:pt idx="10382">5.4309900000000004</cx:pt>
          <cx:pt idx="10383">4.3399200000000002</cx:pt>
          <cx:pt idx="10384">1.9358199999999999</cx:pt>
          <cx:pt idx="10385">4.8807199999999895</cx:pt>
          <cx:pt idx="10386">3.68391</cx:pt>
          <cx:pt idx="10387">5.4309900000000004</cx:pt>
          <cx:pt idx="10388">12.78078</cx:pt>
          <cx:pt idx="10389">3.81501</cx:pt>
          <cx:pt idx="10390">5.9613599999999902</cx:pt>
          <cx:pt idx="10391">7.0998599999999996</cx:pt>
          <cx:pt idx="10392">5.4309900000000004</cx:pt>
          <cx:pt idx="10393">5.4309900000000004</cx:pt>
          <cx:pt idx="10394">5.4309900000000004</cx:pt>
          <cx:pt idx="10395">3.9723300000000199</cx:pt>
          <cx:pt idx="10396">3.81501</cx:pt>
          <cx:pt idx="10397">1.16662</cx:pt>
          <cx:pt idx="10398">8.5639399999999899</cx:pt>
          <cx:pt idx="10399">3.08962</cx:pt>
          <cx:pt idx="10400">4.8807200000000002</cx:pt>
          <cx:pt idx="10401">5.4309900000000004</cx:pt>
          <cx:pt idx="10402">10.037939999999999</cx:pt>
          <cx:pt idx="10403">5.4309900000000004</cx:pt>
          <cx:pt idx="10404">4.7455199999999902</cx:pt>
          <cx:pt idx="10405">11.85798</cx:pt>
          <cx:pt idx="10406">11.85798</cx:pt>
          <cx:pt idx="10407">4.4751199999999995</cx:pt>
          <cx:pt idx="10408">5.0159200000000004</cx:pt>
          <cx:pt idx="10409">10.62754</cx:pt>
          <cx:pt idx="10410">5.4309900000000004</cx:pt>
          <cx:pt idx="10411">1.6794199999999999</cx:pt>
          <cx:pt idx="10412">3.68391</cx:pt>
          <cx:pt idx="10413">3.42171</cx:pt>
          <cx:pt idx="10414">9.30093999999999</cx:pt>
          <cx:pt idx="10415">5.4309900000000004</cx:pt>
          <cx:pt idx="10416">5.1511199999999997</cx:pt>
          <cx:pt idx="10417">6.5503800000000192</cx:pt>
          <cx:pt idx="10418">5.1511199999999997</cx:pt>
          <cx:pt idx="10419">14.318779999999901</cx:pt>
          <cx:pt idx="10420">3.68391</cx:pt>
          <cx:pt idx="10421">28.777769999999904</cx:pt>
          <cx:pt idx="10422">33.076969999999903</cx:pt>
          <cx:pt idx="10423">5.1511199999999997</cx:pt>
          <cx:pt idx="10424">4.6103199999999998</cx:pt>
          <cx:pt idx="10425">10.037939999999999</cx:pt>
          <cx:pt idx="10426">3.81501</cx:pt>
          <cx:pt idx="10427">6.2842499999999992</cx:pt>
          <cx:pt idx="10428">11.85798</cx:pt>
          <cx:pt idx="10429">5.1511199999999997</cx:pt>
          <cx:pt idx="10430">37.376169999999995</cx:pt>
          <cx:pt idx="10431">5.1511199999999997</cx:pt>
          <cx:pt idx="10432">14.318779999999901</cx:pt>
          <cx:pt idx="10433">6.14175</cx:pt>
          <cx:pt idx="10434">10.92234</cx:pt>
          <cx:pt idx="10435">7.0998599999999996</cx:pt>
          <cx:pt idx="10436">5.1511199999999997</cx:pt>
          <cx:pt idx="10437">26.090769999999903</cx:pt>
          <cx:pt idx="10438">5.1511199999999997</cx:pt>
          <cx:pt idx="10439">14.318779999999901</cx:pt>
          <cx:pt idx="10440">5.4309900000000004</cx:pt>
          <cx:pt idx="10441">10.18534</cx:pt>
          <cx:pt idx="10442">3.08962</cx:pt>
          <cx:pt idx="10443">9.5957399999999993</cx:pt>
          <cx:pt idx="10444">37.107469999999999</cx:pt>
          <cx:pt idx="10445">36.032670000000003</cx:pt>
          <cx:pt idx="10446">4.6103199999999998</cx:pt>
          <cx:pt idx="10447">10.774939999999999</cx:pt>
          <cx:pt idx="10448">4.4751199999999995</cx:pt>
          <cx:pt idx="10449">3.08962</cx:pt>
          <cx:pt idx="10450">5.1511199999999997</cx:pt>
          <cx:pt idx="10451">6.2842499999999992</cx:pt>
          <cx:pt idx="10452">27.97167</cx:pt>
          <cx:pt idx="10453">11.704180000000001</cx:pt>
          <cx:pt idx="10454">4.74552</cx:pt>
          <cx:pt idx="10455">5.4309900000000004</cx:pt>
          <cx:pt idx="10456">10.037939999999999</cx:pt>
          <cx:pt idx="10457">26.359469999999902</cx:pt>
          <cx:pt idx="10458">30.1212699999999</cx:pt>
          <cx:pt idx="10459">6.5503800000000192</cx:pt>
          <cx:pt idx="10460">5.1511199999999997</cx:pt>
          <cx:pt idx="10461">10.92234</cx:pt>
          <cx:pt idx="10462">4.4751199999999995</cx:pt>
          <cx:pt idx="10463">4.7725600000000199</cx:pt>
          <cx:pt idx="10464">6.2842499999999992</cx:pt>
          <cx:pt idx="10465">1.42301999999999</cx:pt>
          <cx:pt idx="10466">5.4309900000000004</cx:pt>
          <cx:pt idx="10467">5.4309900000000004</cx:pt>
          <cx:pt idx="10468">27.702969999999898</cx:pt>
          <cx:pt idx="10469">9.30093999999999</cx:pt>
          <cx:pt idx="10470">3.81501</cx:pt>
          <cx:pt idx="10471">1.80762</cx:pt>
          <cx:pt idx="10472">5.8197600000000005</cx:pt>
          <cx:pt idx="10473">5.4309900000000004</cx:pt>
          <cx:pt idx="10474">3.81501</cx:pt>
          <cx:pt idx="10475">6.14175</cx:pt>
          <cx:pt idx="10476">5.1511199999999997</cx:pt>
          <cx:pt idx="10477">5.4309900000000004</cx:pt>
          <cx:pt idx="10478">2.9614199999999999</cx:pt>
          <cx:pt idx="10479">5.4309900000000004</cx:pt>
          <cx:pt idx="10480">9.890539999999989</cx:pt>
          <cx:pt idx="10481">4.74552</cx:pt>
          <cx:pt idx="10482">5.4309900000000004</cx:pt>
          <cx:pt idx="10483">6.2842499999999992</cx:pt>
          <cx:pt idx="10484">7.0998599999999996</cx:pt>
          <cx:pt idx="10485">10.052680000000001</cx:pt>
          <cx:pt idx="10486">7.0998599999999996</cx:pt>
          <cx:pt idx="10487">3.08962</cx:pt>
          <cx:pt idx="10488">3.68391</cx:pt>
          <cx:pt idx="10489">1.80762</cx:pt>
          <cx:pt idx="10490">7.8228599999999995</cx:pt>
          <cx:pt idx="10491">2.9614199999999999</cx:pt>
          <cx:pt idx="10492">10.92234</cx:pt>
          <cx:pt idx="10493">5.1511199999999997</cx:pt>
          <cx:pt idx="10494">43.018869999999595</cx:pt>
          <cx:pt idx="10495">5.6781600000000001</cx:pt>
          <cx:pt idx="10496">12.78078</cx:pt>
          <cx:pt idx="10497">6.2842499999999992</cx:pt>
          <cx:pt idx="10498">3.94611</cx:pt>
          <cx:pt idx="10499">5.4309900000000004</cx:pt>
          <cx:pt idx="10500">5.4309900000000004</cx:pt>
          <cx:pt idx="10501">5.1511199999999997</cx:pt>
          <cx:pt idx="10502">27.97167</cx:pt>
          <cx:pt idx="10503">10.774939999999999</cx:pt>
          <cx:pt idx="10504">6.14175</cx:pt>
          <cx:pt idx="10505">0.91021999999999992</cx:pt>
          <cx:pt idx="10506">11.704180000000001</cx:pt>
          <cx:pt idx="10507">2.1922199999999998</cx:pt>
          <cx:pt idx="10508">4.4751199999999995</cx:pt>
          <cx:pt idx="10509">5.1511199999999997</cx:pt>
          <cx:pt idx="10510">6.14175</cx:pt>
          <cx:pt idx="10511">29.046469999999903</cx:pt>
          <cx:pt idx="10512">5.1511199999999997</cx:pt>
          <cx:pt idx="10513">26.359470000000002</cx:pt>
          <cx:pt idx="10514">34.689169999999905</cx:pt>
          <cx:pt idx="10515">26.090769999999903</cx:pt>
          <cx:pt idx="10516">4.7455199999999902</cx:pt>
          <cx:pt idx="10517">3.29061</cx:pt>
          <cx:pt idx="10518">5.1511199999999997</cx:pt>
          <cx:pt idx="10519">5.1511199999999997</cx:pt>
          <cx:pt idx="10520">10.92234</cx:pt>
          <cx:pt idx="10521">4.4751199999999995</cx:pt>
          <cx:pt idx="10522">2.5768200000000001</cx:pt>
          <cx:pt idx="10523">5.99925</cx:pt>
          <cx:pt idx="10524">4.7725600000000199</cx:pt>
          <cx:pt idx="10525">6.14175</cx:pt>
          <cx:pt idx="10526">11.85798</cx:pt>
          <cx:pt idx="10527">3.08962</cx:pt>
          <cx:pt idx="10528">3.42171</cx:pt>
          <cx:pt idx="10529">5.4309900000000004</cx:pt>
          <cx:pt idx="10530">5.4309900000000004</cx:pt>
          <cx:pt idx="10531">14.472579999999999</cx:pt>
          <cx:pt idx="10532">11.550380000000001</cx:pt>
          <cx:pt idx="10533">1.6794199999999999</cx:pt>
          <cx:pt idx="10534">8.1217399999999991</cx:pt>
          <cx:pt idx="10535">12.473180000000001</cx:pt>
          <cx:pt idx="10536">10.18534</cx:pt>
          <cx:pt idx="10537">8.7113399999999999</cx:pt>
          <cx:pt idx="10538">3.68391</cx:pt>
          <cx:pt idx="10539">6.2842499999999992</cx:pt>
          <cx:pt idx="10540">10.774939999999999</cx:pt>
          <cx:pt idx="10541">7.0998599999999996</cx:pt>
          <cx:pt idx="10542">3.08962</cx:pt>
          <cx:pt idx="10543">5.1511199999999997</cx:pt>
          <cx:pt idx="10544">3.42171</cx:pt>
          <cx:pt idx="10545">10.92234</cx:pt>
          <cx:pt idx="10546">6.14175</cx:pt>
          <cx:pt idx="10547">26.090769999999903</cx:pt>
          <cx:pt idx="10548">5.1511199999999997</cx:pt>
          <cx:pt idx="10549">4.4751199999999995</cx:pt>
          <cx:pt idx="10550">5.4309900000000004</cx:pt>
          <cx:pt idx="10551">2.9614199999999999</cx:pt>
          <cx:pt idx="10552">41.137969999999903</cx:pt>
          <cx:pt idx="10553">9.1535399999999907</cx:pt>
          <cx:pt idx="10554">5.9613599999999902</cx:pt>
          <cx:pt idx="10555">6.14175</cx:pt>
          <cx:pt idx="10556">6.14175</cx:pt>
          <cx:pt idx="10557">9.7431400000000004</cx:pt>
          <cx:pt idx="10558">26.090769999999903</cx:pt>
          <cx:pt idx="10559">5.4309900000000004</cx:pt>
          <cx:pt idx="10560">9.5957399999999993</cx:pt>
          <cx:pt idx="10561">6.5214599999999994</cx:pt>
          <cx:pt idx="10562">7.6782600000000008</cx:pt>
          <cx:pt idx="10563">3.81501</cx:pt>
          <cx:pt idx="10564">6.14175</cx:pt>
          <cx:pt idx="10565">10.92234</cx:pt>
          <cx:pt idx="10566">4.4751199999999995</cx:pt>
          <cx:pt idx="10567">30.389969999999899</cx:pt>
          <cx:pt idx="10568">5.9613599999999902</cx:pt>
          <cx:pt idx="10569">28.777770000000004</cx:pt>
          <cx:pt idx="10570">6.14175</cx:pt>
          <cx:pt idx="10571">5.4309900000000004</cx:pt>
          <cx:pt idx="10572">9.30093999999999</cx:pt>
          <cx:pt idx="10573">10.92234</cx:pt>
          <cx:pt idx="10574">5.4309900000000004</cx:pt>
          <cx:pt idx="10575">28.240369999999899</cx:pt>
          <cx:pt idx="10576">3.81501</cx:pt>
          <cx:pt idx="10577">28.777769999999904</cx:pt>
          <cx:pt idx="10578">9.30093999999999</cx:pt>
          <cx:pt idx="10579">4.6103199999999998</cx:pt>
          <cx:pt idx="10580">5.1511199999999997</cx:pt>
          <cx:pt idx="10581">11.704180000000001</cx:pt>
          <cx:pt idx="10582">4.6103199999999998</cx:pt>
          <cx:pt idx="10583">4.3399200000000002</cx:pt>
          <cx:pt idx="10584">3.81501</cx:pt>
          <cx:pt idx="10585">5.1511199999999997</cx:pt>
          <cx:pt idx="10586">11.85798</cx:pt>
          <cx:pt idx="10587">5.1511199999999997</cx:pt>
          <cx:pt idx="10588">2.8332199999999998</cx:pt>
          <cx:pt idx="10589">7.5336600000000002</cx:pt>
          <cx:pt idx="10590">2.9614199999999999</cx:pt>
          <cx:pt idx="10591">5.4309900000000004</cx:pt>
          <cx:pt idx="10592">6.9552600000000009</cx:pt>
          <cx:pt idx="10593">5.1511199999999997</cx:pt>
          <cx:pt idx="10594">6.14175</cx:pt>
          <cx:pt idx="10595">30.1212699999999</cx:pt>
          <cx:pt idx="10596">9.44834</cx:pt>
          <cx:pt idx="10597">5.4309900000000004</cx:pt>
          <cx:pt idx="10598">11.704180000000001</cx:pt>
          <cx:pt idx="10599">4.4751199999999995</cx:pt>
          <cx:pt idx="10600">28.509069999999998</cx:pt>
          <cx:pt idx="10601">6.14175</cx:pt>
          <cx:pt idx="10602">26.090769999999903</cx:pt>
          <cx:pt idx="10603">12.16558</cx:pt>
          <cx:pt idx="10604">5.1511199999999997</cx:pt>
          <cx:pt idx="10605">32.539569999999898</cx:pt>
          <cx:pt idx="10606">5.4309900000000004</cx:pt>
          <cx:pt idx="10607">5.7064800000000293</cx:pt>
          <cx:pt idx="10608">5.1511199999999997</cx:pt>
          <cx:pt idx="10609">5.4309900000000004</cx:pt>
          <cx:pt idx="10610">6.14175</cx:pt>
          <cx:pt idx="10611">5.8197600000000005</cx:pt>
          <cx:pt idx="10612">4.4751199999999995</cx:pt>
          <cx:pt idx="10613">5.1511199999999997</cx:pt>
          <cx:pt idx="10614">2.7050200000000002</cx:pt>
          <cx:pt idx="10615">5.4309900000000004</cx:pt>
          <cx:pt idx="10616">31.733469999999901</cx:pt>
          <cx:pt idx="10617">11.550380000000001</cx:pt>
          <cx:pt idx="10618">10.7749399999999</cx:pt>
          <cx:pt idx="10619">4.4751199999999995</cx:pt>
          <cx:pt idx="10620">3.42171</cx:pt>
          <cx:pt idx="10621">10.037939999999999</cx:pt>
          <cx:pt idx="10622">3.68391</cx:pt>
          <cx:pt idx="10623">2.1922199999999998</cx:pt>
          <cx:pt idx="10624">27.702969999999898</cx:pt>
          <cx:pt idx="10625">5.4309900000000004</cx:pt>
          <cx:pt idx="10626">6.14175</cx:pt>
          <cx:pt idx="10627">5.4309900000000004</cx:pt>
          <cx:pt idx="10628">4.4751199999999995</cx:pt>
          <cx:pt idx="10629">11.704180000000001</cx:pt>
          <cx:pt idx="10630">9.890539999999989</cx:pt>
          <cx:pt idx="10631">10.92234</cx:pt>
          <cx:pt idx="10632">5.4309900000000004</cx:pt>
          <cx:pt idx="10633">3.68391</cx:pt>
          <cx:pt idx="10634">6.14175</cx:pt>
          <cx:pt idx="10635">4.4751199999999995</cx:pt>
          <cx:pt idx="10636">2.9614199999999999</cx:pt>
          <cx:pt idx="10637">6.14175</cx:pt>
          <cx:pt idx="10638">5.1511199999999997</cx:pt>
          <cx:pt idx="10639">7.8228599999999995</cx:pt>
          <cx:pt idx="10640">31.733469999999901</cx:pt>
          <cx:pt idx="10641">14.318779999999901</cx:pt>
          <cx:pt idx="10642">3.08962</cx:pt>
          <cx:pt idx="10643">5.1511199999999997</cx:pt>
          <cx:pt idx="10644">2.3204199999999999</cx:pt>
          <cx:pt idx="10645">5.9613599999999902</cx:pt>
          <cx:pt idx="10646">10.774939999999999</cx:pt>
          <cx:pt idx="10647">7.3890599999999997</cx:pt>
          <cx:pt idx="10648">5.4309900000000004</cx:pt>
          <cx:pt idx="10649">5.4309900000000004</cx:pt>
          <cx:pt idx="10650">12.319380000000001</cx:pt>
          <cx:pt idx="10651">11.704180000000001</cx:pt>
          <cx:pt idx="10652">26.090769999999903</cx:pt>
          <cx:pt idx="10653">5.0159200000000004</cx:pt>
          <cx:pt idx="10654">5.0159200000000004</cx:pt>
          <cx:pt idx="10655">5.1511199999999997</cx:pt>
          <cx:pt idx="10656">5.4309900000000004</cx:pt>
          <cx:pt idx="10657">10.037939999999999</cx:pt>
          <cx:pt idx="10658">4.4751199999999995</cx:pt>
          <cx:pt idx="10659">6.14175</cx:pt>
          <cx:pt idx="10660">9.30093999999999</cx:pt>
          <cx:pt idx="10661">3.68391</cx:pt>
          <cx:pt idx="10662">5.4309900000000004</cx:pt>
          <cx:pt idx="10663">5.9613599999999902</cx:pt>
          <cx:pt idx="10664">5.1511199999999997</cx:pt>
          <cx:pt idx="10665">6.6660599999999999</cx:pt>
          <cx:pt idx="10666">5.1511199999999997</cx:pt>
          <cx:pt idx="10667">33.345669999999998</cx:pt>
          <cx:pt idx="10668">9.44834</cx:pt>
          <cx:pt idx="10669">9.30093999999999</cx:pt>
          <cx:pt idx="10670">4.3399200000000002</cx:pt>
          <cx:pt idx="10671">3.08962</cx:pt>
          <cx:pt idx="10672">14.011180000000001</cx:pt>
          <cx:pt idx="10673">5.8197600000000005</cx:pt>
          <cx:pt idx="10674">0.91021999999999992</cx:pt>
          <cx:pt idx="10675">11.704180000000001</cx:pt>
          <cx:pt idx="10676">5.1511199999999997</cx:pt>
          <cx:pt idx="10677">10.48014</cx:pt>
          <cx:pt idx="10678">5.4309900000000004</cx:pt>
          <cx:pt idx="10679">26.090769999999903</cx:pt>
          <cx:pt idx="10680">9.44834</cx:pt>
          <cx:pt idx="10681">5.4309900000000004</cx:pt>
          <cx:pt idx="10682">10.92234</cx:pt>
          <cx:pt idx="10683">10.92234</cx:pt>
          <cx:pt idx="10684">12.78078</cx:pt>
          <cx:pt idx="10685">14.164979999999899</cx:pt>
          <cx:pt idx="10686">6.14175</cx:pt>
          <cx:pt idx="10687">10.18534</cx:pt>
          <cx:pt idx="10688">6.5214599999999994</cx:pt>
          <cx:pt idx="10689">1.6794199999999999</cx:pt>
          <cx:pt idx="10690">5.1511199999999997</cx:pt>
          <cx:pt idx="10691">3.08962</cx:pt>
          <cx:pt idx="10692">7.5336600000000002</cx:pt>
          <cx:pt idx="10693">14.6263799999999</cx:pt>
          <cx:pt idx="10694">9.7431400000000004</cx:pt>
          <cx:pt idx="10695">5.4309900000000004</cx:pt>
          <cx:pt idx="10696">5.4309900000000004</cx:pt>
          <cx:pt idx="10697">7.3890599999999997</cx:pt>
          <cx:pt idx="10698">5.1511199999999997</cx:pt>
          <cx:pt idx="10699">4.6103199999999998</cx:pt>
          <cx:pt idx="10700">31.196069999999899</cx:pt>
          <cx:pt idx="10701">11.85798</cx:pt>
          <cx:pt idx="10702">5.8197600000000005</cx:pt>
          <cx:pt idx="10703">2.9614199999999999</cx:pt>
          <cx:pt idx="10704">47.586769999999703</cx:pt>
          <cx:pt idx="10705">3.68391</cx:pt>
          <cx:pt idx="10706">2.9614199999999999</cx:pt>
          <cx:pt idx="10707">2.1922199999999998</cx:pt>
          <cx:pt idx="10708">28.509069999999898</cx:pt>
          <cx:pt idx="10709">5.8197600000000005</cx:pt>
          <cx:pt idx="10710">9.44834</cx:pt>
          <cx:pt idx="10711">0.91021999999999992</cx:pt>
          <cx:pt idx="10712">5.1511199999999997</cx:pt>
          <cx:pt idx="10713">5.1511199999999997</cx:pt>
          <cx:pt idx="10714">6.14175</cx:pt>
          <cx:pt idx="10715">4.4751199999999995</cx:pt>
          <cx:pt idx="10716">37.376169999999895</cx:pt>
          <cx:pt idx="10717">10.92234</cx:pt>
          <cx:pt idx="10718">7.3890599999999997</cx:pt>
          <cx:pt idx="10719">5.1511199999999997</cx:pt>
          <cx:pt idx="10720">6.9552600000000009</cx:pt>
          <cx:pt idx="10721">5.1511199999999997</cx:pt>
          <cx:pt idx="10722">5.1511199999999997</cx:pt>
          <cx:pt idx="10723">12.62698</cx:pt>
          <cx:pt idx="10724">6.14175</cx:pt>
          <cx:pt idx="10725">26.090769999999903</cx:pt>
          <cx:pt idx="10726">7.5336600000000002</cx:pt>
          <cx:pt idx="10727">27.702970000000001</cx:pt>
          <cx:pt idx="10728">14.349539999999999</cx:pt>
          <cx:pt idx="10729">4.6103199999999998</cx:pt>
          <cx:pt idx="10730">9.7431400000000004</cx:pt>
          <cx:pt idx="10731">5.1511199999999997</cx:pt>
          <cx:pt idx="10732">4.4751199999999995</cx:pt>
          <cx:pt idx="10733">4.20472</cx:pt>
          <cx:pt idx="10734">10.92234</cx:pt>
          <cx:pt idx="10735">1.80762</cx:pt>
          <cx:pt idx="10736">6.14175</cx:pt>
          <cx:pt idx="10737">9.30093999999999</cx:pt>
          <cx:pt idx="10738">9.7431400000000004</cx:pt>
          <cx:pt idx="10739">3.08962</cx:pt>
          <cx:pt idx="10740">5.9613599999999902</cx:pt>
          <cx:pt idx="10741">6.14175</cx:pt>
          <cx:pt idx="10742">4.6103199999999998</cx:pt>
          <cx:pt idx="10743">6.14175</cx:pt>
          <cx:pt idx="10744">5.99925</cx:pt>
          <cx:pt idx="10745">27.97167</cx:pt>
          <cx:pt idx="10746">4.20472</cx:pt>
          <cx:pt idx="10747">6.2842499999999992</cx:pt>
          <cx:pt idx="10748">6.6660599999999999</cx:pt>
          <cx:pt idx="10749">5.9613599999999902</cx:pt>
          <cx:pt idx="10750">5.1511199999999997</cx:pt>
          <cx:pt idx="10751">3.81501</cx:pt>
          <cx:pt idx="10752">3.81501</cx:pt>
          <cx:pt idx="10753">5.1511199999999997</cx:pt>
          <cx:pt idx="10754">6.2842499999999992</cx:pt>
          <cx:pt idx="10755">5.1511199999999997</cx:pt>
          <cx:pt idx="10756">9.7431400000000004</cx:pt>
          <cx:pt idx="10757">5.8197600000000005</cx:pt>
          <cx:pt idx="10758">6.2842499999999992</cx:pt>
          <cx:pt idx="10759">10.92234</cx:pt>
          <cx:pt idx="10760">28.777769999999904</cx:pt>
          <cx:pt idx="10761">3.68391</cx:pt>
          <cx:pt idx="10762">4.3399200000000002</cx:pt>
          <cx:pt idx="10763">1.55122</cx:pt>
          <cx:pt idx="10764">6.2842499999999992</cx:pt>
          <cx:pt idx="10765">14.318779999999901</cx:pt>
          <cx:pt idx="10766">3.68391</cx:pt>
          <cx:pt idx="10767">11.704180000000001</cx:pt>
          <cx:pt idx="10768">3.68391</cx:pt>
          <cx:pt idx="10769">14.472579999999999</cx:pt>
          <cx:pt idx="10770">7.6782599999999892</cx:pt>
          <cx:pt idx="10771">10.037939999999999</cx:pt>
          <cx:pt idx="10772">5.1511199999999997</cx:pt>
          <cx:pt idx="10773">5.9613599999999902</cx:pt>
          <cx:pt idx="10774">6.2842499999999992</cx:pt>
          <cx:pt idx="10775">5.4309900000000004</cx:pt>
          <cx:pt idx="10776">1.6794199999999999</cx:pt>
          <cx:pt idx="10777">5.4309900000000004</cx:pt>
          <cx:pt idx="10778">3.94611</cx:pt>
          <cx:pt idx="10779">12.78078</cx:pt>
          <cx:pt idx="10780">13.39598</cx:pt>
          <cx:pt idx="10781">27.434269999999998</cx:pt>
          <cx:pt idx="10782">6.14175</cx:pt>
          <cx:pt idx="10783">5.1511199999999997</cx:pt>
          <cx:pt idx="10784">6.2842499999999992</cx:pt>
          <cx:pt idx="10785">4.4751199999999995</cx:pt>
          <cx:pt idx="10786">9.1535399999999907</cx:pt>
          <cx:pt idx="10787">5.8197600000000005</cx:pt>
          <cx:pt idx="10788">4.4751199999999995</cx:pt>
          <cx:pt idx="10789">3.68391</cx:pt>
          <cx:pt idx="10790">14.472579999999899</cx:pt>
          <cx:pt idx="10791">6.14175</cx:pt>
          <cx:pt idx="10792">7.6782600000000008</cx:pt>
          <cx:pt idx="10793">35.495269999999898</cx:pt>
          <cx:pt idx="10794">3.68391</cx:pt>
          <cx:pt idx="10795">2.9614199999999999</cx:pt>
          <cx:pt idx="10796">10.774939999999999</cx:pt>
          <cx:pt idx="10797">3.81501</cx:pt>
          <cx:pt idx="10798">5.1511199999999997</cx:pt>
          <cx:pt idx="10799">13.703579999999899</cx:pt>
          <cx:pt idx="10800">4.4751199999999995</cx:pt>
          <cx:pt idx="10801">5.4309900000000004</cx:pt>
          <cx:pt idx="10802">6.14175</cx:pt>
          <cx:pt idx="10803">8.1217399999999991</cx:pt>
          <cx:pt idx="10804">2.5768200000000001</cx:pt>
          <cx:pt idx="10805">2.7050200000000002</cx:pt>
          <cx:pt idx="10806">3.68391</cx:pt>
          <cx:pt idx="10807">11.85798</cx:pt>
          <cx:pt idx="10808">11.85798</cx:pt>
          <cx:pt idx="10809">10.62754</cx:pt>
          <cx:pt idx="10810">6.14175</cx:pt>
          <cx:pt idx="10811">26.628170000000001</cx:pt>
          <cx:pt idx="10812">5.4309900000000004</cx:pt>
          <cx:pt idx="10813">34.420469999999895</cx:pt>
          <cx:pt idx="10814">5.1511199999999997</cx:pt>
          <cx:pt idx="10815">5.6781600000000001</cx:pt>
          <cx:pt idx="10816">5.8197600000000005</cx:pt>
          <cx:pt idx="10817">3.4217099999999903</cx:pt>
          <cx:pt idx="10818">3.68391</cx:pt>
          <cx:pt idx="10819">10.332739999999999</cx:pt>
          <cx:pt idx="10820">6.14175</cx:pt>
          <cx:pt idx="10821">10.92234</cx:pt>
          <cx:pt idx="10822">7.0998599999999996</cx:pt>
          <cx:pt idx="10823">13.2421799999999</cx:pt>
          <cx:pt idx="10824">4.3399200000000002</cx:pt>
          <cx:pt idx="10825">3.81501</cx:pt>
          <cx:pt idx="10826">1.80762</cx:pt>
          <cx:pt idx="10827">9.1535399999999907</cx:pt>
          <cx:pt idx="10828">5.7064800000000293</cx:pt>
          <cx:pt idx="10829">12.626979999999898</cx:pt>
          <cx:pt idx="10830">4.4751199999999995</cx:pt>
          <cx:pt idx="10831">5.4309900000000004</cx:pt>
          <cx:pt idx="10832">9.30093999999999</cx:pt>
          <cx:pt idx="10833">3.68391</cx:pt>
          <cx:pt idx="10834">3.08962</cx:pt>
          <cx:pt idx="10835">5.1511199999999997</cx:pt>
          <cx:pt idx="10836">6.14175</cx:pt>
          <cx:pt idx="10837">5.4309900000000004</cx:pt>
          <cx:pt idx="10838">6.6660599999999999</cx:pt>
          <cx:pt idx="10839">5.8197600000000005</cx:pt>
          <cx:pt idx="10840">5.1511199999999997</cx:pt>
          <cx:pt idx="10841">1.8332600000000199</cx:pt>
          <cx:pt idx="10842">4.20472</cx:pt>
          <cx:pt idx="10843">6.14175</cx:pt>
          <cx:pt idx="10844">5.1511199999999997</cx:pt>
          <cx:pt idx="10845">5.4309900000000004</cx:pt>
          <cx:pt idx="10846">10.92234</cx:pt>
          <cx:pt idx="10847">10.037939999999999</cx:pt>
          <cx:pt idx="10848">14.318779999999901</cx:pt>
          <cx:pt idx="10849">10.037939999999999</cx:pt>
          <cx:pt idx="10850">35.226569999999903</cx:pt>
          <cx:pt idx="10851">3.68391</cx:pt>
          <cx:pt idx="10852">10.92234</cx:pt>
          <cx:pt idx="10853">12.01178</cx:pt>
          <cx:pt idx="10854">5.6781600000000001</cx:pt>
          <cx:pt idx="10855">4.4751199999999995</cx:pt>
          <cx:pt idx="10856">36.032669999999897</cx:pt>
          <cx:pt idx="10857">2.1922199999999998</cx:pt>
          <cx:pt idx="10858">4.6103199999999998</cx:pt>
          <cx:pt idx="10859">11.704180000000001</cx:pt>
          <cx:pt idx="10860">10.92234</cx:pt>
          <cx:pt idx="10861">5.8197600000000005</cx:pt>
          <cx:pt idx="10862">5.1511199999999997</cx:pt>
          <cx:pt idx="10863">6.6660599999999999</cx:pt>
          <cx:pt idx="10864">6.9552600000000009</cx:pt>
          <cx:pt idx="10865">6.2842499999999992</cx:pt>
          <cx:pt idx="10866">5.4309900000000004</cx:pt>
          <cx:pt idx="10867">8.2691400000000002</cx:pt>
          <cx:pt idx="10868">6.2842499999999992</cx:pt>
          <cx:pt idx="10869">27.702969999999898</cx:pt>
          <cx:pt idx="10870">3.68391</cx:pt>
          <cx:pt idx="10871">9.44834</cx:pt>
          <cx:pt idx="10872">7.6782599999999892</cx:pt>
          <cx:pt idx="10873">6.14175</cx:pt>
          <cx:pt idx="10874">6.14175</cx:pt>
          <cx:pt idx="10875">10.774939999999999</cx:pt>
          <cx:pt idx="10876">6.14175</cx:pt>
          <cx:pt idx="10877">9.0061400000000003</cx:pt>
          <cx:pt idx="10878">7.6782599999999892</cx:pt>
          <cx:pt idx="10879">6.9552600000000009</cx:pt>
          <cx:pt idx="10880">6.2842499999999992</cx:pt>
          <cx:pt idx="10881">10.92234</cx:pt>
          <cx:pt idx="10882">39.257069999999899</cx:pt>
          <cx:pt idx="10883">12.0117799999999</cx:pt>
          <cx:pt idx="10884">5.1511199999999997</cx:pt>
          <cx:pt idx="10885">14.318779999999901</cx:pt>
          <cx:pt idx="10886">5.1511199999999997</cx:pt>
          <cx:pt idx="10887">10.18534</cx:pt>
          <cx:pt idx="10888">11.704180000000001</cx:pt>
          <cx:pt idx="10889">10.92234</cx:pt>
          <cx:pt idx="10890">4.3399200000000002</cx:pt>
          <cx:pt idx="10891">38.450969999999899</cx:pt>
          <cx:pt idx="10892">5.6781600000000001</cx:pt>
          <cx:pt idx="10893">7.6782600000000008</cx:pt>
          <cx:pt idx="10894">3.81501</cx:pt>
          <cx:pt idx="10895">9.0061400000000003</cx:pt>
          <cx:pt idx="10896">26.359470000000002</cx:pt>
          <cx:pt idx="10897">3.42171</cx:pt>
          <cx:pt idx="10898">6.14175</cx:pt>
          <cx:pt idx="10899">4.4751199999999995</cx:pt>
          <cx:pt idx="10900">3.94611</cx:pt>
          <cx:pt idx="10901">5.1511199999999997</cx:pt>
          <cx:pt idx="10902">3.94611</cx:pt>
          <cx:pt idx="10903">4.4751199999999995</cx:pt>
          <cx:pt idx="10904">3.68391</cx:pt>
          <cx:pt idx="10905">37.1074699999999</cx:pt>
          <cx:pt idx="10906">6.9552600000000009</cx:pt>
          <cx:pt idx="10907">35.763969999999901</cx:pt>
          <cx:pt idx="10908">3.81501</cx:pt>
          <cx:pt idx="10909">5.4309900000000004</cx:pt>
          <cx:pt idx="10910">4.20472</cx:pt>
          <cx:pt idx="10911">10.18534</cx:pt>
          <cx:pt idx="10912">4.6103199999999998</cx:pt>
          <cx:pt idx="10913">27.97167</cx:pt>
          <cx:pt idx="10914">11.704180000000001</cx:pt>
          <cx:pt idx="10915">13.2421799999999</cx:pt>
          <cx:pt idx="10916">1.2948200000000001</cx:pt>
          <cx:pt idx="10917">5.4309900000000004</cx:pt>
          <cx:pt idx="10918">4.4751199999999995</cx:pt>
          <cx:pt idx="10919">3.81501</cx:pt>
          <cx:pt idx="10920">6.14175</cx:pt>
          <cx:pt idx="10921">9.44834</cx:pt>
          <cx:pt idx="10922">1.6794199999999999</cx:pt>
          <cx:pt idx="10923">3.08962</cx:pt>
          <cx:pt idx="10924">3.81501</cx:pt>
          <cx:pt idx="10925">6.2842499999999992</cx:pt>
          <cx:pt idx="10926">4.4751199999999995</cx:pt>
          <cx:pt idx="10927">5.8197600000000005</cx:pt>
          <cx:pt idx="10928">11.85798</cx:pt>
          <cx:pt idx="10929">3.68391</cx:pt>
          <cx:pt idx="10930">5.1511199999999997</cx:pt>
          <cx:pt idx="10931">29.046469999999903</cx:pt>
          <cx:pt idx="10932">5.4309900000000004</cx:pt>
          <cx:pt idx="10933">5.1511199999999997</cx:pt>
          <cx:pt idx="10934">4.6103199999999998</cx:pt>
          <cx:pt idx="10935">3.68391</cx:pt>
          <cx:pt idx="10936">2.9614199999999999</cx:pt>
          <cx:pt idx="10937">4.20472</cx:pt>
          <cx:pt idx="10938">6.14175</cx:pt>
          <cx:pt idx="10939">6.6660599999999999</cx:pt>
          <cx:pt idx="10940">32.539569999999898</cx:pt>
          <cx:pt idx="10941">3.55281</cx:pt>
          <cx:pt idx="10942">3.81501</cx:pt>
          <cx:pt idx="10943">5.1511199999999997</cx:pt>
          <cx:pt idx="10944">6.14175</cx:pt>
          <cx:pt idx="10945">6.14175</cx:pt>
          <cx:pt idx="10946">5.8197600000000005</cx:pt>
          <cx:pt idx="10947">5.8197600000000005</cx:pt>
          <cx:pt idx="10948">10.774939999999999</cx:pt>
          <cx:pt idx="10949">3.68391</cx:pt>
          <cx:pt idx="10950">6.14175</cx:pt>
          <cx:pt idx="10951">4.4751199999999995</cx:pt>
          <cx:pt idx="10952">5.4309900000000004</cx:pt>
          <cx:pt idx="10953">10.92234</cx:pt>
          <cx:pt idx="10954">41.191709999999695</cx:pt>
          <cx:pt idx="10955">3.68391</cx:pt>
          <cx:pt idx="10956">4.4751199999999995</cx:pt>
          <cx:pt idx="10957">3.68391</cx:pt>
          <cx:pt idx="10958">5.1511199999999997</cx:pt>
          <cx:pt idx="10959">26.090769999999903</cx:pt>
          <cx:pt idx="10960">3.81501</cx:pt>
          <cx:pt idx="10961">12.62698</cx:pt>
          <cx:pt idx="10962">31.464769999999898</cx:pt>
          <cx:pt idx="10963">6.6660599999999999</cx:pt>
          <cx:pt idx="10964">5.99925</cx:pt>
          <cx:pt idx="10965">3.81501</cx:pt>
          <cx:pt idx="10966">3.08962</cx:pt>
          <cx:pt idx="10967">12.01178</cx:pt>
          <cx:pt idx="10968">5.1511199999999997</cx:pt>
          <cx:pt idx="10969">6.9552600000000009</cx:pt>
          <cx:pt idx="10970">5.1511199999999997</cx:pt>
          <cx:pt idx="10971">10.92234</cx:pt>
          <cx:pt idx="10972">5.1511199999999997</cx:pt>
          <cx:pt idx="10973">5.1511199999999997</cx:pt>
          <cx:pt idx="10974">3.81501</cx:pt>
          <cx:pt idx="10975">5.1511199999999997</cx:pt>
          <cx:pt idx="10976">3.08962</cx:pt>
          <cx:pt idx="10977">33.883069999999897</cx:pt>
          <cx:pt idx="10978">5.6781600000000001</cx:pt>
          <cx:pt idx="10979">5.4309900000000004</cx:pt>
          <cx:pt idx="10980">31.733469999999901</cx:pt>
          <cx:pt idx="10981">6.14175</cx:pt>
          <cx:pt idx="10982">9.5957399999999993</cx:pt>
          <cx:pt idx="10983">10.18534</cx:pt>
          <cx:pt idx="10984">7.0998599999999996</cx:pt>
          <cx:pt idx="10985">2.0640200000000002</cx:pt>
          <cx:pt idx="10986">5.1511199999999997</cx:pt>
          <cx:pt idx="10987">3.81501</cx:pt>
          <cx:pt idx="10988">3.68391</cx:pt>
          <cx:pt idx="10989">10.92234</cx:pt>
          <cx:pt idx="10990">27.97167</cx:pt>
          <cx:pt idx="10991">10.037939999999999</cx:pt>
          <cx:pt idx="10992">2.1922199999999998</cx:pt>
          <cx:pt idx="10993">5.9613599999999902</cx:pt>
          <cx:pt idx="10994">6.14175</cx:pt>
          <cx:pt idx="10995">6.14175</cx:pt>
          <cx:pt idx="10996">3.68391</cx:pt>
          <cx:pt idx="10997">4.3399200000000002</cx:pt>
          <cx:pt idx="10998">5.1511199999999997</cx:pt>
          <cx:pt idx="10999">35.763969999999901</cx:pt>
          <cx:pt idx="11000">8.5639399999999899</cx:pt>
          <cx:pt idx="11001">4.6103199999999998</cx:pt>
          <cx:pt idx="11002">3.81501</cx:pt>
          <cx:pt idx="11003">3.68391</cx:pt>
          <cx:pt idx="11004">6.14175</cx:pt>
          <cx:pt idx="11005">5.4309900000000004</cx:pt>
          <cx:pt idx="11006">5.1511199999999997</cx:pt>
          <cx:pt idx="11007">6.14175</cx:pt>
          <cx:pt idx="11008">28.509069999999898</cx:pt>
          <cx:pt idx="11009">6.2842499999999992</cx:pt>
          <cx:pt idx="11010">13.2421799999999</cx:pt>
          <cx:pt idx="11011">5.8197600000000005</cx:pt>
          <cx:pt idx="11012">9.30093999999999</cx:pt>
          <cx:pt idx="11013">8.0038200000000295</cx:pt>
          <cx:pt idx="11014">6.14175</cx:pt>
          <cx:pt idx="11015">33.076969999999903</cx:pt>
          <cx:pt idx="11016">3.81501</cx:pt>
          <cx:pt idx="11017">5.6781600000000001</cx:pt>
          <cx:pt idx="11018">5.1511199999999997</cx:pt>
          <cx:pt idx="11019">5.4309900000000004</cx:pt>
          <cx:pt idx="11020">3.94611</cx:pt>
          <cx:pt idx="11021">9.44834</cx:pt>
          <cx:pt idx="11022">6.2842499999999992</cx:pt>
          <cx:pt idx="11023">4.20472</cx:pt>
          <cx:pt idx="11024">6.6660599999999999</cx:pt>
          <cx:pt idx="11025">6.14175</cx:pt>
          <cx:pt idx="11026">5.4309900000000004</cx:pt>
          <cx:pt idx="11027">3.81501</cx:pt>
          <cx:pt idx="11028">12.16558</cx:pt>
          <cx:pt idx="11029">6.2842499999999992</cx:pt>
          <cx:pt idx="11030">6.14175</cx:pt>
          <cx:pt idx="11031">5.1511199999999997</cx:pt>
          <cx:pt idx="11032">4.4751199999999995</cx:pt>
          <cx:pt idx="11033">10.48014</cx:pt>
          <cx:pt idx="11034">1.80762</cx:pt>
          <cx:pt idx="11035">12.165579999999899</cx:pt>
          <cx:pt idx="11036">5.4309900000000004</cx:pt>
          <cx:pt idx="11037">3.68391</cx:pt>
          <cx:pt idx="11038">9.44834</cx:pt>
          <cx:pt idx="11039">6.2842499999999992</cx:pt>
          <cx:pt idx="11040">10.774939999999999</cx:pt>
          <cx:pt idx="11041">3.68391</cx:pt>
          <cx:pt idx="11042">3.81501</cx:pt>
          <cx:pt idx="11043">6.2842499999999992</cx:pt>
          <cx:pt idx="11044">10.92234</cx:pt>
          <cx:pt idx="11045">5.1511199999999997</cx:pt>
          <cx:pt idx="11046">3.81501</cx:pt>
          <cx:pt idx="11047">3.68391</cx:pt>
          <cx:pt idx="11048">26.359469999999902</cx:pt>
          <cx:pt idx="11049">3.81501</cx:pt>
          <cx:pt idx="11050">10.92234</cx:pt>
          <cx:pt idx="11051">33.883069999999897</cx:pt>
          <cx:pt idx="11052">5.4309900000000004</cx:pt>
          <cx:pt idx="11053">5.4309900000000004</cx:pt>
          <cx:pt idx="11054">28.240369999999899</cx:pt>
          <cx:pt idx="11055">6.14175</cx:pt>
          <cx:pt idx="11056">32.808269999999901</cx:pt>
          <cx:pt idx="11057">9.1535399999999907</cx:pt>
          <cx:pt idx="11058">3.81501</cx:pt>
          <cx:pt idx="11059">8.4165399999999995</cx:pt>
          <cx:pt idx="11060">3.81501</cx:pt>
          <cx:pt idx="11061">4.4751199999999995</cx:pt>
          <cx:pt idx="11062">5.4309900000000004</cx:pt>
          <cx:pt idx="11063">8.7113399999999999</cx:pt>
          <cx:pt idx="11064">12.319380000000001</cx:pt>
          <cx:pt idx="11065">6.14175</cx:pt>
          <cx:pt idx="11066">28.777770000000004</cx:pt>
          <cx:pt idx="11067">10.92234</cx:pt>
          <cx:pt idx="11068">6.14175</cx:pt>
          <cx:pt idx="11069">5.4309900000000004</cx:pt>
          <cx:pt idx="11070">4.4751199999999995</cx:pt>
          <cx:pt idx="11071">4.4751199999999898</cx:pt>
          <cx:pt idx="11072">3.08962</cx:pt>
          <cx:pt idx="11073">6.14175</cx:pt>
          <cx:pt idx="11074">28.240369999999899</cx:pt>
          <cx:pt idx="11075">10.92234</cx:pt>
          <cx:pt idx="11076">6.14175</cx:pt>
          <cx:pt idx="11077">3.68391</cx:pt>
          <cx:pt idx="11078">8.5639399999999899</cx:pt>
          <cx:pt idx="11079">9.44834</cx:pt>
          <cx:pt idx="11080">6.2842499999999992</cx:pt>
          <cx:pt idx="11081">5.4309900000000004</cx:pt>
          <cx:pt idx="11082">4.4751199999999995</cx:pt>
          <cx:pt idx="11083">5.8197600000000005</cx:pt>
          <cx:pt idx="11084">4.6103199999999998</cx:pt>
          <cx:pt idx="11085">11.704180000000001</cx:pt>
          <cx:pt idx="11086">3.68391</cx:pt>
          <cx:pt idx="11087">6.2842499999999992</cx:pt>
          <cx:pt idx="11088">6.14175</cx:pt>
          <cx:pt idx="11089">5.1511199999999997</cx:pt>
          <cx:pt idx="11090">6.14175</cx:pt>
          <cx:pt idx="11091">5.4309900000000004</cx:pt>
          <cx:pt idx="11092">6.2842499999999992</cx:pt>
          <cx:pt idx="11093">5.1511199999999997</cx:pt>
          <cx:pt idx="11094">3.68391</cx:pt>
          <cx:pt idx="11095">9.890539999999989</cx:pt>
          <cx:pt idx="11096">5.4309900000000004</cx:pt>
          <cx:pt idx="11097">11.704180000000001</cx:pt>
          <cx:pt idx="11098">6.14175</cx:pt>
          <cx:pt idx="11099">6.5214599999999994</cx:pt>
          <cx:pt idx="11100">8.2691400000000002</cx:pt>
          <cx:pt idx="11101">2.9614199999999999</cx:pt>
          <cx:pt idx="11102">41.137969999999903</cx:pt>
          <cx:pt idx="11103">4.6103199999999998</cx:pt>
          <cx:pt idx="11104">3.08962</cx:pt>
          <cx:pt idx="11105">4.4751199999999995</cx:pt>
          <cx:pt idx="11106">9.30093999999999</cx:pt>
          <cx:pt idx="11107">6.14175</cx:pt>
          <cx:pt idx="11108">5.1511199999999997</cx:pt>
          <cx:pt idx="11109">5.1511199999999997</cx:pt>
          <cx:pt idx="11110">11.704180000000001</cx:pt>
          <cx:pt idx="11111">3.81501</cx:pt>
          <cx:pt idx="11112">3.68391</cx:pt>
          <cx:pt idx="11113">5.1511199999999997</cx:pt>
          <cx:pt idx="11114">26.090769999999903</cx:pt>
          <cx:pt idx="11115">1.6794199999999999</cx:pt>
          <cx:pt idx="11116">25.553369999999997</cx:pt>
          <cx:pt idx="11117">5.4309900000000004</cx:pt>
          <cx:pt idx="11118">6.2842499999999992</cx:pt>
          <cx:pt idx="11119">5.9613599999999902</cx:pt>
          <cx:pt idx="11120">6.5214599999999994</cx:pt>
          <cx:pt idx="11121">5.8197600000000005</cx:pt>
          <cx:pt idx="11122">11.85798</cx:pt>
          <cx:pt idx="11123">4.6103199999999998</cx:pt>
          <cx:pt idx="11124">27.97167</cx:pt>
          <cx:pt idx="11125">36.032670000000003</cx:pt>
          <cx:pt idx="11126">6.14175</cx:pt>
          <cx:pt idx="11127">3.68391</cx:pt>
          <cx:pt idx="11128">6.2842499999999992</cx:pt>
          <cx:pt idx="11129">11.85798</cx:pt>
          <cx:pt idx="11130">14.164979999999899</cx:pt>
          <cx:pt idx="11131">13.54978</cx:pt>
          <cx:pt idx="11132">5.1511199999999997</cx:pt>
          <cx:pt idx="11133">1.16662</cx:pt>
          <cx:pt idx="11134">6.9552600000000009</cx:pt>
          <cx:pt idx="11135">6.2842499999999992</cx:pt>
          <cx:pt idx="11136">5.1511199999999997</cx:pt>
          <cx:pt idx="11137">6.2842499999999992</cx:pt>
          <cx:pt idx="11138">5.1511199999999997</cx:pt>
          <cx:pt idx="11139">6.2842499999999992</cx:pt>
          <cx:pt idx="11140">6.14175</cx:pt>
          <cx:pt idx="11141">10.332739999999999</cx:pt>
          <cx:pt idx="11142">3.68391</cx:pt>
          <cx:pt idx="11143">14.164979999999899</cx:pt>
          <cx:pt idx="11144">11.550380000000001</cx:pt>
          <cx:pt idx="11145">3.81501</cx:pt>
          <cx:pt idx="11146">37.107469999999999</cx:pt>
          <cx:pt idx="11147">5.1511199999999997</cx:pt>
          <cx:pt idx="11148">28.240369999999999</cx:pt>
          <cx:pt idx="11149">10.037939999999999</cx:pt>
          <cx:pt idx="11150">6.14175</cx:pt>
          <cx:pt idx="11151">3.81501</cx:pt>
          <cx:pt idx="11152">35.495269999999898</cx:pt>
          <cx:pt idx="11153">6.14175</cx:pt>
          <cx:pt idx="11154">6.2842499999999992</cx:pt>
          <cx:pt idx="11155">4.4751199999999995</cx:pt>
          <cx:pt idx="11156">3.94611</cx:pt>
          <cx:pt idx="11157">38.182269999999903</cx:pt>
          <cx:pt idx="11158">27.702969999999898</cx:pt>
          <cx:pt idx="11159">7.6782600000000008</cx:pt>
          <cx:pt idx="11160">5.1511199999999997</cx:pt>
          <cx:pt idx="11161">3.81501</cx:pt>
          <cx:pt idx="11162">9.30093999999999</cx:pt>
          <cx:pt idx="11163">3.81501</cx:pt>
          <cx:pt idx="11164">59.409569999999704</cx:pt>
          <cx:pt idx="11165">5.1511199999999997</cx:pt>
          <cx:pt idx="11166">6.8106600000000004</cx:pt>
          <cx:pt idx="11167">5.4309900000000004</cx:pt>
          <cx:pt idx="11168">10.92234</cx:pt>
          <cx:pt idx="11169">47.049369999999904</cx:pt>
          <cx:pt idx="11170">10.774939999999999</cx:pt>
          <cx:pt idx="11171">5.4309900000000004</cx:pt>
          <cx:pt idx="11172">5.4309900000000004</cx:pt>
          <cx:pt idx="11173">6.14175</cx:pt>
          <cx:pt idx="11174">5.4309900000000004</cx:pt>
          <cx:pt idx="11175">6.2842499999999992</cx:pt>
          <cx:pt idx="11176">32.0021699999999</cx:pt>
          <cx:pt idx="11177">9.7431400000000004</cx:pt>
          <cx:pt idx="11178">4.4751199999999995</cx:pt>
          <cx:pt idx="11179">6.5214599999999994</cx:pt>
          <cx:pt idx="11180">5.1511199999999997</cx:pt>
          <cx:pt idx="11181">3.08962</cx:pt>
          <cx:pt idx="11182">5.1511199999999997</cx:pt>
          <cx:pt idx="11183">5.1511199999999997</cx:pt>
          <cx:pt idx="11184">9.1535399999999907</cx:pt>
          <cx:pt idx="11185">2.9614199999999999</cx:pt>
          <cx:pt idx="11186">6.5214599999999994</cx:pt>
          <cx:pt idx="11187">5.4309900000000004</cx:pt>
          <cx:pt idx="11188">5.1511199999999997</cx:pt>
          <cx:pt idx="11189">32.270870000000002</cx:pt>
          <cx:pt idx="11190">9.44834</cx:pt>
          <cx:pt idx="11191">5.4309900000000004</cx:pt>
          <cx:pt idx="11192">4.4751199999999898</cx:pt>
          <cx:pt idx="11193">4.4751199999999995</cx:pt>
          <cx:pt idx="11194">3.81501</cx:pt>
          <cx:pt idx="11195">5.1511199999999997</cx:pt>
          <cx:pt idx="11196">4.6103199999999998</cx:pt>
          <cx:pt idx="11197">12.01178</cx:pt>
          <cx:pt idx="11198">4.4751199999999995</cx:pt>
          <cx:pt idx="11199">10.92234</cx:pt>
          <cx:pt idx="11200">4.4751199999999995</cx:pt>
          <cx:pt idx="11201">3.68391</cx:pt>
          <cx:pt idx="11202">5.8197600000000005</cx:pt>
          <cx:pt idx="11203">26.89687</cx:pt>
          <cx:pt idx="11204">5.4309900000000004</cx:pt>
          <cx:pt idx="11205">50.273769999999693</cx:pt>
          <cx:pt idx="11206">6.9552600000000009</cx:pt>
          <cx:pt idx="11207">5.4309900000000004</cx:pt>
          <cx:pt idx="11208">6.14175</cx:pt>
          <cx:pt idx="11209">3.08962</cx:pt>
          <cx:pt idx="11210">5.4309900000000004</cx:pt>
          <cx:pt idx="11211">5.0159200000000004</cx:pt>
          <cx:pt idx="11212">13.703579999999899</cx:pt>
          <cx:pt idx="11213">3.68391</cx:pt>
          <cx:pt idx="11214">6.2842499999999992</cx:pt>
          <cx:pt idx="11215">5.4309900000000004</cx:pt>
          <cx:pt idx="11216">5.9613599999999902</cx:pt>
          <cx:pt idx="11217">5.6781600000000001</cx:pt>
          <cx:pt idx="11218">5.4309900000000004</cx:pt>
          <cx:pt idx="11219">12.01178</cx:pt>
          <cx:pt idx="11220">5.4309900000000004</cx:pt>
          <cx:pt idx="11221">4.4751199999999995</cx:pt>
          <cx:pt idx="11222">5.4309900000000004</cx:pt>
          <cx:pt idx="11223">5.4309900000000004</cx:pt>
          <cx:pt idx="11224">10.92234</cx:pt>
          <cx:pt idx="11225">0.91021999999999992</cx:pt>
          <cx:pt idx="11226">3.81501</cx:pt>
          <cx:pt idx="11227">3.81501</cx:pt>
          <cx:pt idx="11228">6.14175</cx:pt>
          <cx:pt idx="11229">0.91021999999999992</cx:pt>
          <cx:pt idx="11230">4.6373600000000206</cx:pt>
          <cx:pt idx="11231">14.472579999999999</cx:pt>
          <cx:pt idx="11232">5.9613599999999902</cx:pt>
          <cx:pt idx="11233">5.4309900000000004</cx:pt>
          <cx:pt idx="11234">3.68391</cx:pt>
          <cx:pt idx="11235">3.68391</cx:pt>
          <cx:pt idx="11236">5.4309900000000004</cx:pt>
          <cx:pt idx="11237">3.68391</cx:pt>
          <cx:pt idx="11238">14.318779999999901</cx:pt>
          <cx:pt idx="11239">5.6781600000000001</cx:pt>
          <cx:pt idx="11240">27.702970000000001</cx:pt>
          <cx:pt idx="11241">6.14175</cx:pt>
          <cx:pt idx="11242">6.2842499999999992</cx:pt>
          <cx:pt idx="11243">10.18534</cx:pt>
          <cx:pt idx="11244">4.4751199999999898</cx:pt>
          <cx:pt idx="11245">28.777769999999904</cx:pt>
          <cx:pt idx="11246">5.4309900000000004</cx:pt>
          <cx:pt idx="11247">6.14175</cx:pt>
          <cx:pt idx="11248">1.6794199999999999</cx:pt>
          <cx:pt idx="11249">5.4309900000000004</cx:pt>
          <cx:pt idx="11250">27.165569999999899</cx:pt>
          <cx:pt idx="11251">2.5768200000000001</cx:pt>
          <cx:pt idx="11252">10.92234</cx:pt>
          <cx:pt idx="11253">6.2842499999999992</cx:pt>
          <cx:pt idx="11254">6.6660599999999999</cx:pt>
          <cx:pt idx="11255">5.4309900000000004</cx:pt>
          <cx:pt idx="11256">1.6794199999999999</cx:pt>
          <cx:pt idx="11257">4.6103199999999998</cx:pt>
          <cx:pt idx="11258">10.92234</cx:pt>
          <cx:pt idx="11259">0.91021999999999992</cx:pt>
          <cx:pt idx="11260">3.81501</cx:pt>
          <cx:pt idx="11261">5.1511199999999997</cx:pt>
          <cx:pt idx="11262">5.1511199999999997</cx:pt>
          <cx:pt idx="11263">3.08962</cx:pt>
        </cx:lvl>
      </cx:numDim>
    </cx:data>
  </cx:chartData>
  <cx:chart>
    <cx:plotArea>
      <cx:plotAreaRegion>
        <cx:series layoutId="boxWhisker" uniqueId="{9762D397-CE6B-4FC1-B1E1-18B2662C12B2}">
          <cx:tx>
            <cx:txData>
              <cx:f>Sheet2!$A$1</cx:f>
              <cx:v>Global Accounts</cx:v>
            </cx:txData>
          </cx:tx>
          <cx:spPr>
            <a:ln w="28575"/>
          </cx:spPr>
          <cx:dataId val="0"/>
          <cx:layoutPr>
            <cx:visibility meanLine="1" meanMarker="1" nonoutliers="0" outliers="1"/>
            <cx:statistics quartileMethod="exclusive"/>
          </cx:layoutPr>
        </cx:series>
        <cx:series layoutId="boxWhisker" uniqueId="{8BF9F658-145A-4699-B868-D784EFC2A23B}">
          <cx:tx>
            <cx:txData>
              <cx:f>Sheet2!$B$1</cx:f>
              <cx:v>A</cx:v>
            </cx:txData>
          </cx:tx>
          <cx:spPr>
            <a:ln w="28575"/>
          </cx:spPr>
          <cx:dataId val="1"/>
          <cx:layoutPr>
            <cx:visibility meanLine="1" meanMarker="1" nonoutliers="0" outliers="1"/>
            <cx:statistics quartileMethod="exclusive"/>
          </cx:layoutPr>
        </cx:series>
        <cx:series layoutId="boxWhisker" uniqueId="{10402738-8017-4CC8-AA8A-D9CD3637C421}">
          <cx:tx>
            <cx:txData>
              <cx:f>Sheet2!$C$1</cx:f>
              <cx:v>B</cx:v>
            </cx:txData>
          </cx:tx>
          <cx:spPr>
            <a:ln w="28575"/>
          </cx:spPr>
          <cx:dataId val="2"/>
          <cx:layoutPr>
            <cx:visibility meanLine="1" meanMarker="1" nonoutliers="0" outliers="1"/>
            <cx:statistics quartileMethod="exclusive"/>
          </cx:layoutPr>
        </cx:series>
        <cx:series layoutId="boxWhisker" uniqueId="{632348C7-37D9-4B25-BD09-6669E4B16748}">
          <cx:tx>
            <cx:txData>
              <cx:f>Sheet2!$D$1</cx:f>
              <cx:v>B1 Grow</cx:v>
            </cx:txData>
          </cx:tx>
          <cx:spPr>
            <a:ln w="28575"/>
          </cx:spPr>
          <cx:dataId val="3"/>
          <cx:layoutPr>
            <cx:visibility meanLine="1" meanMarker="1" nonoutliers="0" outliers="1"/>
            <cx:statistics quartileMethod="exclusive"/>
          </cx:layoutPr>
        </cx:series>
        <cx:series layoutId="boxWhisker" uniqueId="{F52343F7-85B3-447E-9672-CECF1233248D}">
          <cx:tx>
            <cx:txData>
              <cx:f>Sheet2!$E$1</cx:f>
              <cx:v>B1 Retain</cx:v>
            </cx:txData>
          </cx:tx>
          <cx:spPr>
            <a:ln w="28575"/>
          </cx:spPr>
          <cx:dataId val="4"/>
          <cx:layoutPr>
            <cx:visibility meanLine="1" meanMarker="1" nonoutliers="0" outliers="1"/>
            <cx:statistics quartileMethod="exclusive"/>
          </cx:layoutPr>
        </cx:series>
        <cx:series layoutId="boxWhisker" uniqueId="{C871EB6C-F98E-4482-BAA5-69D48F8F7385}">
          <cx:tx>
            <cx:txData>
              <cx:f>Sheet2!$F$1</cx:f>
              <cx:v>B2</cx:v>
            </cx:txData>
          </cx:tx>
          <cx:spPr>
            <a:ln w="28575"/>
          </cx:spPr>
          <cx:dataId val="5"/>
          <cx:layoutPr>
            <cx:visibility meanLine="1" meanMarker="1" nonoutliers="0" outliers="1"/>
            <cx:statistics quartileMethod="exclusive"/>
          </cx:layoutPr>
        </cx:series>
        <cx:series layoutId="boxWhisker" uniqueId="{CD7FBF03-2F7C-4981-8C14-728D90671FF7}">
          <cx:tx>
            <cx:txData>
              <cx:f>Sheet2!$G$1</cx:f>
              <cx:v>B2 Grow</cx:v>
            </cx:txData>
          </cx:tx>
          <cx:spPr>
            <a:ln w="28575"/>
          </cx:spPr>
          <cx:dataId val="6"/>
          <cx:layoutPr>
            <cx:visibility meanLine="1" meanMarker="1" nonoutliers="0" outliers="1"/>
            <cx:statistics quartileMethod="exclusive"/>
          </cx:layoutPr>
        </cx:series>
        <cx:series layoutId="boxWhisker" uniqueId="{C94D1717-7EB2-4E73-AB06-6AA300AFA71A}">
          <cx:tx>
            <cx:txData>
              <cx:f>Sheet2!$H$1</cx:f>
              <cx:v>B2 Retain</cx:v>
            </cx:txData>
          </cx:tx>
          <cx:spPr>
            <a:ln w="28575"/>
          </cx:spPr>
          <cx:dataId val="7"/>
          <cx:layoutPr>
            <cx:visibility meanLine="1" meanMarker="1" nonoutliers="0" outliers="1"/>
            <cx:statistics quartileMethod="exclusive"/>
          </cx:layoutPr>
        </cx:series>
        <cx:series layoutId="boxWhisker" uniqueId="{CCE13811-5A1E-4CD6-B0B8-B5ED800F7F63}">
          <cx:tx>
            <cx:txData>
              <cx:f>Sheet2!$I$1</cx:f>
              <cx:v>B3</cx:v>
            </cx:txData>
          </cx:tx>
          <cx:spPr>
            <a:ln w="28575"/>
          </cx:spPr>
          <cx:dataId val="8"/>
          <cx:layoutPr>
            <cx:visibility meanLine="1" meanMarker="1" nonoutliers="0" outliers="1"/>
            <cx:statistics quartileMethod="exclusive"/>
          </cx:layoutPr>
        </cx:series>
        <cx:series layoutId="boxWhisker" uniqueId="{428131F4-C9D0-485D-BCD3-8D9747290D7F}">
          <cx:tx>
            <cx:txData>
              <cx:f>Sheet2!$J$1</cx:f>
              <cx:v>B3 Grow</cx:v>
            </cx:txData>
          </cx:tx>
          <cx:spPr>
            <a:ln w="28575"/>
          </cx:spPr>
          <cx:dataId val="9"/>
          <cx:layoutPr>
            <cx:visibility meanLine="1" meanMarker="1" nonoutliers="0" outliers="1"/>
            <cx:statistics quartileMethod="exclusive"/>
          </cx:layoutPr>
        </cx:series>
        <cx:series layoutId="boxWhisker" uniqueId="{5F266877-6787-4CE0-A7BD-7E85684DFB58}">
          <cx:tx>
            <cx:txData>
              <cx:f>Sheet2!$K$1</cx:f>
              <cx:v>B3 Retain</cx:v>
            </cx:txData>
          </cx:tx>
          <cx:spPr>
            <a:ln w="28575"/>
          </cx:spPr>
          <cx:dataId val="10"/>
          <cx:layoutPr>
            <cx:visibility meanLine="1" meanMarker="1" nonoutliers="0" outliers="1"/>
            <cx:statistics quartileMethod="exclusive"/>
          </cx:layoutPr>
        </cx:series>
        <cx:series layoutId="boxWhisker" uniqueId="{5768474A-780D-4C4F-8960-E8C00C716925}">
          <cx:tx>
            <cx:txData>
              <cx:f>Sheet2!$L$1</cx:f>
              <cx:v>C</cx:v>
            </cx:txData>
          </cx:tx>
          <cx:spPr>
            <a:ln w="28575"/>
          </cx:spPr>
          <cx:dataId val="11"/>
          <cx:layoutPr>
            <cx:visibility meanLine="1" meanMarker="1" nonoutliers="0" outliers="1"/>
            <cx:statistics quartileMethod="exclusive"/>
          </cx:layoutPr>
        </cx:series>
        <cx:series layoutId="boxWhisker" uniqueId="{8CA4E529-2732-42A2-B04D-A06C55AD8AC4}">
          <cx:tx>
            <cx:txData>
              <cx:f>Sheet2!$M$1</cx:f>
              <cx:v>D</cx:v>
            </cx:txData>
          </cx:tx>
          <cx:spPr>
            <a:ln w="28575"/>
          </cx:spPr>
          <cx:dataId val="12"/>
          <cx:layoutPr>
            <cx:visibility meanLine="1" meanMarker="1" nonoutliers="0" outliers="1"/>
            <cx:statistics quartileMethod="exclusive"/>
          </cx:layoutPr>
        </cx:series>
      </cx:plotAreaRegion>
      <cx:axis id="0">
        <cx:catScaling gapWidth="0"/>
        <cx:tickLabels/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100" b="1"/>
            </a:pPr>
            <a:endParaRPr lang="en-US" sz="1100" b="1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PayPal Sans Big Light"/>
            </a:endParaRPr>
          </a:p>
        </cx:txPr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US_Region_Box_Plots!$D$2:$D$6755</cx:f>
        <cx:lvl ptCount="6754" formatCode="_(* #,##0_);_(* \(#,##0\);_(* &quot;-&quot;??_);_(@_)">
          <cx:pt idx="0">8.9232000000000014</cx:pt>
          <cx:pt idx="1">18.917400000000001</cx:pt>
          <cx:pt idx="2">63.950600000000001</cx:pt>
          <cx:pt idx="3">57.501799999999704</cx:pt>
          <cx:pt idx="4">38.450969999999998</cx:pt>
          <cx:pt idx="5">55.889599999999994</cx:pt>
          <cx:pt idx="6">40.842399999999998</cx:pt>
          <cx:pt idx="7">18.456</cx:pt>
          <cx:pt idx="8">59.3827</cx:pt>
          <cx:pt idx="9">7.7063999999999995</cx:pt>
          <cx:pt idx="10">58.845299999999902</cx:pt>
          <cx:pt idx="11">3.9741999999999997</cx:pt>
          <cx:pt idx="12">6.1616999999999997</cx:pt>
          <cx:pt idx="13">13.5924</cx:pt>
          <cx:pt idx="14">15.329599999999999</cx:pt>
          <cx:pt idx="15">61.532299999999694</cx:pt>
          <cx:pt idx="16">3.4742199999999896</cx:pt>
          <cx:pt idx="17">46.753799999999998</cx:pt>
          <cx:pt idx="18">7.3143200000000004</cx:pt>
          <cx:pt idx="19">7.4359999999999999</cx:pt>
          <cx:pt idx="20">3.34601999999999</cx:pt>
          <cx:pt idx="21">12.319199999999899</cx:pt>
          <cx:pt idx="22">13.1242499999999</cx:pt>
          <cx:pt idx="23">45.4102999999999</cx:pt>
          <cx:pt idx="24">37.886699999999998</cx:pt>
          <cx:pt idx="25">9.5840999999999994</cx:pt>
          <cx:pt idx="26">48.903400000000005</cx:pt>
          <cx:pt idx="27">14.74</cx:pt>
          <cx:pt idx="28">10.5564</cx:pt>
          <cx:pt idx="29">17.533199999999997</cx:pt>
          <cx:pt idx="30">11.4696</cx:pt>
          <cx:pt idx="31">52.665199999999999</cx:pt>
          <cx:pt idx="32">70.399399999999702</cx:pt>
          <cx:pt idx="33">99.956399999999704</cx:pt>
          <cx:pt idx="34">11.894399999999999</cx:pt>
          <cx:pt idx="35">2.1922199999999998</cx:pt>
          <cx:pt idx="36">49.763239999999996</cx:pt>
          <cx:pt idx="37">10.6952999999999</cx:pt>
          <cx:pt idx="38">48.903400000000005</cx:pt>
          <cx:pt idx="39">91.357999999999691</cx:pt>
          <cx:pt idx="40">68.787199999999899</cx:pt>
          <cx:pt idx="41">12.177599999999899</cx:pt>
          <cx:pt idx="42">52.665199999999999</cx:pt>
          <cx:pt idx="43">4.4870000000000001</cx:pt>
          <cx:pt idx="44">63.950600000000001</cx:pt>
          <cx:pt idx="45">9.0583999999999989</cx:pt>
          <cx:pt idx="46">3.7306199999999996</cx:pt>
          <cx:pt idx="47">9.4451999999999998</cx:pt>
          <cx:pt idx="48">65.885239999999996</cx:pt>
          <cx:pt idx="49">50.784299999999902</cx:pt>
          <cx:pt idx="50">9.7368899999999989</cx:pt>
          <cx:pt idx="51">34.662300000000002</cx:pt>
          <cx:pt idx="52">9.8619000000000003</cx:pt>
          <cx:pt idx="53">7.4359999999999999</cx:pt>
          <cx:pt idx="54">57.233099999999901</cx:pt>
          <cx:pt idx="55">15.786539999999999</cx:pt>
          <cx:pt idx="56">13.751459999999899</cx:pt>
          <cx:pt idx="57">7.5712000000000002</cx:pt>
          <cx:pt idx="58">39.230199999999897</cx:pt>
          <cx:pt idx="59">65.294099999999702</cx:pt>
          <cx:pt idx="60">17.687000000000001</cx:pt>
          <cx:pt idx="61">55.674639999999997</cx:pt>
          <cx:pt idx="62">52.127799999999901</cx:pt>
          <cx:pt idx="63">37.913569999999702</cx:pt>
          <cx:pt idx="64">37.644869999999706</cx:pt>
          <cx:pt idx="65">1.42302</cx:pt>
        </cx:lvl>
      </cx:numDim>
    </cx:data>
    <cx:data id="1">
      <cx:numDim type="val">
        <cx:f>US_Region_Box_Plots!$E$2:$E$6755</cx:f>
        <cx:lvl ptCount="6754" formatCode="_(* #,##0_);_(* \(#,##0\);_(* &quot;-&quot;??_);_(@_)">
          <cx:pt idx="0">10.278600000000001</cx:pt>
          <cx:pt idx="1">19.532599999999999</cx:pt>
          <cx:pt idx="2">8.1120000000000001</cx:pt>
          <cx:pt idx="3">7.1655999999999995</cx:pt>
          <cx:pt idx="4">10.973099999999999</cx:pt>
          <cx:pt idx="5">7.5712000000000002</cx:pt>
          <cx:pt idx="6">45.73274</cx:pt>
          <cx:pt idx="7">15.04954</cx:pt>
          <cx:pt idx="8">18.009979999999899</cx:pt>
          <cx:pt idx="9">14.055119999999999</cx:pt>
          <cx:pt idx="10">4.4870000000000001</cx:pt>
          <cx:pt idx="11">10.6952999999999</cx:pt>
          <cx:pt idx="12">48.097299999999898</cx:pt>
          <cx:pt idx="13">16.764200000000002</cx:pt>
          <cx:pt idx="14">12.460799999999999</cx:pt>
          <cx:pt idx="15">37.080599999999905</cx:pt>
          <cx:pt idx="16">5.89949999999999</cx:pt>
          <cx:pt idx="17">31.464769999999998</cx:pt>
          <cx:pt idx="18">11.611199999999899</cx:pt>
          <cx:pt idx="19">37.618000000000002</cx:pt>
          <cx:pt idx="20">5.0126199999999894</cx:pt>
          <cx:pt idx="21">8.3959200000000003</cx:pt>
          <cx:pt idx="22">36.274499999999996</cx:pt>
          <cx:pt idx="23">10.278600000000001</cx:pt>
          <cx:pt idx="24">10.861980000000001</cx:pt>
          <cx:pt idx="25">15.329599999999999</cx:pt>
          <cx:pt idx="26">38.961499999999901</cx:pt>
          <cx:pt idx="27">16.917999999999999</cx:pt>
          <cx:pt idx="28">17.394779999999898</cx:pt>
          <cx:pt idx="29">42.454599999999999</cx:pt>
          <cx:pt idx="30">4.3588000000000005</cx:pt>
          <cx:pt idx="31">43.529399999999903</cx:pt>
          <cx:pt idx="32">10.139699999999999</cx:pt>
          <cx:pt idx="33">12.347519999999999</cx:pt>
          <cx:pt idx="34">57.770499999999899</cx:pt>
          <cx:pt idx="35">7.4359999999999999</cx:pt>
          <cx:pt idx="36">1.42301999999999</cx:pt>
          <cx:pt idx="37">42.212769999999701</cx:pt>
          <cx:pt idx="38">10.0008</cx:pt>
          <cx:pt idx="39">10.139699999999999</cx:pt>
          <cx:pt idx="40">5.6504099999999999</cx:pt>
          <cx:pt idx="41">3.4742199999999896</cx:pt>
          <cx:pt idx="42">2.5768200000000001</cx:pt>
          <cx:pt idx="43">9.8619000000000003</cx:pt>
          <cx:pt idx="44">17.0718</cx:pt>
          <cx:pt idx="45">10.139699999999999</cx:pt>
          <cx:pt idx="46">36.543199999999999</cx:pt>
          <cx:pt idx="47">10.6952999999999</cx:pt>
          <cx:pt idx="48">17.3794</cx:pt>
          <cx:pt idx="49">47.022500000000001</cx:pt>
          <cx:pt idx="50">54.814799999999998</cx:pt>
          <cx:pt idx="51">10.5564</cx:pt>
          <cx:pt idx="52">9.722999999999999</cx:pt>
          <cx:pt idx="53">10.6952999999999</cx:pt>
          <cx:pt idx="54">10.0008</cx:pt>
          <cx:pt idx="55">8.7880000000000003</cx:pt>
          <cx:pt idx="56">7.8415999999999997</cx:pt>
          <cx:pt idx="57">38.1554</cx:pt>
          <cx:pt idx="58">17.0718</cx:pt>
          <cx:pt idx="59">36.543199999999999</cx:pt>
          <cx:pt idx="60">16.764200000000002</cx:pt>
          <cx:pt idx="61">8.7880000000000003</cx:pt>
          <cx:pt idx="62">15.771799999999999</cx:pt>
          <cx:pt idx="63">10.4175</cx:pt>
          <cx:pt idx="64">35.468400000000003</cx:pt>
          <cx:pt idx="65">35.1997</cx:pt>
          <cx:pt idx="66">10.834199999999999</cx:pt>
          <cx:pt idx="67">10.4175</cx:pt>
          <cx:pt idx="68">7.1655999999999995</cx:pt>
          <cx:pt idx="69">36.811899999999895</cx:pt>
          <cx:pt idx="70">59.3827</cx:pt>
          <cx:pt idx="71">11.894399999999999</cx:pt>
          <cx:pt idx="72">14.1708</cx:pt>
          <cx:pt idx="73">49.709499999999998</cx:pt>
          <cx:pt idx="74">9.8619000000000003</cx:pt>
          <cx:pt idx="75">4.4870000000000001</cx:pt>
          <cx:pt idx="76">10.6952999999999</cx:pt>
          <cx:pt idx="77">9.0583999999999989</cx:pt>
          <cx:pt idx="78">10.973099999999999</cx:pt>
          <cx:pt idx="79">9.8619000000000003</cx:pt>
          <cx:pt idx="80">10.973099999999999</cx:pt>
          <cx:pt idx="81">14.74</cx:pt>
          <cx:pt idx="82">18.6098</cx:pt>
          <cx:pt idx="83">11.752799999999999</cx:pt>
          <cx:pt idx="84">9.5840999999999994</cx:pt>
          <cx:pt idx="85">58.361639999999703</cx:pt>
          <cx:pt idx="86">3.8460000000000001</cx:pt>
          <cx:pt idx="87">14.1708</cx:pt>
          <cx:pt idx="88">5.2818400000000203</cx:pt>
          <cx:pt idx="89">9.8619000000000003</cx:pt>
          <cx:pt idx="90">10.5564</cx:pt>
          <cx:pt idx="91">11.752799999999999</cx:pt>
          <cx:pt idx="92">7.7063999999999995</cx:pt>
          <cx:pt idx="93">17.0718</cx:pt>
          <cx:pt idx="94">46.485100000000003</cx:pt>
          <cx:pt idx="95">8.2472000000000012</cx:pt>
          <cx:pt idx="96">9.722999999999999</cx:pt>
          <cx:pt idx="97">15.329599999999999</cx:pt>
          <cx:pt idx="98">5.89949999999999</cx:pt>
          <cx:pt idx="99">14.74</cx:pt>
          <cx:pt idx="100">36.274499999999996</cx:pt>
          <cx:pt idx="101">64.27303999999971</cx:pt>
          <cx:pt idx="102">3.9741999999999997</cx:pt>
          <cx:pt idx="103">36.543199999999999</cx:pt>
          <cx:pt idx="104">10.6952999999999</cx:pt>
          <cx:pt idx="105">14.8873999999999</cx:pt>
          <cx:pt idx="106">47.559899999999999</cx:pt>
          <cx:pt idx="107">10.834199999999999</cx:pt>
          <cx:pt idx="108">8.1120000000000001</cx:pt>
          <cx:pt idx="109">8.2472000000000012</cx:pt>
          <cx:pt idx="110">16.764200000000002</cx:pt>
          <cx:pt idx="111">37.886699999999998</cx:pt>
          <cx:pt idx="112">7.8415999999999997</cx:pt>
          <cx:pt idx="113">8.2472000000000012</cx:pt>
          <cx:pt idx="114">8.6527999999999992</cx:pt>
          <cx:pt idx="115">14.1708</cx:pt>
          <cx:pt idx="116">9.722999999999999</cx:pt>
          <cx:pt idx="117">13.621320000000001</cx:pt>
          <cx:pt idx="118">9.722999999999999</cx:pt>
          <cx:pt idx="119">10.278600000000001</cx:pt>
          <cx:pt idx="120">5.1279999999999903</cx:pt>
          <cx:pt idx="121">14.74</cx:pt>
          <cx:pt idx="122">35.737099999999998</cx:pt>
          <cx:pt idx="123">43.2607</cx:pt>
          <cx:pt idx="124">15.476999999999999</cx:pt>
          <cx:pt idx="125">39.767599999999995</cx:pt>
          <cx:pt idx="126">7.1655999999999995</cx:pt>
          <cx:pt idx="127">15.182200000000002</cx:pt>
          <cx:pt idx="128">12.319199999999899</cx:pt>
          <cx:pt idx="129">14.74</cx:pt>
          <cx:pt idx="130">10.6952999999999</cx:pt>
          <cx:pt idx="131">10.278600000000001</cx:pt>
          <cx:pt idx="132">17.3794</cx:pt>
          <cx:pt idx="133">5.89949999999999</cx:pt>
          <cx:pt idx="134">11.328000000000001</cx:pt>
          <cx:pt idx="135">8.2472000000000012</cx:pt>
          <cx:pt idx="136">18.302199999999999</cx:pt>
          <cx:pt idx="137">9.8619000000000003</cx:pt>
          <cx:pt idx="138">42.992000000000004</cx:pt>
          <cx:pt idx="139">8.6527999999999992</cx:pt>
          <cx:pt idx="140">8.9232000000000014</cx:pt>
          <cx:pt idx="141">10.4175</cx:pt>
          <cx:pt idx="142">11.894399999999999</cx:pt>
          <cx:pt idx="143">6.6860999999999908</cx:pt>
          <cx:pt idx="144">10.278600000000001</cx:pt>
          <cx:pt idx="145">8.80152</cx:pt>
          <cx:pt idx="146">10.834199999999999</cx:pt>
          <cx:pt idx="147">9.722999999999999</cx:pt>
          <cx:pt idx="148">17.3794</cx:pt>
          <cx:pt idx="149">8.6527999999999992</cx:pt>
          <cx:pt idx="150">9.722999999999999</cx:pt>
          <cx:pt idx="151">9.722999999999999</cx:pt>
          <cx:pt idx="152">6.4239000000000006</cx:pt>
          <cx:pt idx="153">16.917999999999999</cx:pt>
          <cx:pt idx="154">8.9232000000000014</cx:pt>
          <cx:pt idx="155">12.036</cx:pt>
          <cx:pt idx="156">8.6527999999999992</cx:pt>
          <cx:pt idx="157">10.6952999999999</cx:pt>
          <cx:pt idx="158">10.5564</cx:pt>
          <cx:pt idx="159">5.7683999999999997</cx:pt>
          <cx:pt idx="160">15.329599999999999</cx:pt>
          <cx:pt idx="161">3.4613999999999998</cx:pt>
          <cx:pt idx="162">10.4175</cx:pt>
          <cx:pt idx="163">10.6952999999999</cx:pt>
          <cx:pt idx="164">12.83925</cx:pt>
          <cx:pt idx="165">14.8873999999999</cx:pt>
          <cx:pt idx="166">46.216399999999901</cx:pt>
          <cx:pt idx="167">6.5549999999999997</cx:pt>
          <cx:pt idx="168">10.4175</cx:pt>
          <cx:pt idx="169">8.2472000000000012</cx:pt>
          <cx:pt idx="170">35.1997</cx:pt>
          <cx:pt idx="171">8.3823999999999987</cx:pt>
          <cx:pt idx="172">8.6527999999999992</cx:pt>
          <cx:pt idx="173">12.319199999999899</cx:pt>
          <cx:pt idx="174">45.678999999999995</cx:pt>
          <cx:pt idx="175">10.6952999999999</cx:pt>
          <cx:pt idx="176">18.456</cx:pt>
          <cx:pt idx="177">41.648499999999999</cx:pt>
          <cx:pt idx="178">7.1655999999999995</cx:pt>
          <cx:pt idx="179">5.5061999999999998</cx:pt>
          <cx:pt idx="180">7.9767999999999892</cx:pt>
          <cx:pt idx="181">13.447799999999999</cx:pt>
          <cx:pt idx="182">37.3492999999999</cx:pt>
          <cx:pt idx="183">10.4175</cx:pt>
          <cx:pt idx="184">8.9232000000000014</cx:pt>
          <cx:pt idx="185">6.03059999999999</cx:pt>
          <cx:pt idx="186">6.2927999999999997</cx:pt>
          <cx:pt idx="187">11.752799999999999</cx:pt>
          <cx:pt idx="188">3.8460000000000001</cx:pt>
          <cx:pt idx="189">37.618000000000002</cx:pt>
          <cx:pt idx="190">5.1279999999999903</cx:pt>
          <cx:pt idx="191">9.722999999999999</cx:pt>
          <cx:pt idx="192">19.225000000000001</cx:pt>
          <cx:pt idx="193">11.328000000000001</cx:pt>
          <cx:pt idx="194">8.2472000000000012</cx:pt>
          <cx:pt idx="195">10.4175</cx:pt>
          <cx:pt idx="196">8.6527999999999992</cx:pt>
          <cx:pt idx="197">9.4451999999999998</cx:pt>
          <cx:pt idx="198">10.0008</cx:pt>
          <cx:pt idx="199">12.177599999999899</cx:pt>
          <cx:pt idx="200">12.036</cx:pt>
          <cx:pt idx="201">37.3492999999999</cx:pt>
          <cx:pt idx="202">10.0008</cx:pt>
          <cx:pt idx="203">34.662300000000002</cx:pt>
          <cx:pt idx="204">59.113999999999699</cx:pt>
          <cx:pt idx="205">42.992000000000004</cx:pt>
          <cx:pt idx="206">8.1255199999999999</cx:pt>
          <cx:pt idx="207">3.60242</cx:pt>
          <cx:pt idx="208">14.1852599999999</cx:pt>
          <cx:pt idx="209">15.034799999999901</cx:pt>
          <cx:pt idx="210">17.2256</cx:pt>
          <cx:pt idx="211">4.4870000000000001</cx:pt>
          <cx:pt idx="212">10.5564</cx:pt>
          <cx:pt idx="213">2.9614199999999999</cx:pt>
          <cx:pt idx="214">2.1922199999999998</cx:pt>
          <cx:pt idx="215">9.722999999999999</cx:pt>
          <cx:pt idx="216">15.6244</cx:pt>
          <cx:pt idx="217">12.460799999999999</cx:pt>
          <cx:pt idx="218">56.453869999999995</cx:pt>
          <cx:pt idx="219">13.5924</cx:pt>
          <cx:pt idx="220">4.8715999999999999</cx:pt>
          <cx:pt idx="221">15.771799999999999</cx:pt>
          <cx:pt idx="222">8.1120000000000001</cx:pt>
          <cx:pt idx="223">40.036300000000004</cx:pt>
          <cx:pt idx="224">10.139699999999999</cx:pt>
          <cx:pt idx="225">14.1708</cx:pt>
          <cx:pt idx="226">11.328000000000001</cx:pt>
          <cx:pt idx="227">52.665199999999999</cx:pt>
          <cx:pt idx="228">14.0261999999999</cx:pt>
          <cx:pt idx="229">7.1655999999999995</cx:pt>
          <cx:pt idx="230">18.917400000000001</cx:pt>
          <cx:pt idx="231">10.834199999999999</cx:pt>
          <cx:pt idx="232">40.036300000000004</cx:pt>
          <cx:pt idx="233">48.097299999999898</cx:pt>
          <cx:pt idx="234">8.9232000000000014</cx:pt>
          <cx:pt idx="235">6.5549999999999997</cx:pt>
          <cx:pt idx="236">46.216399999999901</cx:pt>
          <cx:pt idx="237">3.8460000000000001</cx:pt>
          <cx:pt idx="238">8.5175999999999998</cx:pt>
          <cx:pt idx="239">16.93338</cx:pt>
          <cx:pt idx="240">5.6504099999999999</cx:pt>
          <cx:pt idx="241">5.2561999999999998</cx:pt>
          <cx:pt idx="242">39.498899999999999</cx:pt>
          <cx:pt idx="243">12.319379999999901</cx:pt>
          <cx:pt idx="244">35.1997</cx:pt>
          <cx:pt idx="245">50.246899999999904</cx:pt>
          <cx:pt idx="246">42.750169999999898</cx:pt>
          <cx:pt idx="247">3.8460000000000001</cx:pt>
          <cx:pt idx="248">9.8619000000000003</cx:pt>
          <cx:pt idx="249">45.947700000000005</cx:pt>
          <cx:pt idx="250">17.994599999999998</cx:pt>
          <cx:pt idx="251">6.5549999999999997</cx:pt>
          <cx:pt idx="252">7.5712000000000002</cx:pt>
          <cx:pt idx="253">55.405939999999696</cx:pt>
          <cx:pt idx="254">50.246899999999904</cx:pt>
          <cx:pt idx="255">18.778979999999901</cx:pt>
          <cx:pt idx="256">14.315399999999901</cx:pt>
          <cx:pt idx="257">6.6860999999999908</cx:pt>
          <cx:pt idx="258">19.240380000000002</cx:pt>
          <cx:pt idx="259">7.8415999999999997</cx:pt>
          <cx:pt idx="260">10.4175</cx:pt>
          <cx:pt idx="261">5.5061999999999998</cx:pt>
          <cx:pt idx="262">17.994599999999998</cx:pt>
          <cx:pt idx="263">2.1922199999999998</cx:pt>
          <cx:pt idx="264">8.6527999999999992</cx:pt>
          <cx:pt idx="265">55.352199999999698</cx:pt>
          <cx:pt idx="266">5.89949999999999</cx:pt>
          <cx:pt idx="267">37.886699999999998</cx:pt>
          <cx:pt idx="268">39.230199999999897</cx:pt>
          <cx:pt idx="269">29.583869999999902</cx:pt>
          <cx:pt idx="270">2.1922199999999998</cx:pt>
          <cx:pt idx="271">7.1655999999999995</cx:pt>
          <cx:pt idx="272">12.036</cx:pt>
          <cx:pt idx="273">8.6527999999999992</cx:pt>
          <cx:pt idx="274">7.5847200000000008</cx:pt>
          <cx:pt idx="275">1.42302</cx:pt>
          <cx:pt idx="276">1.80762</cx:pt>
          <cx:pt idx="277">7.9767999999999892</cx:pt>
          <cx:pt idx="278">16.779579999999999</cx:pt>
          <cx:pt idx="279">16.764200000000002</cx:pt>
        </cx:lvl>
      </cx:numDim>
    </cx:data>
    <cx:data id="2">
      <cx:numDim type="val">
        <cx:f>US_Region_Box_Plots!$F$2:$F$6755</cx:f>
        <cx:lvl ptCount="6754" formatCode="_(* #,##0_);_(* \(#,##0\);_(* &quot;-&quot;??_);_(@_)">
          <cx:pt idx="0">57.501799999999903</cx:pt>
          <cx:pt idx="1">36.032670000000003</cx:pt>
          <cx:pt idx="2">15.344340000000001</cx:pt>
          <cx:pt idx="3">18.7636</cx:pt>
          <cx:pt idx="4">53.202599999999997</cx:pt>
          <cx:pt idx="5">37.080599999999905</cx:pt>
          <cx:pt idx="6">59.382699999999701</cx:pt>
          <cx:pt idx="7">42.454599999999999</cx:pt>
          <cx:pt idx="8">43.556270000000005</cx:pt>
          <cx:pt idx="9">15.04954</cx:pt>
          <cx:pt idx="10">17.24098</cx:pt>
          <cx:pt idx="11">56.185169999999992</cx:pt>
          <cx:pt idx="12">36.274499999999996</cx:pt>
          <cx:pt idx="13">2.9614199999999999</cx:pt>
          <cx:pt idx="14">10.167479999999999</cx:pt>
          <cx:pt idx="15">38.424100000000003</cx:pt>
          <cx:pt idx="16">14.74</cx:pt>
          <cx:pt idx="17">6.5549999999999997</cx:pt>
          <cx:pt idx="18">37.3492999999999</cx:pt>
          <cx:pt idx="19">35.495269999999898</cx:pt>
          <cx:pt idx="20">19.532599999999999</cx:pt>
          <cx:pt idx="21">54.868539999999697</cx:pt>
          <cx:pt idx="22">9.0583999999999989</cx:pt>
          <cx:pt idx="23">43.556270000000005</cx:pt>
          <cx:pt idx="24">36.274499999999996</cx:pt>
          <cx:pt idx="25">19.225000000000001</cx:pt>
          <cx:pt idx="26">19.240380000000002</cx:pt>
          <cx:pt idx="27">47.291200000000003</cx:pt>
          <cx:pt idx="28">50.273769999999999</cx:pt>
          <cx:pt idx="29">49.978200000000001</cx:pt>
          <cx:pt idx="30">3.8460000000000001</cx:pt>
          <cx:pt idx="31">57.233099999999901</cx:pt>
          <cx:pt idx="32">9.0583999999999989</cx:pt>
          <cx:pt idx="33">91.680439999999692</cx:pt>
          <cx:pt idx="34">47.559899999999999</cx:pt>
          <cx:pt idx="35">13.881599999999899</cx:pt>
          <cx:pt idx="36">17.687000000000001</cx:pt>
          <cx:pt idx="37">3.2050000000000001</cx:pt>
          <cx:pt idx="38">53.7937399999999</cx:pt>
          <cx:pt idx="39">4.3588000000000005</cx:pt>
          <cx:pt idx="40">12.050159999999901</cx:pt>
          <cx:pt idx="41">16.764200000000002</cx:pt>
          <cx:pt idx="42">48.151039999999703</cx:pt>
          <cx:pt idx="43">2.9614199999999999</cx:pt>
          <cx:pt idx="44">10.0008</cx:pt>
          <cx:pt idx="45">5.89949999999999</cx:pt>
          <cx:pt idx="46">44.6041999999997</cx:pt>
          <cx:pt idx="47">4.4870000000000001</cx:pt>
          <cx:pt idx="48">3.9741999999999997</cx:pt>
          <cx:pt idx="49">5.89949999999999</cx:pt>
          <cx:pt idx="50">3.5895999999999999</cx:pt>
          <cx:pt idx="51">51.052999999999905</cx:pt>
          <cx:pt idx="52">14.1708</cx:pt>
          <cx:pt idx="53">41.379800000000003</cx:pt>
          <cx:pt idx="54">9.5840999999999994</cx:pt>
          <cx:pt idx="55">19.686400000000003</cx:pt>
          <cx:pt idx="56">8.0173600000000214</cx:pt>
          <cx:pt idx="57">49.978200000000001</cx:pt>
          <cx:pt idx="58">45.947700000000005</cx:pt>
          <cx:pt idx="59">36.543199999999999</cx:pt>
          <cx:pt idx="60">47.559899999999999</cx:pt>
          <cx:pt idx="61">18.794359999999998</cx:pt>
          <cx:pt idx="62">40.842399999999998</cx:pt>
          <cx:pt idx="63">48.903400000000005</cx:pt>
          <cx:pt idx="64">56.426999999999907</cx:pt>
          <cx:pt idx="65">46.216399999999901</cx:pt>
          <cx:pt idx="66">37.886699999999998</cx:pt>
          <cx:pt idx="67">19.394179999999999</cx:pt>
          <cx:pt idx="68">37.3492999999999</cx:pt>
          <cx:pt idx="69">14.315399999999901</cx:pt>
          <cx:pt idx="70">46.485100000000003</cx:pt>
          <cx:pt idx="71">43.2607</cx:pt>
          <cx:pt idx="72">37.080599999999905</cx:pt>
          <cx:pt idx="73">56.695699999999903</cx:pt>
          <cx:pt idx="74">41.1111</cx:pt>
          <cx:pt idx="75">50.784299999999902</cx:pt>
          <cx:pt idx="76">43.529399999999903</cx:pt>
          <cx:pt idx="77">43.529399999999903</cx:pt>
          <cx:pt idx="78">43.2607</cx:pt>
          <cx:pt idx="79">19.378799999999998</cx:pt>
          <cx:pt idx="80">36.811899999999895</cx:pt>
          <cx:pt idx="81">36.811899999999895</cx:pt>
          <cx:pt idx="82">13.109999999999999</cx:pt>
          <cx:pt idx="83">47.559899999999999</cx:pt>
          <cx:pt idx="84">54.546099999999996</cx:pt>
          <cx:pt idx="85">53.498169999999902</cx:pt>
          <cx:pt idx="86">10.4175</cx:pt>
          <cx:pt idx="87">54.008699999999997</cx:pt>
          <cx:pt idx="88">48.634699999999995</cx:pt>
          <cx:pt idx="89">47.022500000000001</cx:pt>
          <cx:pt idx="90">10.278600000000001</cx:pt>
          <cx:pt idx="91">36.543199999999999</cx:pt>
          <cx:pt idx="92">49.978200000000001</cx:pt>
          <cx:pt idx="93">46.216399999999901</cx:pt>
          <cx:pt idx="94">48.634699999999995</cx:pt>
          <cx:pt idx="95">49.978199999999703</cx:pt>
          <cx:pt idx="96">18.456</cx:pt>
          <cx:pt idx="97">44.335500000000003</cx:pt>
          <cx:pt idx="98">9.8619000000000003</cx:pt>
          <cx:pt idx="99">39.230199999999897</cx:pt>
          <cx:pt idx="100">38.746540000000003</cx:pt>
          <cx:pt idx="101">37.618000000000002</cx:pt>
          <cx:pt idx="102">46.485100000000003</cx:pt>
          <cx:pt idx="103">16.764200000000002</cx:pt>
          <cx:pt idx="104">42.454599999999999</cx:pt>
          <cx:pt idx="105">18.148399999999899</cx:pt>
          <cx:pt idx="106">5.0159200000000004</cx:pt>
          <cx:pt idx="107">13.109999999999999</cx:pt>
          <cx:pt idx="108">69.593299999999701</cx:pt>
          <cx:pt idx="109">3.3332000000000002</cx:pt>
          <cx:pt idx="110">17.840799999999902</cx:pt>
          <cx:pt idx="111">10.139699999999999</cx:pt>
          <cx:pt idx="112">16.93338</cx:pt>
          <cx:pt idx="113">17.0718</cx:pt>
          <cx:pt idx="114">41.1111</cx:pt>
          <cx:pt idx="115">51.590400000000002</cx:pt>
          <cx:pt idx="116">48.903400000000005</cx:pt>
          <cx:pt idx="117">8.80152</cx:pt>
          <cx:pt idx="118">37.886699999999998</cx:pt>
          <cx:pt idx="119">40.573700000000002</cx:pt>
          <cx:pt idx="120">42.723299999999995</cx:pt>
          <cx:pt idx="121">37.618000000000002</cx:pt>
          <cx:pt idx="122">51.859100000000005</cx:pt>
          <cx:pt idx="123">17.994599999999998</cx:pt>
          <cx:pt idx="124">38.961499999999901</cx:pt>
          <cx:pt idx="125">37.886699999999998</cx:pt>
          <cx:pt idx="126">44.872899999999902</cx:pt>
          <cx:pt idx="127">5.5061999999999998</cx:pt>
          <cx:pt idx="128">10.973099999999999</cx:pt>
          <cx:pt idx="129">43.798099999999998</cx:pt>
          <cx:pt idx="130">51.859100000000005</cx:pt>
          <cx:pt idx="131">51.052999999999905</cx:pt>
          <cx:pt idx="132">87.918639999999698</cx:pt>
          <cx:pt idx="133">70.963669999999894</cx:pt>
          <cx:pt idx="134">41.1111</cx:pt>
          <cx:pt idx="135">38.424100000000003</cx:pt>
          <cx:pt idx="136">47.559899999999999</cx:pt>
          <cx:pt idx="137">68.787199999999899</cx:pt>
          <cx:pt idx="138">2.1922199999999998</cx:pt>
          <cx:pt idx="139">51.052999999999905</cx:pt>
          <cx:pt idx="140">19.378799999999998</cx:pt>
          <cx:pt idx="141">36.274499999999996</cx:pt>
          <cx:pt idx="142">40.573700000000002</cx:pt>
          <cx:pt idx="143">46.216399999999901</cx:pt>
          <cx:pt idx="144">14.74</cx:pt>
          <cx:pt idx="145">52.933899999999902</cx:pt>
          <cx:pt idx="146">39.015239999999999</cx:pt>
          <cx:pt idx="147">37.644870000000004</cx:pt>
          <cx:pt idx="148">7.4359999999999999</cx:pt>
          <cx:pt idx="149">43.798099999999998</cx:pt>
          <cx:pt idx="150">17.3794</cx:pt>
          <cx:pt idx="151">40.842399999999998</cx:pt>
          <cx:pt idx="152">43.798099999999998</cx:pt>
          <cx:pt idx="153">39.767599999999995</cx:pt>
          <cx:pt idx="154">35.1997</cx:pt>
          <cx:pt idx="155">37.618000000000002</cx:pt>
          <cx:pt idx="156">15.476999999999999</cx:pt>
          <cx:pt idx="157">19.240380000000002</cx:pt>
          <cx:pt idx="158">59.920099999999998</cx:pt>
          <cx:pt idx="159">36.811899999999895</cx:pt>
          <cx:pt idx="160">67.174999999999997</cx:pt>
          <cx:pt idx="161">11.328000000000001</cx:pt>
          <cx:pt idx="162">44.872899999999902</cx:pt>
          <cx:pt idx="163">39.767599999999995</cx:pt>
          <cx:pt idx="164">81.416099999999702</cx:pt>
          <cx:pt idx="165">19.686400000000003</cx:pt>
          <cx:pt idx="166">53.202599999999997</cx:pt>
          <cx:pt idx="167">48.903400000000005</cx:pt>
          <cx:pt idx="168">39.767599999999995</cx:pt>
          <cx:pt idx="169">18.917400000000001</cx:pt>
          <cx:pt idx="170">18.456</cx:pt>
          <cx:pt idx="171">4.7455199999999902</cx:pt>
          <cx:pt idx="172">18.640560000000001</cx:pt>
          <cx:pt idx="173">46.216399999999901</cx:pt>
          <cx:pt idx="174">17.840799999999902</cx:pt>
          <cx:pt idx="175">50.515599999999907</cx:pt>
          <cx:pt idx="176">35.737099999999998</cx:pt>
          <cx:pt idx="177">39.498899999999999</cx:pt>
          <cx:pt idx="178">61.800999999999696</cx:pt>
          <cx:pt idx="179">17.687000000000001</cx:pt>
          <cx:pt idx="180">19.686400000000003</cx:pt>
          <cx:pt idx="181">38.988370000000003</cx:pt>
          <cx:pt idx="182">2.44862</cx:pt>
          <cx:pt idx="183">7.5712000000000002</cx:pt>
          <cx:pt idx="184">52.933899999999902</cx:pt>
          <cx:pt idx="185">7.3143200000000004</cx:pt>
          <cx:pt idx="186">12.036</cx:pt>
          <cx:pt idx="187">36.543199999999999</cx:pt>
          <cx:pt idx="188">50.515599999999907</cx:pt>
          <cx:pt idx="189">9.722999999999999</cx:pt>
          <cx:pt idx="190">6.3190200000000196</cx:pt>
          <cx:pt idx="191">37.376169999999995</cx:pt>
          <cx:pt idx="192">36.032670000000003</cx:pt>
          <cx:pt idx="193">32.270869999999903</cx:pt>
          <cx:pt idx="194">14.0406599999999</cx:pt>
          <cx:pt idx="195">39.230199999999897</cx:pt>
          <cx:pt idx="196">7.9767999999999892</cx:pt>
          <cx:pt idx="197">10.278600000000001</cx:pt>
          <cx:pt idx="198">40.036300000000004</cx:pt>
          <cx:pt idx="199">38.692799999999998</cx:pt>
          <cx:pt idx="200">65.079139999999697</cx:pt>
          <cx:pt idx="201">39.794469999999997</cx:pt>
          <cx:pt idx="202">18.009979999999899</cx:pt>
          <cx:pt idx="203">15.771799999999999</cx:pt>
          <cx:pt idx="204">19.547980000000003</cx:pt>
          <cx:pt idx="205">19.225000000000001</cx:pt>
          <cx:pt idx="206">19.532599999999999</cx:pt>
          <cx:pt idx="207">18.3175799999999</cx:pt>
          <cx:pt idx="208">36.811899999999895</cx:pt>
          <cx:pt idx="209">44.604199999999999</cx:pt>
          <cx:pt idx="210">43.2607</cx:pt>
          <cx:pt idx="211">63.440069999999707</cx:pt>
          <cx:pt idx="212">29.583869999999902</cx:pt>
          <cx:pt idx="213">39.498899999999999</cx:pt>
          <cx:pt idx="214">41.379800000000003</cx:pt>
          <cx:pt idx="215">1.9358199999999999</cx:pt>
          <cx:pt idx="216">51.590400000000002</cx:pt>
          <cx:pt idx="217">15.491739999999901</cx:pt>
          <cx:pt idx="218">46.216399999999901</cx:pt>
          <cx:pt idx="219">35.226570000000002</cx:pt>
          <cx:pt idx="220">15.786539999999999</cx:pt>
          <cx:pt idx="221">9.8619000000000003</cx:pt>
          <cx:pt idx="222">42.723299999999995</cx:pt>
          <cx:pt idx="223">42.750169999999898</cx:pt>
          <cx:pt idx="224">18.778979999999901</cx:pt>
          <cx:pt idx="225">40.036300000000004</cx:pt>
          <cx:pt idx="226">7.3008000000000006</cx:pt>
          <cx:pt idx="227">53.498169999999703</cx:pt>
          <cx:pt idx="228">40.842399999999998</cx:pt>
          <cx:pt idx="229">42.723299999999995</cx:pt>
          <cx:pt idx="230">37.618000000000002</cx:pt>
          <cx:pt idx="231">40.842399999999998</cx:pt>
          <cx:pt idx="232">52.933899999999902</cx:pt>
          <cx:pt idx="233">39.230199999999897</cx:pt>
          <cx:pt idx="234">54.8147999999997</cx:pt>
          <cx:pt idx="235">18.778979999999901</cx:pt>
          <cx:pt idx="236">55.620899999999992</cx:pt>
          <cx:pt idx="237">47.049370000000003</cx:pt>
          <cx:pt idx="238">40.036300000000004</cx:pt>
          <cx:pt idx="239">39.498899999999999</cx:pt>
          <cx:pt idx="240">50.515599999999907</cx:pt>
          <cx:pt idx="241">46.485100000000003</cx:pt>
          <cx:pt idx="242">40.842399999999998</cx:pt>
          <cx:pt idx="243">12.3333599999999</cx:pt>
          <cx:pt idx="244">12.319199999999899</cx:pt>
          <cx:pt idx="245">35.468400000000003</cx:pt>
          <cx:pt idx="246">1.42301999999999</cx:pt>
          <cx:pt idx="247">54.008699999999997</cx:pt>
          <cx:pt idx="248">41.944069999999897</cx:pt>
          <cx:pt idx="249">42.185899999999997</cx:pt>
          <cx:pt idx="250">49.1721</cx:pt>
          <cx:pt idx="251">19.686400000000003</cx:pt>
          <cx:pt idx="252">38.961499999999901</cx:pt>
          <cx:pt idx="253">14.75474</cx:pt>
          <cx:pt idx="254">19.378799999999998</cx:pt>
          <cx:pt idx="255">8.2472000000000012</cx:pt>
          <cx:pt idx="256">18.148399999999899</cx:pt>
          <cx:pt idx="257">27.702969999999898</cx:pt>
          <cx:pt idx="258">80.878699999999697</cx:pt>
          <cx:pt idx="259">15.182200000000002</cx:pt>
          <cx:pt idx="260">19.394179999999999</cx:pt>
          <cx:pt idx="261">44.899769999999997</cx:pt>
          <cx:pt idx="262">34.930999999999997</cx:pt>
          <cx:pt idx="263">48.366</cx:pt>
          <cx:pt idx="264">38.1554</cx:pt>
          <cx:pt idx="265">39.525769999999902</cx:pt>
          <cx:pt idx="266">19.225000000000001</cx:pt>
          <cx:pt idx="267">18.917400000000001</cx:pt>
          <cx:pt idx="268">48.097299999999898</cx:pt>
          <cx:pt idx="269">48.903400000000005</cx:pt>
          <cx:pt idx="270">40.842399999999998</cx:pt>
          <cx:pt idx="271">15.786539999999999</cx:pt>
          <cx:pt idx="272">40.305</cx:pt>
          <cx:pt idx="273">11.7669599999999</cx:pt>
          <cx:pt idx="274">64.219299999999706</cx:pt>
          <cx:pt idx="275">19.686400000000003</cx:pt>
          <cx:pt idx="276">41.648499999999999</cx:pt>
          <cx:pt idx="277">17.394779999999898</cx:pt>
          <cx:pt idx="278">39.498899999999999</cx:pt>
          <cx:pt idx="279">19.532599999999999</cx:pt>
          <cx:pt idx="280">57.528669999999906</cx:pt>
          <cx:pt idx="281">12.8535</cx:pt>
          <cx:pt idx="282">39.498899999999999</cx:pt>
          <cx:pt idx="283">66.100200000000001</cx:pt>
          <cx:pt idx="284">18.3175799999999</cx:pt>
          <cx:pt idx="285">49.978200000000001</cx:pt>
          <cx:pt idx="286">36.811899999999895</cx:pt>
          <cx:pt idx="287">49.440800000000003</cx:pt>
          <cx:pt idx="288">16.779579999999999</cx:pt>
          <cx:pt idx="289">37.886699999999998</cx:pt>
          <cx:pt idx="290">67.712399999999988</cx:pt>
          <cx:pt idx="291">19.378799999999998</cx:pt>
          <cx:pt idx="292">38.424100000000003</cx:pt>
          <cx:pt idx="293">41.648499999999999</cx:pt>
          <cx:pt idx="294">49.440800000000003</cx:pt>
          <cx:pt idx="295">5.1279999999999903</cx:pt>
          <cx:pt idx="296">38.961499999999901</cx:pt>
          <cx:pt idx="297">17.24098</cx:pt>
          <cx:pt idx="298">2.6922000000000001</cx:pt>
          <cx:pt idx="299">40.86927</cx:pt>
          <cx:pt idx="300">15.491739999999901</cx:pt>
          <cx:pt idx="301">38.182270000000003</cx:pt>
          <cx:pt idx="302">15.491739999999901</cx:pt>
          <cx:pt idx="303">36.543199999999999</cx:pt>
          <cx:pt idx="304">19.547980000000003</cx:pt>
          <cx:pt idx="305">6.0437099999999999</cx:pt>
          <cx:pt idx="306">37.886699999999998</cx:pt>
          <cx:pt idx="307">37.886699999999998</cx:pt>
          <cx:pt idx="308">15.786539999999999</cx:pt>
          <cx:pt idx="309">13.736999999999899</cx:pt>
          <cx:pt idx="310">40.036300000000004</cx:pt>
          <cx:pt idx="311">55.889599999999696</cx:pt>
          <cx:pt idx="312">36.811899999999895</cx:pt>
          <cx:pt idx="313">49.440800000000003</cx:pt>
          <cx:pt idx="314">0.91021999999999992</cx:pt>
          <cx:pt idx="315">13.447799999999898</cx:pt>
          <cx:pt idx="316">45.141599999999997</cx:pt>
          <cx:pt idx="317">7.4359999999999999</cx:pt>
          <cx:pt idx="318">37.080599999999905</cx:pt>
          <cx:pt idx="319">40.86927</cx:pt>
          <cx:pt idx="320">37.3492999999999</cx:pt>
          <cx:pt idx="321">19.086580000000001</cx:pt>
          <cx:pt idx="322">10.167479999999999</cx:pt>
          <cx:pt idx="323">44.362369999999999</cx:pt>
          <cx:pt idx="324">37.913569999999901</cx:pt>
          <cx:pt idx="325">55.889599999999696</cx:pt>
          <cx:pt idx="326">16.764200000000002</cx:pt>
          <cx:pt idx="327">53.498169999999902</cx:pt>
          <cx:pt idx="328">45.141599999999997</cx:pt>
          <cx:pt idx="329">16.93338</cx:pt>
          <cx:pt idx="330">71.259239999999906</cx:pt>
          <cx:pt idx="331">78.460399999999694</cx:pt>
          <cx:pt idx="332">35.1997</cx:pt>
          <cx:pt idx="333">37.618000000000002</cx:pt>
          <cx:pt idx="334">35.468400000000003</cx:pt>
          <cx:pt idx="335">54.814799999999998</cx:pt>
          <cx:pt idx="336">62.069699999999905</cx:pt>
          <cx:pt idx="337">70.936800000000005</cx:pt>
          <cx:pt idx="338">58.845299999999902</cx:pt>
          <cx:pt idx="339">6.1616999999999997</cx:pt>
          <cx:pt idx="340">13.1242499999999</cx:pt>
          <cx:pt idx="341">8.80152</cx:pt>
          <cx:pt idx="342">51.348569999999903</cx:pt>
          <cx:pt idx="343">6.5549999999999997</cx:pt>
          <cx:pt idx="344">52.396500000000003</cx:pt>
          <cx:pt idx="345">45.678999999999995</cx:pt>
          <cx:pt idx="346">36.811899999999895</cx:pt>
          <cx:pt idx="347">37.3492999999999</cx:pt>
          <cx:pt idx="348">18.932779999999998</cx:pt>
          <cx:pt idx="349">63.681899999999899</cx:pt>
          <cx:pt idx="350">45.141599999999997</cx:pt>
          <cx:pt idx="351">3.8460000000000001</cx:pt>
          <cx:pt idx="352">39.794469999999997</cx:pt>
          <cx:pt idx="353">69.05589999999971</cx:pt>
          <cx:pt idx="354">19.240380000000002</cx:pt>
          <cx:pt idx="355">51.348569999999704</cx:pt>
          <cx:pt idx="356">41.675369999999702</cx:pt>
        </cx:lvl>
      </cx:numDim>
    </cx:data>
    <cx:data id="3">
      <cx:numDim type="val">
        <cx:f>US_Region_Box_Plots!$G$2:$G$6755</cx:f>
        <cx:lvl ptCount="6754" formatCode="_(* #,##0_);_(* \(#,##0\);_(* &quot;-&quot;??_);_(@_)">
          <cx:pt idx="0">13.1242499999999</cx:pt>
          <cx:pt idx="1">17.3794</cx:pt>
          <cx:pt idx="2">8.1120000000000001</cx:pt>
          <cx:pt idx="3">35.1997</cx:pt>
          <cx:pt idx="4">3.34601999999999</cx:pt>
          <cx:pt idx="5">2.0640200000000002</cx:pt>
          <cx:pt idx="6">3.4613999999999998</cx:pt>
          <cx:pt idx="7">13.5924</cx:pt>
          <cx:pt idx="8">5.89949999999999</cx:pt>
          <cx:pt idx="9">13.109999999999999</cx:pt>
          <cx:pt idx="10">7.5712000000000002</cx:pt>
          <cx:pt idx="11">3.5895999999999999</cx:pt>
          <cx:pt idx="12">5.2561999999999998</cx:pt>
          <cx:pt idx="13">19.378799999999998</cx:pt>
          <cx:pt idx="14">10.4175</cx:pt>
          <cx:pt idx="15">3.2178199999999997</cx:pt>
          <cx:pt idx="16">10.6952999999999</cx:pt>
          <cx:pt idx="17">16.764200000000002</cx:pt>
          <cx:pt idx="18">4.9998000000000005</cx:pt>
          <cx:pt idx="19">11.4696</cx:pt>
          <cx:pt idx="20">11.4696</cx:pt>
          <cx:pt idx="21">5.7683999999999997</cx:pt>
          <cx:pt idx="22">6.1748099999999999</cx:pt>
          <cx:pt idx="23">11.4696</cx:pt>
          <cx:pt idx="24">7.0439199999999991</cx:pt>
          <cx:pt idx="25">13.1242499999999</cx:pt>
          <cx:pt idx="26">47.586769999999902</cx:pt>
          <cx:pt idx="27">5.7683999999999997</cx:pt>
          <cx:pt idx="28">44.899769999999997</cx:pt>
          <cx:pt idx="29">15.04954</cx:pt>
          <cx:pt idx="30">72.280299999999698</cx:pt>
          <cx:pt idx="31">38.719670000000001</cx:pt>
          <cx:pt idx="32">8.7880000000000003</cx:pt>
          <cx:pt idx="33">6.03059999999999</cx:pt>
          <cx:pt idx="34">16.779579999999999</cx:pt>
          <cx:pt idx="35">19.240380000000002</cx:pt>
          <cx:pt idx="36">9.722999999999999</cx:pt>
          <cx:pt idx="37">11.625359999999899</cx:pt>
          <cx:pt idx="38">13.462259999999901</cx:pt>
          <cx:pt idx="39">5.1279999999999903</cx:pt>
          <cx:pt idx="40">2.9614199999999999</cx:pt>
          <cx:pt idx="41">3.60242</cx:pt>
          <cx:pt idx="42">10.139699999999999</cx:pt>
          <cx:pt idx="43">44.604199999999999</cx:pt>
          <cx:pt idx="44">48.930269999999695</cx:pt>
        </cx:lvl>
      </cx:numDim>
    </cx:data>
    <cx:data id="4">
      <cx:numDim type="val">
        <cx:f>US_Region_Box_Plots!$H$2:$H$6755</cx:f>
        <cx:lvl ptCount="6754" formatCode="_(* #,##0_);_(* \(#,##0\);_(* &quot;-&quot;??_);_(@_)">
          <cx:pt idx="0">15.19694</cx:pt>
          <cx:pt idx="1">11.625359999999899</cx:pt>
          <cx:pt idx="2">7.5712000000000002</cx:pt>
          <cx:pt idx="3">43.7980999999997</cx:pt>
          <cx:pt idx="4">6.6860999999999908</cx:pt>
          <cx:pt idx="5">6.6860999999999908</cx:pt>
          <cx:pt idx="6">3.4742199999999896</cx:pt>
          <cx:pt idx="7">13.109999999999999</cx:pt>
          <cx:pt idx="8">6.4239000000000006</cx:pt>
          <cx:pt idx="9">10.834199999999999</cx:pt>
          <cx:pt idx="10">6.2927999999999997</cx:pt>
          <cx:pt idx="11">5.7683999999999997</cx:pt>
          <cx:pt idx="12">7.7063999999999995</cx:pt>
          <cx:pt idx="13">3.8460000000000001</cx:pt>
          <cx:pt idx="14">12.036</cx:pt>
          <cx:pt idx="15">9.722999999999999</cx:pt>
          <cx:pt idx="16">5.5061999999999998</cx:pt>
          <cx:pt idx="17">12.825000000000001</cx:pt>
          <cx:pt idx="18">8.9232000000000014</cx:pt>
          <cx:pt idx="19">8.2472000000000012</cx:pt>
          <cx:pt idx="20">4.8715999999999999</cx:pt>
          <cx:pt idx="21">47.828600000000002</cx:pt>
          <cx:pt idx="22">13.1242499999999</cx:pt>
          <cx:pt idx="23">9.0583999999999989</cx:pt>
          <cx:pt idx="24">37.3492999999999</cx:pt>
          <cx:pt idx="25">11.752799999999999</cx:pt>
          <cx:pt idx="26">10.774939999999999</cx:pt>
          <cx:pt idx="27">4.2305999999999999</cx:pt>
          <cx:pt idx="28">4.2305999999999999</cx:pt>
          <cx:pt idx="29">3.4613999999999998</cx:pt>
          <cx:pt idx="30">9.8619000000000003</cx:pt>
          <cx:pt idx="31">10.139699999999999</cx:pt>
          <cx:pt idx="32">3.9870200000000002</cx:pt>
          <cx:pt idx="33">12.825000000000001</cx:pt>
          <cx:pt idx="34">34.930999999999997</cx:pt>
          <cx:pt idx="35">13.447799999999898</cx:pt>
          <cx:pt idx="36">3.8460000000000001</cx:pt>
          <cx:pt idx="37">2.0511999999999997</cx:pt>
          <cx:pt idx="38">6.8171999999999997</cx:pt>
          <cx:pt idx="39">5.7683999999999997</cx:pt>
          <cx:pt idx="40">55.674639999999698</cx:pt>
          <cx:pt idx="41">5.0254400000000201</cx:pt>
          <cx:pt idx="42">3.08962</cx:pt>
          <cx:pt idx="43">8.9232000000000014</cx:pt>
          <cx:pt idx="44">36.543199999999999</cx:pt>
          <cx:pt idx="45">3.7178000000000004</cx:pt>
          <cx:pt idx="46">18.794359999999998</cx:pt>
          <cx:pt idx="47">7.5712000000000002</cx:pt>
          <cx:pt idx="48">18.302199999999999</cx:pt>
          <cx:pt idx="49">9.8896800000000198</cx:pt>
          <cx:pt idx="50">1.2948200000000001</cx:pt>
          <cx:pt idx="51">6.0437099999999999</cx:pt>
          <cx:pt idx="52">11.4696</cx:pt>
          <cx:pt idx="53">5.63729999999999</cx:pt>
          <cx:pt idx="54">6.1616999999999997</cx:pt>
          <cx:pt idx="55">16.917999999999999</cx:pt>
          <cx:pt idx="56">13.1242499999999</cx:pt>
          <cx:pt idx="57">8.260720000000001</cx:pt>
          <cx:pt idx="58">7.4359999999999999</cx:pt>
          <cx:pt idx="59">13.896059999999899</cx:pt>
          <cx:pt idx="60">19.532599999999999</cx:pt>
          <cx:pt idx="61">35.468400000000003</cx:pt>
          <cx:pt idx="62">18.302199999999999</cx:pt>
          <cx:pt idx="63">8.9232000000000014</cx:pt>
          <cx:pt idx="64">3.4742199999999896</cx:pt>
          <cx:pt idx="65">15.476999999999999</cx:pt>
          <cx:pt idx="66">8.6527999999999992</cx:pt>
          <cx:pt idx="67">28.025410000000001</cx:pt>
          <cx:pt idx="68">5.7683999999999997</cx:pt>
          <cx:pt idx="69">16.917999999999999</cx:pt>
          <cx:pt idx="70">10.0008</cx:pt>
          <cx:pt idx="71">10.5564</cx:pt>
          <cx:pt idx="72">6.5812200000000196</cx:pt>
          <cx:pt idx="73">5.5061999999999998</cx:pt>
          <cx:pt idx="74">7.1655999999999995</cx:pt>
          <cx:pt idx="75">11.4696</cx:pt>
          <cx:pt idx="76">7.1791200000000002</cx:pt>
          <cx:pt idx="77">12.602399999999999</cx:pt>
          <cx:pt idx="78">5.63729999999999</cx:pt>
          <cx:pt idx="79">36.543199999999999</cx:pt>
          <cx:pt idx="80">6.3190200000000196</cx:pt>
          <cx:pt idx="81">6.4239000000000006</cx:pt>
          <cx:pt idx="82">10.5564</cx:pt>
          <cx:pt idx="83">7.1655999999999995</cx:pt>
          <cx:pt idx="84">6.5549999999999997</cx:pt>
          <cx:pt idx="85">9.722999999999999</cx:pt>
          <cx:pt idx="86">2.9614199999999999</cx:pt>
          <cx:pt idx="87">11.328000000000001</cx:pt>
          <cx:pt idx="88">4.4751199999999995</cx:pt>
          <cx:pt idx="89">16.764200000000002</cx:pt>
          <cx:pt idx="90">10.5564</cx:pt>
          <cx:pt idx="91">45.141599999999997</cx:pt>
          <cx:pt idx="92">11.328000000000001</cx:pt>
          <cx:pt idx="93">47.882339999999999</cx:pt>
          <cx:pt idx="94">9.0583999999999989</cx:pt>
          <cx:pt idx="95">5.89949999999999</cx:pt>
          <cx:pt idx="96">5.63729999999999</cx:pt>
          <cx:pt idx="97">6.4239000000000006</cx:pt>
          <cx:pt idx="98">3.9741999999999997</cx:pt>
          <cx:pt idx="99">6.6860999999999908</cx:pt>
          <cx:pt idx="100">7.8415999999999997</cx:pt>
          <cx:pt idx="101">5.2818400000000203</cx:pt>
          <cx:pt idx="102">9.0583999999999989</cx:pt>
          <cx:pt idx="103">15.6244</cx:pt>
          <cx:pt idx="104">8.1120000000000001</cx:pt>
          <cx:pt idx="105">5.63729999999999</cx:pt>
          <cx:pt idx="106">8.6527999999999992</cx:pt>
          <cx:pt idx="107">6.8171999999999997</cx:pt>
          <cx:pt idx="108">7.7063999999999995</cx:pt>
          <cx:pt idx="109">6.3190200000000196</cx:pt>
          <cx:pt idx="110">11.328000000000001</cx:pt>
          <cx:pt idx="111">10.4175</cx:pt>
          <cx:pt idx="112">3.3332000000000002</cx:pt>
          <cx:pt idx="113">9.0583999999999989</cx:pt>
          <cx:pt idx="114">47.828600000000002</cx:pt>
          <cx:pt idx="115">4.6151999999999997</cx:pt>
          <cx:pt idx="116">5.5324200000000197</cx:pt>
          <cx:pt idx="117">5.1279999999999903</cx:pt>
          <cx:pt idx="118">4.1023999999999994</cx:pt>
          <cx:pt idx="119">17.2256</cx:pt>
          <cx:pt idx="120">4.3588000000000005</cx:pt>
          <cx:pt idx="121">41.917200000000001</cx:pt>
          <cx:pt idx="122">5.89949999999999</cx:pt>
          <cx:pt idx="123">16.764200000000002</cx:pt>
          <cx:pt idx="124">5.7683999999999997</cx:pt>
          <cx:pt idx="125">5.1279999999999903</cx:pt>
          <cx:pt idx="126">6.03059999999999</cx:pt>
          <cx:pt idx="127">3.9741999999999997</cx:pt>
          <cx:pt idx="128">4.4870000000000001</cx:pt>
          <cx:pt idx="129">10.973099999999999</cx:pt>
          <cx:pt idx="130">9.8619000000000003</cx:pt>
          <cx:pt idx="131">5.2690199999999905</cx:pt>
          <cx:pt idx="132">45.4102999999999</cx:pt>
          <cx:pt idx="133">36.274499999999996</cx:pt>
          <cx:pt idx="134">4.1023999999999994</cx:pt>
          <cx:pt idx="135">4.4870000000000001</cx:pt>
          <cx:pt idx="136">28.509069999999998</cx:pt>
          <cx:pt idx="137">14.8873999999999</cx:pt>
          <cx:pt idx="138">47.559899999999999</cx:pt>
          <cx:pt idx="139">9.4451999999999998</cx:pt>
          <cx:pt idx="140">5.2561999999999998</cx:pt>
          <cx:pt idx="141">5.2561999999999998</cx:pt>
          <cx:pt idx="142">5.1279999999999903</cx:pt>
          <cx:pt idx="143">4.7433999999999994</cx:pt>
          <cx:pt idx="144">3.7178000000000004</cx:pt>
          <cx:pt idx="145">7.3008000000000006</cx:pt>
          <cx:pt idx="146">10.139699999999999</cx:pt>
          <cx:pt idx="147">8.2472000000000012</cx:pt>
          <cx:pt idx="148">8.3823999999999987</cx:pt>
          <cx:pt idx="149">8.3823999999999987</cx:pt>
          <cx:pt idx="150">8.6527999999999992</cx:pt>
          <cx:pt idx="151">2.8203999999999998</cx:pt>
          <cx:pt idx="152">6.6860999999999908</cx:pt>
          <cx:pt idx="153">4.6151999999999997</cx:pt>
          <cx:pt idx="154">9.4451999999999998</cx:pt>
          <cx:pt idx="155">10.0008</cx:pt>
          <cx:pt idx="156">6.6860999999999908</cx:pt>
          <cx:pt idx="157">5.63729999999999</cx:pt>
          <cx:pt idx="158">5.7683999999999997</cx:pt>
          <cx:pt idx="159">4.4870000000000001</cx:pt>
          <cx:pt idx="160">3.8460000000000001</cx:pt>
          <cx:pt idx="161">6.03059999999999</cx:pt>
          <cx:pt idx="162">10.6952999999999</cx:pt>
          <cx:pt idx="163">5.89949999999999</cx:pt>
          <cx:pt idx="164">4.3588000000000005</cx:pt>
          <cx:pt idx="165">5.2561999999999998</cx:pt>
          <cx:pt idx="166">10.5564</cx:pt>
          <cx:pt idx="167">34.930999999999997</cx:pt>
          <cx:pt idx="168">3.4742199999999896</cx:pt>
          <cx:pt idx="169">15.771799999999999</cx:pt>
          <cx:pt idx="170">12.602399999999999</cx:pt>
          <cx:pt idx="171">6.4239000000000006</cx:pt>
          <cx:pt idx="172">19.378799999999998</cx:pt>
          <cx:pt idx="173">4.6151999999999997</cx:pt>
          <cx:pt idx="174">12.036</cx:pt>
          <cx:pt idx="175">5.63729999999999</cx:pt>
          <cx:pt idx="176">11.894399999999999</cx:pt>
          <cx:pt idx="177">11.752799999999999</cx:pt>
          <cx:pt idx="178">6.6860999999999908</cx:pt>
          <cx:pt idx="179">8.1120000000000001</cx:pt>
          <cx:pt idx="180">6.6860999999999908</cx:pt>
          <cx:pt idx="181">9.4451999999999998</cx:pt>
          <cx:pt idx="182">4.6151999999999997</cx:pt>
          <cx:pt idx="183">4.6151999999999997</cx:pt>
          <cx:pt idx="184">7.1655999999999995</cx:pt>
          <cx:pt idx="185">3.9741999999999997</cx:pt>
          <cx:pt idx="186">4.6151999999999997</cx:pt>
          <cx:pt idx="187">15.6244</cx:pt>
          <cx:pt idx="188">4.2305999999999999</cx:pt>
          <cx:pt idx="189">37.403039999999898</cx:pt>
          <cx:pt idx="190">4.2305999999999999</cx:pt>
          <cx:pt idx="191">10.0008</cx:pt>
          <cx:pt idx="192">4.4870000000000001</cx:pt>
          <cx:pt idx="193">11.611199999999899</cx:pt>
          <cx:pt idx="194">6.8171999999999997</cx:pt>
          <cx:pt idx="195">15.182200000000002</cx:pt>
          <cx:pt idx="196">4.3588000000000005</cx:pt>
          <cx:pt idx="197">10.139699999999999</cx:pt>
          <cx:pt idx="198">8.1120000000000001</cx:pt>
          <cx:pt idx="199">18.917400000000001</cx:pt>
          <cx:pt idx="200">4.4870000000000001</cx:pt>
          <cx:pt idx="201">7.1655999999999995</cx:pt>
          <cx:pt idx="202">13.5924</cx:pt>
          <cx:pt idx="203">9.4451999999999998</cx:pt>
          <cx:pt idx="204">5.63729999999999</cx:pt>
          <cx:pt idx="205">4.2305999999999999</cx:pt>
          <cx:pt idx="206">3.3332000000000002</cx:pt>
          <cx:pt idx="207">4.2305999999999999</cx:pt>
          <cx:pt idx="208">37.080599999999905</cx:pt>
          <cx:pt idx="209">4.2305999999999999</cx:pt>
          <cx:pt idx="210">6.8171999999999997</cx:pt>
          <cx:pt idx="211">18.148399999999899</cx:pt>
          <cx:pt idx="212">6.2927999999999997</cx:pt>
          <cx:pt idx="213">8.7880000000000003</cx:pt>
          <cx:pt idx="214">44.872899999999902</cx:pt>
          <cx:pt idx="215">31.464769999999998</cx:pt>
          <cx:pt idx="216">10.139699999999999</cx:pt>
          <cx:pt idx="217">5.89949999999999</cx:pt>
          <cx:pt idx="218">10.4175</cx:pt>
          <cx:pt idx="219">4.4870000000000001</cx:pt>
          <cx:pt idx="220">2.9485999999999999</cx:pt>
          <cx:pt idx="221">6.1616999999999997</cx:pt>
          <cx:pt idx="222">3.9741999999999997</cx:pt>
          <cx:pt idx="223">3.9741999999999997</cx:pt>
          <cx:pt idx="224">8.7880000000000003</cx:pt>
          <cx:pt idx="225">9.5979900000000011</cx:pt>
          <cx:pt idx="226">4.74552</cx:pt>
          <cx:pt idx="227">13.447799999999999</cx:pt>
          <cx:pt idx="228">3.9741999999999997</cx:pt>
          <cx:pt idx="229">5.89949999999999</cx:pt>
          <cx:pt idx="230">5.5061999999999998</cx:pt>
          <cx:pt idx="231">7.5712000000000002</cx:pt>
          <cx:pt idx="232">4.9998000000000005</cx:pt>
          <cx:pt idx="233">9.4451999999999998</cx:pt>
          <cx:pt idx="234">50.515599999999708</cx:pt>
          <cx:pt idx="235">6.03059999999999</cx:pt>
          <cx:pt idx="236">10.6952999999999</cx:pt>
          <cx:pt idx="237">42.508339999999997</cx:pt>
          <cx:pt idx="238">4.3588000000000005</cx:pt>
          <cx:pt idx="239">10.973099999999999</cx:pt>
          <cx:pt idx="240">11.92272</cx:pt>
          <cx:pt idx="241">4.7433999999999994</cx:pt>
          <cx:pt idx="242">3.4613999999999998</cx:pt>
          <cx:pt idx="243">5.2561999999999998</cx:pt>
          <cx:pt idx="244">5.63729999999999</cx:pt>
          <cx:pt idx="245">13.736999999999998</cx:pt>
          <cx:pt idx="246">36.274499999999996</cx:pt>
          <cx:pt idx="247">6.1616999999999997</cx:pt>
          <cx:pt idx="248">12.16558</cx:pt>
          <cx:pt idx="249">7.5712000000000002</cx:pt>
          <cx:pt idx="250">5.2561999999999998</cx:pt>
          <cx:pt idx="251">6.6860999999999908</cx:pt>
          <cx:pt idx="252">10.278600000000001</cx:pt>
          <cx:pt idx="253">48.903400000000005</cx:pt>
          <cx:pt idx="254">6.2927999999999997</cx:pt>
          <cx:pt idx="255">9.8619000000000003</cx:pt>
          <cx:pt idx="256">5.7683999999999997</cx:pt>
          <cx:pt idx="257">10.5564</cx:pt>
          <cx:pt idx="258">8.9232000000000014</cx:pt>
          <cx:pt idx="259">12.967500000000001</cx:pt>
          <cx:pt idx="260">9.722999999999999</cx:pt>
          <cx:pt idx="261">5.7946200000000196</cx:pt>
          <cx:pt idx="262">5.63729999999999</cx:pt>
          <cx:pt idx="263">8.5175999999999998</cx:pt>
          <cx:pt idx="264">4.9998000000000005</cx:pt>
          <cx:pt idx="265">5.1279999999999903</cx:pt>
          <cx:pt idx="266">12.177599999999899</cx:pt>
          <cx:pt idx="267">9.0583999999999989</cx:pt>
          <cx:pt idx="268">5.1279999999999903</cx:pt>
          <cx:pt idx="269">9.3201899999999895</cx:pt>
          <cx:pt idx="270">3.5895999999999999</cx:pt>
          <cx:pt idx="271">8.6527999999999992</cx:pt>
          <cx:pt idx="272">10.431389999999901</cx:pt>
          <cx:pt idx="273">14.0261999999999</cx:pt>
          <cx:pt idx="274">4.2305999999999999</cx:pt>
          <cx:pt idx="275">5.0254400000000201</cx:pt>
          <cx:pt idx="276">4.3588000000000005</cx:pt>
          <cx:pt idx="277">3.4613999999999998</cx:pt>
          <cx:pt idx="278">5.2561999999999998</cx:pt>
          <cx:pt idx="279">3.8460000000000001</cx:pt>
          <cx:pt idx="280">16.625780000000002</cx:pt>
          <cx:pt idx="281">10.834199999999999</cx:pt>
          <cx:pt idx="282">4.6151999999999997</cx:pt>
          <cx:pt idx="283">4.2305999999999999</cx:pt>
          <cx:pt idx="284">4.8715999999999999</cx:pt>
          <cx:pt idx="285">8.6527999999999992</cx:pt>
          <cx:pt idx="286">51.590400000000002</cx:pt>
          <cx:pt idx="287">10.5564</cx:pt>
          <cx:pt idx="288">4.6151999999999997</cx:pt>
          <cx:pt idx="289">4.4870000000000001</cx:pt>
          <cx:pt idx="290">12.8249999999999</cx:pt>
          <cx:pt idx="291">3.4613999999999998</cx:pt>
          <cx:pt idx="292">6.6860999999999908</cx:pt>
          <cx:pt idx="293">8.2472000000000012</cx:pt>
          <cx:pt idx="294">8.3823999999999987</cx:pt>
          <cx:pt idx="295">12.177599999999899</cx:pt>
          <cx:pt idx="296">4.1152199999999999</cx:pt>
          <cx:pt idx="297">5.2561999999999998</cx:pt>
          <cx:pt idx="298">11.894399999999999</cx:pt>
          <cx:pt idx="299">8.9232000000000014</cx:pt>
          <cx:pt idx="300">5.7683999999999997</cx:pt>
          <cx:pt idx="301">10.973099999999999</cx:pt>
          <cx:pt idx="302">8.1255199999999999</cx:pt>
          <cx:pt idx="303">16.764200000000002</cx:pt>
          <cx:pt idx="304">6.8171999999999997</cx:pt>
          <cx:pt idx="305">3.9741999999999997</cx:pt>
          <cx:pt idx="306">3.8460000000000001</cx:pt>
          <cx:pt idx="307">10.5564</cx:pt>
          <cx:pt idx="308">8.2472000000000012</cx:pt>
          <cx:pt idx="309">5.1279999999999903</cx:pt>
          <cx:pt idx="310">13.447799999999999</cx:pt>
          <cx:pt idx="311">3.7178000000000004</cx:pt>
          <cx:pt idx="312">16.764200000000002</cx:pt>
          <cx:pt idx="313">4.7433999999999994</cx:pt>
          <cx:pt idx="314">18.148399999999899</cx:pt>
          <cx:pt idx="315">10.431389999999901</cx:pt>
          <cx:pt idx="316">8.5175999999999998</cx:pt>
          <cx:pt idx="317">3.42171</cx:pt>
          <cx:pt idx="318">4.8715999999999999</cx:pt>
          <cx:pt idx="319">4.4870000000000001</cx:pt>
          <cx:pt idx="320">12.967500000000001</cx:pt>
          <cx:pt idx="321">8.6527999999999992</cx:pt>
          <cx:pt idx="322">4.7433999999999994</cx:pt>
          <cx:pt idx="323">11.328000000000001</cx:pt>
          <cx:pt idx="324">6.6860999999999908</cx:pt>
          <cx:pt idx="325">10.278600000000001</cx:pt>
          <cx:pt idx="326">6.2927999999999997</cx:pt>
          <cx:pt idx="327">15.034799999999901</cx:pt>
          <cx:pt idx="328">19.686400000000003</cx:pt>
          <cx:pt idx="329">8.6527999999999992</cx:pt>
          <cx:pt idx="330">12.825000000000001</cx:pt>
          <cx:pt idx="331">10.5564</cx:pt>
          <cx:pt idx="332">10.4175</cx:pt>
          <cx:pt idx="333">19.225000000000001</cx:pt>
          <cx:pt idx="334">19.101960000000002</cx:pt>
          <cx:pt idx="335">5.63729999999999</cx:pt>
          <cx:pt idx="336">2.8203999999999998</cx:pt>
          <cx:pt idx="337">15.9192</cx:pt>
          <cx:pt idx="338">3.9741999999999997</cx:pt>
          <cx:pt idx="339">9.30093999999999</cx:pt>
          <cx:pt idx="340">2.9485999999999999</cx:pt>
          <cx:pt idx="341">3.8460000000000001</cx:pt>
          <cx:pt idx="342">3.9741999999999997</cx:pt>
          <cx:pt idx="343">6.4239000000000006</cx:pt>
          <cx:pt idx="344">16.917999999999999</cx:pt>
          <cx:pt idx="345">4.1023999999999994</cx:pt>
          <cx:pt idx="346">9.722999999999999</cx:pt>
          <cx:pt idx="347">15.182200000000002</cx:pt>
          <cx:pt idx="348">52.6651999999997</cx:pt>
          <cx:pt idx="349">6.2927999999999997</cx:pt>
          <cx:pt idx="350">19.394179999999999</cx:pt>
          <cx:pt idx="351">3.68391</cx:pt>
          <cx:pt idx="352">4.6151999999999997</cx:pt>
          <cx:pt idx="353">9.0583999999999989</cx:pt>
          <cx:pt idx="354">15.034799999999901</cx:pt>
          <cx:pt idx="355">9.0583999999999989</cx:pt>
          <cx:pt idx="356">14.16498</cx:pt>
          <cx:pt idx="357">38.692799999999998</cx:pt>
          <cx:pt idx="358">13.5924</cx:pt>
          <cx:pt idx="359">8.9232000000000014</cx:pt>
          <cx:pt idx="360">14.0261999999999</cx:pt>
          <cx:pt idx="361">35.1997</cx:pt>
          <cx:pt idx="362">5.1279999999999903</cx:pt>
          <cx:pt idx="363">12.16558</cx:pt>
          <cx:pt idx="364">5.5061999999999998</cx:pt>
          <cx:pt idx="365">35.1997</cx:pt>
          <cx:pt idx="366">15.491739999999901</cx:pt>
          <cx:pt idx="367">12.4607999999999</cx:pt>
          <cx:pt idx="368">49.198969999999697</cx:pt>
          <cx:pt idx="369">4.9998000000000005</cx:pt>
          <cx:pt idx="370">4.2305999999999999</cx:pt>
          <cx:pt idx="371">4.4998199999999899</cx:pt>
          <cx:pt idx="372">3.8460000000000001</cx:pt>
          <cx:pt idx="373">4.2305999999999999</cx:pt>
          <cx:pt idx="374">8.6527999999999992</cx:pt>
          <cx:pt idx="375">6.5549999999999997</cx:pt>
          <cx:pt idx="376">8.7880000000000003</cx:pt>
          <cx:pt idx="377">5.63729999999999</cx:pt>
          <cx:pt idx="378">6.6860999999999908</cx:pt>
          <cx:pt idx="379">17.856179999999998</cx:pt>
          <cx:pt idx="380">8.6527999999999992</cx:pt>
          <cx:pt idx="381">2.7050200000000002</cx:pt>
          <cx:pt idx="382">10.973099999999999</cx:pt>
          <cx:pt idx="383">10.5564</cx:pt>
          <cx:pt idx="384">19.240380000000002</cx:pt>
          <cx:pt idx="385">17.533199999999997</cx:pt>
          <cx:pt idx="386">7.3008000000000006</cx:pt>
          <cx:pt idx="387">7.8415999999999997</cx:pt>
          <cx:pt idx="388">36.543199999999999</cx:pt>
          <cx:pt idx="389">10.5564</cx:pt>
          <cx:pt idx="390">8.5175999999999998</cx:pt>
          <cx:pt idx="391">5.2690199999999905</cx:pt>
          <cx:pt idx="392">12.967500000000001</cx:pt>
          <cx:pt idx="393">3.8460000000000001</cx:pt>
          <cx:pt idx="394">7.4359999999999999</cx:pt>
          <cx:pt idx="395">8.260720000000001</cx:pt>
          <cx:pt idx="396">10.0008</cx:pt>
          <cx:pt idx="397">5.1279999999999903</cx:pt>
          <cx:pt idx="398">6.5549999999999997</cx:pt>
          <cx:pt idx="399">18.917400000000001</cx:pt>
          <cx:pt idx="400">4.9998000000000005</cx:pt>
          <cx:pt idx="401">6.4239000000000006</cx:pt>
          <cx:pt idx="402">62.902669999999702</cx:pt>
          <cx:pt idx="403">8.5175999999999998</cx:pt>
          <cx:pt idx="404">4.9998000000000005</cx:pt>
          <cx:pt idx="405">14.74</cx:pt>
          <cx:pt idx="406">10.4175</cx:pt>
          <cx:pt idx="407">2.3075999999999999</cx:pt>
          <cx:pt idx="408">12.4607999999999</cx:pt>
          <cx:pt idx="409">5.1279999999999903</cx:pt>
          <cx:pt idx="410">12.177599999999899</cx:pt>
          <cx:pt idx="411">15.476999999999999</cx:pt>
          <cx:pt idx="412">10.4175</cx:pt>
          <cx:pt idx="413">18.456</cx:pt>
          <cx:pt idx="414">5.2561999999999998</cx:pt>
          <cx:pt idx="415">9.0583999999999989</cx:pt>
          <cx:pt idx="416">4.7690400000000199</cx:pt>
          <cx:pt idx="417">11.328000000000001</cx:pt>
          <cx:pt idx="418">18.302199999999999</cx:pt>
          <cx:pt idx="419">9.8619000000000003</cx:pt>
          <cx:pt idx="420">9.0583999999999989</cx:pt>
          <cx:pt idx="421">15.9192</cx:pt>
          <cx:pt idx="422">5.89949999999999</cx:pt>
          <cx:pt idx="423">10.4175</cx:pt>
          <cx:pt idx="424">13.881599999999899</cx:pt>
          <cx:pt idx="425">4.1023999999999994</cx:pt>
          <cx:pt idx="426">2.6922000000000001</cx:pt>
          <cx:pt idx="427">5.89949999999999</cx:pt>
          <cx:pt idx="428">5.63729999999999</cx:pt>
          <cx:pt idx="429">7.5712000000000002</cx:pt>
          <cx:pt idx="430">49.709499999999998</cx:pt>
          <cx:pt idx="431">10.278600000000001</cx:pt>
          <cx:pt idx="432">8.9232000000000014</cx:pt>
          <cx:pt idx="433">5.7683999999999997</cx:pt>
          <cx:pt idx="434">7.4359999999999999</cx:pt>
          <cx:pt idx="435">8.9232000000000014</cx:pt>
          <cx:pt idx="436">11.611199999999899</cx:pt>
          <cx:pt idx="437">4.8715999999999999</cx:pt>
          <cx:pt idx="438">10.278600000000001</cx:pt>
          <cx:pt idx="439">12.8535</cx:pt>
          <cx:pt idx="440">2.3204199999999999</cx:pt>
          <cx:pt idx="441">8.9232000000000014</cx:pt>
          <cx:pt idx="442">15.9192</cx:pt>
          <cx:pt idx="443">9.5840999999999994</cx:pt>
          <cx:pt idx="444">6.2927999999999997</cx:pt>
          <cx:pt idx="445">15.182200000000002</cx:pt>
          <cx:pt idx="446">7.7063999999999995</cx:pt>
          <cx:pt idx="447">15.9192</cx:pt>
          <cx:pt idx="448">9.4451999999999998</cx:pt>
          <cx:pt idx="449">3.2050000000000001</cx:pt>
          <cx:pt idx="450">5.1279999999999903</cx:pt>
          <cx:pt idx="451">4.9998000000000005</cx:pt>
          <cx:pt idx="452">9.0583999999999989</cx:pt>
          <cx:pt idx="453">64.783569999999997</cx:pt>
          <cx:pt idx="454">6.03059999999999</cx:pt>
          <cx:pt idx="455">7.4359999999999999</cx:pt>
          <cx:pt idx="456">38.692799999999998</cx:pt>
          <cx:pt idx="457">10.973099999999999</cx:pt>
          <cx:pt idx="458">15.329599999999999</cx:pt>
          <cx:pt idx="459">17.994599999999998</cx:pt>
          <cx:pt idx="460">12.319199999999899</cx:pt>
          <cx:pt idx="461">9.722999999999999</cx:pt>
          <cx:pt idx="462">8.7880000000000003</cx:pt>
          <cx:pt idx="463">11.328000000000001</cx:pt>
          <cx:pt idx="464">10.278600000000001</cx:pt>
          <cx:pt idx="465">9.5840999999999994</cx:pt>
          <cx:pt idx="466">3.8460000000000001</cx:pt>
          <cx:pt idx="467">18.302199999999999</cx:pt>
          <cx:pt idx="468">40.573700000000002</cx:pt>
          <cx:pt idx="469">16.779579999999999</cx:pt>
          <cx:pt idx="470">10.7091899999999</cx:pt>
          <cx:pt idx="471">3.7178000000000004</cx:pt>
          <cx:pt idx="472">4.3588000000000005</cx:pt>
        </cx:lvl>
      </cx:numDim>
    </cx:data>
    <cx:data id="5">
      <cx:numDim type="val">
        <cx:f>US_Region_Box_Plots!$I$2:$I$6755</cx:f>
        <cx:lvl ptCount="6754" formatCode="_(* #,##0_);_(* \(#,##0\);_(* &quot;-&quot;??_);_(@_)">
          <cx:pt idx="0">13.1242499999999</cx:pt>
          <cx:pt idx="1">15.344340000000001</cx:pt>
          <cx:pt idx="2">17.840799999999902</cx:pt>
          <cx:pt idx="3">14.0406599999999</cx:pt>
          <cx:pt idx="4">15.9192</cx:pt>
          <cx:pt idx="5">46.485100000000003</cx:pt>
          <cx:pt idx="6">7.8415999999999997</cx:pt>
          <cx:pt idx="7">45.678999999999995</cx:pt>
          <cx:pt idx="8">19.547980000000003</cx:pt>
          <cx:pt idx="9">17.856179999999998</cx:pt>
          <cx:pt idx="10">36.543199999999999</cx:pt>
          <cx:pt idx="11">10.278600000000001</cx:pt>
          <cx:pt idx="12">2.7050200000000002</cx:pt>
          <cx:pt idx="13">38.182270000000003</cx:pt>
          <cx:pt idx="14">12.319199999999899</cx:pt>
          <cx:pt idx="15">51.375439999999692</cx:pt>
          <cx:pt idx="16">17.24098</cx:pt>
          <cx:pt idx="17">9.4451999999999998</cx:pt>
          <cx:pt idx="18">36.811899999999895</cx:pt>
          <cx:pt idx="19">37.080599999999905</cx:pt>
          <cx:pt idx="20">13.881599999999899</cx:pt>
          <cx:pt idx="21">16.764200000000002</cx:pt>
          <cx:pt idx="22">35.737099999999998</cx:pt>
          <cx:pt idx="23">13.606859999999902</cx:pt>
          <cx:pt idx="24">19.686400000000003</cx:pt>
          <cx:pt idx="25">13.462259999999901</cx:pt>
          <cx:pt idx="26">37.644870000000004</cx:pt>
          <cx:pt idx="27">18.302199999999999</cx:pt>
          <cx:pt idx="28">15.6244</cx:pt>
          <cx:pt idx="29">4.7433999999999994</cx:pt>
          <cx:pt idx="30">13.1242499999999</cx:pt>
          <cx:pt idx="31">13.1099999999999</cx:pt>
          <cx:pt idx="32">13.896059999999899</cx:pt>
          <cx:pt idx="33">19.686400000000003</cx:pt>
          <cx:pt idx="34">10.278600000000001</cx:pt>
          <cx:pt idx="35">3.8460000000000001</cx:pt>
          <cx:pt idx="36">14.315399999999901</cx:pt>
          <cx:pt idx="37">17.994599999999998</cx:pt>
          <cx:pt idx="38">14.0261999999999</cx:pt>
          <cx:pt idx="39">15.9192</cx:pt>
          <cx:pt idx="40">15.786539999999999</cx:pt>
          <cx:pt idx="41">8.9232000000000014</cx:pt>
          <cx:pt idx="42">15.771799999999999</cx:pt>
          <cx:pt idx="43">37.886699999999998</cx:pt>
          <cx:pt idx="44">41.137969999999704</cx:pt>
          <cx:pt idx="45">46.753799999999998</cx:pt>
          <cx:pt idx="46">74.429899999999705</cx:pt>
          <cx:pt idx="47">16.764200000000002</cx:pt>
          <cx:pt idx="48">17.24098</cx:pt>
          <cx:pt idx="49">9.722999999999999</cx:pt>
          <cx:pt idx="50">13.1242499999999</cx:pt>
          <cx:pt idx="51">15.476999999999999</cx:pt>
          <cx:pt idx="52">7.5712000000000002</cx:pt>
          <cx:pt idx="53">14.607339999999899</cx:pt>
          <cx:pt idx="54">36.570070000000001</cx:pt>
          <cx:pt idx="55">17.24098</cx:pt>
          <cx:pt idx="56">16.917999999999999</cx:pt>
          <cx:pt idx="57">11.625359999999899</cx:pt>
          <cx:pt idx="58">37.913569999999702</cx:pt>
          <cx:pt idx="59">17.533199999999997</cx:pt>
          <cx:pt idx="60">15.9192</cx:pt>
          <cx:pt idx="61">14.0261999999999</cx:pt>
          <cx:pt idx="62">13.1242499999999</cx:pt>
          <cx:pt idx="63">46.485100000000003</cx:pt>
          <cx:pt idx="64">12.0117799999999</cx:pt>
          <cx:pt idx="65">13.1242499999999</cx:pt>
          <cx:pt idx="66">34.662300000000002</cx:pt>
          <cx:pt idx="67">9.5840999999999994</cx:pt>
          <cx:pt idx="68">3.9741999999999997</cx:pt>
          <cx:pt idx="69">3.9741999999999997</cx:pt>
          <cx:pt idx="70">10.7091899999999</cx:pt>
          <cx:pt idx="71">37.618000000000002</cx:pt>
          <cx:pt idx="72">44.872899999999902</cx:pt>
          <cx:pt idx="73">26.359470000000002</cx:pt>
          <cx:pt idx="74">3.08962</cx:pt>
          <cx:pt idx="75">17.24098</cx:pt>
          <cx:pt idx="76">19.686400000000003</cx:pt>
          <cx:pt idx="77">16.764200000000002</cx:pt>
          <cx:pt idx="78">47.0762399999997</cx:pt>
          <cx:pt idx="79">9.8619000000000003</cx:pt>
          <cx:pt idx="80">14.1708</cx:pt>
          <cx:pt idx="81">4.4998199999999899</cx:pt>
          <cx:pt idx="82">27.702969999999898</cx:pt>
          <cx:pt idx="83">11.625359999999899</cx:pt>
          <cx:pt idx="84">2.3204199999999999</cx:pt>
          <cx:pt idx="85">6.1748099999999999</cx:pt>
          <cx:pt idx="86">7.4359999999999999</cx:pt>
          <cx:pt idx="87">11.639520000000001</cx:pt>
          <cx:pt idx="88">11.894399999999999</cx:pt>
          <cx:pt idx="89">13.1242499999999</cx:pt>
          <cx:pt idx="90">10.0008</cx:pt>
          <cx:pt idx="91">3.9741999999999997</cx:pt>
          <cx:pt idx="92">44.335500000000003</cx:pt>
          <cx:pt idx="93">18.302199999999999</cx:pt>
          <cx:pt idx="94">17.3794</cx:pt>
          <cx:pt idx="95">7.3008000000000006</cx:pt>
          <cx:pt idx="96">44.631070000000001</cx:pt>
          <cx:pt idx="97">17.840799999999902</cx:pt>
          <cx:pt idx="98">15.6244</cx:pt>
          <cx:pt idx="99">15.771799999999999</cx:pt>
          <cx:pt idx="100">19.547980000000003</cx:pt>
          <cx:pt idx="101">36.543199999999999</cx:pt>
          <cx:pt idx="102">15.476999999999999</cx:pt>
          <cx:pt idx="103">19.686400000000003</cx:pt>
          <cx:pt idx="104">16.94876</cx:pt>
          <cx:pt idx="105">17.394779999999898</cx:pt>
          <cx:pt idx="106">19.086580000000001</cx:pt>
          <cx:pt idx="107">35.1997</cx:pt>
          <cx:pt idx="108">37.618000000000002</cx:pt>
          <cx:pt idx="109">14.0261999999999</cx:pt>
          <cx:pt idx="110">37.3492999999999</cx:pt>
          <cx:pt idx="111">36.274499999999996</cx:pt>
          <cx:pt idx="112">18.6098</cx:pt>
          <cx:pt idx="113">35.737099999999998</cx:pt>
          <cx:pt idx="114">19.532599999999999</cx:pt>
          <cx:pt idx="115">13.881599999999899</cx:pt>
          <cx:pt idx="116">39.230199999999897</cx:pt>
          <cx:pt idx="117">37.618000000000002</cx:pt>
          <cx:pt idx="118">18.917400000000001</cx:pt>
          <cx:pt idx="119">57.501799999999704</cx:pt>
          <cx:pt idx="120">43.798099999999998</cx:pt>
          <cx:pt idx="121">3.7178000000000004</cx:pt>
          <cx:pt idx="122">8.9232000000000014</cx:pt>
          <cx:pt idx="123">38.424100000000003</cx:pt>
          <cx:pt idx="124">7.3008000000000006</cx:pt>
          <cx:pt idx="125">17.840799999999902</cx:pt>
          <cx:pt idx="126">59.113999999999699</cx:pt>
          <cx:pt idx="127">4.9998000000000005</cx:pt>
          <cx:pt idx="128">9.4451999999999998</cx:pt>
          <cx:pt idx="129">14.74</cx:pt>
          <cx:pt idx="130">43.529399999999903</cx:pt>
          <cx:pt idx="131">44.093670000000003</cx:pt>
          <cx:pt idx="132">39.230199999999897</cx:pt>
          <cx:pt idx="133">17.3794</cx:pt>
          <cx:pt idx="134">46.485100000000003</cx:pt>
          <cx:pt idx="135">44.604199999999999</cx:pt>
          <cx:pt idx="136">9.722999999999999</cx:pt>
          <cx:pt idx="137">12.62698</cx:pt>
          <cx:pt idx="138">17.717759999999998</cx:pt>
          <cx:pt idx="139">14.315399999999901</cx:pt>
          <cx:pt idx="140">15.6244</cx:pt>
          <cx:pt idx="141">14.0261999999999</cx:pt>
          <cx:pt idx="142">15.771799999999999</cx:pt>
          <cx:pt idx="143">14.1708</cx:pt>
          <cx:pt idx="144">38.424100000000003</cx:pt>
          <cx:pt idx="145">36.543199999999999</cx:pt>
          <cx:pt idx="146">14.0261999999999</cx:pt>
          <cx:pt idx="147">15.04954</cx:pt>
          <cx:pt idx="148">45.705869999999997</cx:pt>
          <cx:pt idx="149">35.1997</cx:pt>
          <cx:pt idx="150">10.4175</cx:pt>
          <cx:pt idx="151">13.1242499999999</cx:pt>
          <cx:pt idx="152">19.101960000000002</cx:pt>
          <cx:pt idx="153">13.881599999999899</cx:pt>
          <cx:pt idx="154">14.8873999999999</cx:pt>
          <cx:pt idx="155">36.570070000000001</cx:pt>
          <cx:pt idx="156">35.468400000000003</cx:pt>
          <cx:pt idx="157">10.4175</cx:pt>
          <cx:pt idx="158">44.899769999999997</cx:pt>
          <cx:pt idx="159">19.394179999999999</cx:pt>
          <cx:pt idx="160">34.662300000000002</cx:pt>
          <cx:pt idx="161">40.305</cx:pt>
          <cx:pt idx="162">38.424100000000003</cx:pt>
          <cx:pt idx="163">15.6244</cx:pt>
          <cx:pt idx="164">8.9232000000000014</cx:pt>
          <cx:pt idx="165">35.1997</cx:pt>
          <cx:pt idx="166">37.3492999999999</cx:pt>
          <cx:pt idx="167">41.917200000000001</cx:pt>
          <cx:pt idx="168">38.424100000000003</cx:pt>
          <cx:pt idx="169">16.917999999999999</cx:pt>
          <cx:pt idx="170">15.476999999999999</cx:pt>
          <cx:pt idx="171">15.034799999999901</cx:pt>
          <cx:pt idx="172">19.378799999999998</cx:pt>
          <cx:pt idx="173">15.771799999999999</cx:pt>
          <cx:pt idx="174">13.881599999999899</cx:pt>
          <cx:pt idx="175">48.634699999999995</cx:pt>
          <cx:pt idx="176">37.618000000000002</cx:pt>
          <cx:pt idx="177">14.3154</cx:pt>
          <cx:pt idx="178">47.828600000000002</cx:pt>
          <cx:pt idx="179">15.034799999999901</cx:pt>
          <cx:pt idx="180">12.177599999999899</cx:pt>
          <cx:pt idx="181">55.620899999999992</cx:pt>
          <cx:pt idx="182">37.886699999999998</cx:pt>
          <cx:pt idx="183">37.618000000000002</cx:pt>
          <cx:pt idx="184">16.764200000000002</cx:pt>
          <cx:pt idx="185">7.9767999999999892</cx:pt>
          <cx:pt idx="186">15.6244</cx:pt>
          <cx:pt idx="187">55.110369999999698</cx:pt>
          <cx:pt idx="188">13.881599999999899</cx:pt>
          <cx:pt idx="189">19.225000000000001</cx:pt>
          <cx:pt idx="190">52.396500000000003</cx:pt>
          <cx:pt idx="191">10.5564</cx:pt>
          <cx:pt idx="192">34.662300000000002</cx:pt>
          <cx:pt idx="193">37.886699999999998</cx:pt>
          <cx:pt idx="194">34.930999999999997</cx:pt>
          <cx:pt idx="195">42.992000000000004</cx:pt>
          <cx:pt idx="196">14.739999999999901</cx:pt>
          <cx:pt idx="197">38.692799999999998</cx:pt>
          <cx:pt idx="198">34.930999999999997</cx:pt>
          <cx:pt idx="199">43.2607</cx:pt>
          <cx:pt idx="200">7.4359999999999999</cx:pt>
          <cx:pt idx="201">44.872899999999902</cx:pt>
          <cx:pt idx="202">45.141599999999698</cx:pt>
          <cx:pt idx="203">14.607339999999999</cx:pt>
          <cx:pt idx="204">7.4359999999999999</cx:pt>
          <cx:pt idx="205">9.0583999999999989</cx:pt>
          <cx:pt idx="206">38.692799999999998</cx:pt>
          <cx:pt idx="207">9.5840999999999994</cx:pt>
          <cx:pt idx="208">36.005800000000001</cx:pt>
          <cx:pt idx="209">15.06428</cx:pt>
          <cx:pt idx="210">11.4696</cx:pt>
          <cx:pt idx="211">19.225000000000001</cx:pt>
          <cx:pt idx="212">13.736999999999899</cx:pt>
          <cx:pt idx="213">46.216399999999901</cx:pt>
          <cx:pt idx="214">35.468400000000003</cx:pt>
          <cx:pt idx="215">6.6860999999999908</cx:pt>
          <cx:pt idx="216">4.3399200000000002</cx:pt>
          <cx:pt idx="217">38.961499999999901</cx:pt>
          <cx:pt idx="218">13.606859999999902</cx:pt>
          <cx:pt idx="219">15.771799999999999</cx:pt>
          <cx:pt idx="220">38.1554</cx:pt>
          <cx:pt idx="221">19.378799999999998</cx:pt>
          <cx:pt idx="222">2.5639999999999898</cx:pt>
          <cx:pt idx="223">18.6098</cx:pt>
          <cx:pt idx="224">14.1708</cx:pt>
          <cx:pt idx="225">14.1708</cx:pt>
          <cx:pt idx="226">8.80152</cx:pt>
          <cx:pt idx="227">37.618000000000002</cx:pt>
          <cx:pt idx="228">13.462260000000001</cx:pt>
          <cx:pt idx="229">19.378799999999998</cx:pt>
          <cx:pt idx="230">7.8415999999999997</cx:pt>
          <cx:pt idx="231">18.456</cx:pt>
          <cx:pt idx="232">4.3588000000000005</cx:pt>
          <cx:pt idx="233">6.03059999999999</cx:pt>
          <cx:pt idx="234">35.1997</cx:pt>
          <cx:pt idx="235">11.894399999999999</cx:pt>
          <cx:pt idx="236">41.917200000000001</cx:pt>
          <cx:pt idx="237">39.257069999999999</cx:pt>
          <cx:pt idx="238">36.274499999999996</cx:pt>
          <cx:pt idx="239">48.366</cx:pt>
          <cx:pt idx="240">18.456</cx:pt>
          <cx:pt idx="241">14.315399999999901</cx:pt>
          <cx:pt idx="242">10.278600000000001</cx:pt>
          <cx:pt idx="243">36.274499999999996</cx:pt>
          <cx:pt idx="244">5.89949999999999</cx:pt>
          <cx:pt idx="245">11.704180000000001</cx:pt>
          <cx:pt idx="246">19.071199999999997</cx:pt>
          <cx:pt idx="247">40.305</cx:pt>
          <cx:pt idx="248">41.379800000000003</cx:pt>
          <cx:pt idx="249">39.498899999999999</cx:pt>
          <cx:pt idx="250">34.662300000000002</cx:pt>
          <cx:pt idx="251">49.709499999999998</cx:pt>
          <cx:pt idx="252">10.973099999999999</cx:pt>
          <cx:pt idx="253">36.811899999999895</cx:pt>
          <cx:pt idx="254">14.739999999999901</cx:pt>
          <cx:pt idx="255">4.2305999999999999</cx:pt>
          <cx:pt idx="256">14.0261999999999</cx:pt>
          <cx:pt idx="257">17.687000000000001</cx:pt>
          <cx:pt idx="258">18.7636</cx:pt>
          <cx:pt idx="259">11.3421599999999</cx:pt>
          <cx:pt idx="260">17.687000000000001</cx:pt>
          <cx:pt idx="261">16.764200000000002</cx:pt>
          <cx:pt idx="262">36.811899999999895</cx:pt>
          <cx:pt idx="263">19.378799999999998</cx:pt>
          <cx:pt idx="264">5.89949999999999</cx:pt>
          <cx:pt idx="265">42.185899999999997</cx:pt>
          <cx:pt idx="266">15.344340000000001</cx:pt>
          <cx:pt idx="267">5.89949999999999</cx:pt>
          <cx:pt idx="268">39.767599999999995</cx:pt>
          <cx:pt idx="269">43.01887</cx:pt>
          <cx:pt idx="270">51.859100000000005</cx:pt>
          <cx:pt idx="271">39.230199999999897</cx:pt>
          <cx:pt idx="272">10.18534</cx:pt>
          <cx:pt idx="273">14.315399999999901</cx:pt>
          <cx:pt idx="274">51.106739999999697</cx:pt>
          <cx:pt idx="275">13.881599999999999</cx:pt>
          <cx:pt idx="276">35.468400000000003</cx:pt>
          <cx:pt idx="277">15.034799999999901</cx:pt>
          <cx:pt idx="278">15.771799999999999</cx:pt>
          <cx:pt idx="279">45.947700000000005</cx:pt>
          <cx:pt idx="280">17.2256</cx:pt>
          <cx:pt idx="281">35.468400000000003</cx:pt>
          <cx:pt idx="282">8.7880000000000003</cx:pt>
          <cx:pt idx="283">17.840799999999902</cx:pt>
          <cx:pt idx="284">55.1372399999997</cx:pt>
          <cx:pt idx="285">6.03059999999999</cx:pt>
          <cx:pt idx="286">16.917999999999999</cx:pt>
          <cx:pt idx="287">15.771799999999999</cx:pt>
          <cx:pt idx="288">18.917400000000001</cx:pt>
          <cx:pt idx="289">13.881599999999899</cx:pt>
          <cx:pt idx="290">38.1554</cx:pt>
          <cx:pt idx="291">13.751459999999998</cx:pt>
          <cx:pt idx="292">15.9192</cx:pt>
          <cx:pt idx="293">37.080599999999905</cx:pt>
          <cx:pt idx="294">7.1655999999999995</cx:pt>
          <cx:pt idx="295">55.110369999999698</cx:pt>
          <cx:pt idx="296">9.8619000000000003</cx:pt>
          <cx:pt idx="297">12.4607999999999</cx:pt>
          <cx:pt idx="298">11.752799999999999</cx:pt>
          <cx:pt idx="299">42.723299999999995</cx:pt>
          <cx:pt idx="300">6.8171999999999997</cx:pt>
          <cx:pt idx="301">39.767599999999995</cx:pt>
          <cx:pt idx="302">13.881599999999899</cx:pt>
          <cx:pt idx="303">17.0718</cx:pt>
          <cx:pt idx="304">6.4239000000000006</cx:pt>
          <cx:pt idx="305">15.653880000000001</cx:pt>
          <cx:pt idx="306">18.7636</cx:pt>
          <cx:pt idx="307">34.662300000000002</cx:pt>
          <cx:pt idx="308">12.4607999999999</cx:pt>
          <cx:pt idx="309">15.9192</cx:pt>
          <cx:pt idx="310">7.4495199999999997</cx:pt>
          <cx:pt idx="311">6.5214599999999994</cx:pt>
          <cx:pt idx="312">37.080599999999905</cx:pt>
          <cx:pt idx="313">17.0718</cx:pt>
          <cx:pt idx="314">14.0261999999999</cx:pt>
          <cx:pt idx="315">39.230199999999897</cx:pt>
          <cx:pt idx="316">19.686400000000003</cx:pt>
          <cx:pt idx="317">4.3588000000000005</cx:pt>
          <cx:pt idx="318">13.1242499999999</cx:pt>
          <cx:pt idx="319">17.24098</cx:pt>
          <cx:pt idx="320">9.722999999999999</cx:pt>
          <cx:pt idx="321">19.686400000000003</cx:pt>
          <cx:pt idx="322">9.5840999999999994</cx:pt>
          <cx:pt idx="323">51.321699999999701</cx:pt>
          <cx:pt idx="324">71.474199999999698</cx:pt>
          <cx:pt idx="325">35.1997</cx:pt>
          <cx:pt idx="326">40.305</cx:pt>
          <cx:pt idx="327">36.005800000000001</cx:pt>
          <cx:pt idx="328">4.2305999999999999</cx:pt>
          <cx:pt idx="329">12.8249999999999</cx:pt>
          <cx:pt idx="330">7.8415999999999997</cx:pt>
          <cx:pt idx="331">11.497920000000001</cx:pt>
          <cx:pt idx="332">7.5712000000000002</cx:pt>
          <cx:pt idx="333">37.886699999999998</cx:pt>
          <cx:pt idx="334">15.771799999999999</cx:pt>
          <cx:pt idx="335">16.625780000000002</cx:pt>
          <cx:pt idx="336">13.881599999999999</cx:pt>
          <cx:pt idx="337">8.5175999999999998</cx:pt>
          <cx:pt idx="338">4.2305999999999999</cx:pt>
          <cx:pt idx="339">57.501799999999903</cx:pt>
          <cx:pt idx="340">4.2305999999999999</cx:pt>
          <cx:pt idx="341">15.6244</cx:pt>
          <cx:pt idx="342">14.0261999999999</cx:pt>
          <cx:pt idx="343">16.93338</cx:pt>
          <cx:pt idx="344">10.139699999999999</cx:pt>
          <cx:pt idx="345">15.9192</cx:pt>
          <cx:pt idx="346">47.291200000000003</cx:pt>
          <cx:pt idx="347">36.811899999999895</cx:pt>
          <cx:pt idx="348">37.3492999999999</cx:pt>
          <cx:pt idx="349">41.379799999999697</cx:pt>
          <cx:pt idx="350">4.6151999999999997</cx:pt>
          <cx:pt idx="351">36.811899999999895</cx:pt>
          <cx:pt idx="352">15.04954</cx:pt>
          <cx:pt idx="353">10.7091899999999</cx:pt>
          <cx:pt idx="354">35.763969999999901</cx:pt>
          <cx:pt idx="355">36.005800000000001</cx:pt>
          <cx:pt idx="356">12.177599999999899</cx:pt>
          <cx:pt idx="357">18.932779999999998</cx:pt>
          <cx:pt idx="358">41.1111</cx:pt>
          <cx:pt idx="359">11.611199999999899</cx:pt>
          <cx:pt idx="360">1.42301999999999</cx:pt>
          <cx:pt idx="361">39.767599999999995</cx:pt>
          <cx:pt idx="362">15.182200000000002</cx:pt>
          <cx:pt idx="363">18.4713799999999</cx:pt>
          <cx:pt idx="364">40.331869999999697</cx:pt>
          <cx:pt idx="365">12.839249999999899</cx:pt>
          <cx:pt idx="366">11.3421599999999</cx:pt>
          <cx:pt idx="367">18.4713799999999</cx:pt>
          <cx:pt idx="368">35.1997</cx:pt>
          <cx:pt idx="369">7.4359999999999999</cx:pt>
          <cx:pt idx="370">9.8619000000000003</cx:pt>
          <cx:pt idx="371">38.692799999999998</cx:pt>
          <cx:pt idx="372">17.2256</cx:pt>
          <cx:pt idx="373">14.739999999999901</cx:pt>
          <cx:pt idx="374">13.896059999999899</cx:pt>
          <cx:pt idx="375">1.6794199999999999</cx:pt>
          <cx:pt idx="376">29.852569999999901</cx:pt>
          <cx:pt idx="377">9.722999999999999</cx:pt>
          <cx:pt idx="378">3.8460000000000001</cx:pt>
          <cx:pt idx="379">36.005800000000001</cx:pt>
          <cx:pt idx="380">43.2607</cx:pt>
          <cx:pt idx="381">1.42301999999999</cx:pt>
          <cx:pt idx="382">13.1099999999999</cx:pt>
          <cx:pt idx="383">18.163779999999999</cx:pt>
          <cx:pt idx="384">17.994599999999998</cx:pt>
          <cx:pt idx="385">10.7091899999999</cx:pt>
          <cx:pt idx="386">11.3421599999999</cx:pt>
          <cx:pt idx="387">36.543199999999999</cx:pt>
          <cx:pt idx="388">15.034799999999901</cx:pt>
          <cx:pt idx="389">36.005800000000001</cx:pt>
          <cx:pt idx="390">11.7669599999999</cx:pt>
          <cx:pt idx="391">3.2178199999999997</cx:pt>
          <cx:pt idx="392">42.750169999999898</cx:pt>
          <cx:pt idx="393">18.917400000000001</cx:pt>
          <cx:pt idx="394">39.230199999999897</cx:pt>
          <cx:pt idx="395">15.491739999999901</cx:pt>
          <cx:pt idx="396">9.722999999999999</cx:pt>
          <cx:pt idx="397">10.973099999999999</cx:pt>
          <cx:pt idx="398">11.625359999999899</cx:pt>
          <cx:pt idx="399">30.389969999999899</cx:pt>
          <cx:pt idx="400">14.739999999999901</cx:pt>
          <cx:pt idx="401">41.1111</cx:pt>
          <cx:pt idx="402">8.3823999999999987</cx:pt>
          <cx:pt idx="403">41.164840000000005</cx:pt>
          <cx:pt idx="404">17.2256</cx:pt>
          <cx:pt idx="405">47.291200000000003</cx:pt>
          <cx:pt idx="406">14.0261999999999</cx:pt>
          <cx:pt idx="407">53.766869999999699</cx:pt>
          <cx:pt idx="408">12.8249999999999</cx:pt>
          <cx:pt idx="409">11.8579799999999</cx:pt>
          <cx:pt idx="410">38.961499999999901</cx:pt>
          <cx:pt idx="411">4.1023999999999994</cx:pt>
          <cx:pt idx="412">13.780380000000001</cx:pt>
          <cx:pt idx="413">13.1242499999999</cx:pt>
          <cx:pt idx="414">9.0583999999999989</cx:pt>
          <cx:pt idx="415">39.498899999999999</cx:pt>
          <cx:pt idx="416">14.75474</cx:pt>
          <cx:pt idx="417">43.01887</cx:pt>
          <cx:pt idx="418">15.476999999999999</cx:pt>
          <cx:pt idx="419">3.8460000000000001</cx:pt>
          <cx:pt idx="420">13.881599999999899</cx:pt>
          <cx:pt idx="421">43.2607</cx:pt>
          <cx:pt idx="422">8.5175999999999998</cx:pt>
          <cx:pt idx="423">43.529399999999903</cx:pt>
          <cx:pt idx="424">51.052999999999706</cx:pt>
          <cx:pt idx="425">9.3201899999999895</cx:pt>
          <cx:pt idx="426">9.7368899999999989</cx:pt>
          <cx:pt idx="427">15.771799999999999</cx:pt>
          <cx:pt idx="428">13.881599999999899</cx:pt>
          <cx:pt idx="429">12.4607999999999</cx:pt>
          <cx:pt idx="430">56.480739999999997</cx:pt>
          <cx:pt idx="431">36.274499999999996</cx:pt>
          <cx:pt idx="432">13.5924</cx:pt>
          <cx:pt idx="433">9.4451999999999998</cx:pt>
          <cx:pt idx="434">13.881599999999899</cx:pt>
          <cx:pt idx="435">15.329599999999999</cx:pt>
          <cx:pt idx="436">40.305</cx:pt>
          <cx:pt idx="437">15.491739999999901</cx:pt>
          <cx:pt idx="438">15.491739999999901</cx:pt>
          <cx:pt idx="439">13.751459999999899</cx:pt>
          <cx:pt idx="440">12.616559999999899</cx:pt>
          <cx:pt idx="441">18.33296</cx:pt>
          <cx:pt idx="442">3.8460000000000001</cx:pt>
          <cx:pt idx="443">11.7669599999999</cx:pt>
          <cx:pt idx="444">14.1707999999999</cx:pt>
          <cx:pt idx="445">34.930999999999997</cx:pt>
          <cx:pt idx="446">35.495269999999898</cx:pt>
          <cx:pt idx="447">47.076240000000006</cx:pt>
          <cx:pt idx="448">18.302199999999999</cx:pt>
          <cx:pt idx="449">37.3492999999999</cx:pt>
          <cx:pt idx="450">2.7050200000000002</cx:pt>
          <cx:pt idx="451">18.148399999999899</cx:pt>
          <cx:pt idx="452">8.9232000000000014</cx:pt>
          <cx:pt idx="453">18.778979999999901</cx:pt>
          <cx:pt idx="454">0.91021999999999992</cx:pt>
          <cx:pt idx="455">12.995999999999999</cx:pt>
          <cx:pt idx="456">15.6244</cx:pt>
          <cx:pt idx="457">30.927369999999897</cx:pt>
          <cx:pt idx="458">10.431389999999901</cx:pt>
          <cx:pt idx="459">11.550379999999901</cx:pt>
          <cx:pt idx="460">17.0718</cx:pt>
          <cx:pt idx="461">52.396499999999705</cx:pt>
          <cx:pt idx="462">13.1242499999999</cx:pt>
          <cx:pt idx="463">12.839249999999899</cx:pt>
          <cx:pt idx="464">10.7091899999999</cx:pt>
          <cx:pt idx="465">4.2305999999999999</cx:pt>
          <cx:pt idx="466">39.525770000000001</cx:pt>
          <cx:pt idx="467">38.424100000000003</cx:pt>
          <cx:pt idx="468">18.148399999999899</cx:pt>
          <cx:pt idx="469">17.24098</cx:pt>
          <cx:pt idx="470">44.362369999999999</cx:pt>
          <cx:pt idx="471">10.5702899999999</cx:pt>
          <cx:pt idx="472">8.7880000000000003</cx:pt>
          <cx:pt idx="473">13.1242499999999</cx:pt>
          <cx:pt idx="474">13.1242499999999</cx:pt>
          <cx:pt idx="475">15.6244</cx:pt>
          <cx:pt idx="476">39.230199999999897</cx:pt>
          <cx:pt idx="477">42.454599999999999</cx:pt>
          <cx:pt idx="478">2.5768200000000001</cx:pt>
          <cx:pt idx="479">5.2561999999999998</cx:pt>
          <cx:pt idx="480">34.662300000000002</cx:pt>
          <cx:pt idx="481">37.886699999999998</cx:pt>
          <cx:pt idx="482">13.896059999999899</cx:pt>
          <cx:pt idx="483">10.986989999999899</cx:pt>
          <cx:pt idx="484">8.6527999999999992</cx:pt>
          <cx:pt idx="485">12.01178</cx:pt>
          <cx:pt idx="486">3.9741999999999997</cx:pt>
          <cx:pt idx="487">19.686400000000003</cx:pt>
          <cx:pt idx="488">45.678999999999995</cx:pt>
          <cx:pt idx="489">19.378799999999998</cx:pt>
          <cx:pt idx="490">17.0718</cx:pt>
          <cx:pt idx="491">14.8873999999999</cx:pt>
          <cx:pt idx="492">17.840799999999902</cx:pt>
          <cx:pt idx="493">15.034799999999901</cx:pt>
          <cx:pt idx="494">15.6244</cx:pt>
          <cx:pt idx="495">15.6244</cx:pt>
          <cx:pt idx="496">15.034799999999901</cx:pt>
          <cx:pt idx="497">12.050159999999901</cx:pt>
          <cx:pt idx="498">12.967500000000001</cx:pt>
          <cx:pt idx="499">43.798099999999998</cx:pt>
          <cx:pt idx="500">38.692799999999998</cx:pt>
          <cx:pt idx="501">10.139699999999999</cx:pt>
          <cx:pt idx="502">17.840799999999902</cx:pt>
          <cx:pt idx="503">14.1707999999999</cx:pt>
          <cx:pt idx="504">4.4870000000000001</cx:pt>
          <cx:pt idx="505">12.036</cx:pt>
          <cx:pt idx="506">14.0261999999999</cx:pt>
          <cx:pt idx="507">13.751459999999899</cx:pt>
          <cx:pt idx="508">17.24098</cx:pt>
          <cx:pt idx="509">8.2472000000000012</cx:pt>
          <cx:pt idx="510">17.702379999999902</cx:pt>
          <cx:pt idx="511">49.709499999999998</cx:pt>
          <cx:pt idx="512">15.19694</cx:pt>
          <cx:pt idx="513">19.378799999999998</cx:pt>
          <cx:pt idx="514">39.767599999999995</cx:pt>
          <cx:pt idx="515">52.127799999999901</cx:pt>
          <cx:pt idx="516">6.4239000000000006</cx:pt>
          <cx:pt idx="517">35.1997</cx:pt>
          <cx:pt idx="518">14.1707999999999</cx:pt>
          <cx:pt idx="519">36.811899999999895</cx:pt>
          <cx:pt idx="520">41.648499999999999</cx:pt>
          <cx:pt idx="521">40.86927</cx:pt>
          <cx:pt idx="522">13.751459999999899</cx:pt>
          <cx:pt idx="523">18.948160000000001</cx:pt>
          <cx:pt idx="524">39.283940000000001</cx:pt>
          <cx:pt idx="525">37.91357</cx:pt>
          <cx:pt idx="526">13.1242499999999</cx:pt>
          <cx:pt idx="527">5.2561999999999998</cx:pt>
          <cx:pt idx="528">43.529399999999903</cx:pt>
          <cx:pt idx="529">16.764200000000002</cx:pt>
          <cx:pt idx="530">9.722999999999999</cx:pt>
          <cx:pt idx="531">35.737099999999998</cx:pt>
          <cx:pt idx="532">10.7091899999999</cx:pt>
          <cx:pt idx="533">9.4451999999999998</cx:pt>
          <cx:pt idx="534">15.329599999999999</cx:pt>
          <cx:pt idx="535">12.036</cx:pt>
          <cx:pt idx="536">15.04954</cx:pt>
          <cx:pt idx="537">17.840799999999902</cx:pt>
          <cx:pt idx="538">34.930999999999997</cx:pt>
          <cx:pt idx="539">18.456</cx:pt>
          <cx:pt idx="540">13.1242499999999</cx:pt>
          <cx:pt idx="541">42.723299999999995</cx:pt>
          <cx:pt idx="542">38.182270000000003</cx:pt>
          <cx:pt idx="543">19.240380000000002</cx:pt>
          <cx:pt idx="544">2.7050200000000002</cx:pt>
          <cx:pt idx="545">18.778979999999901</cx:pt>
          <cx:pt idx="546">12.9817499999999</cx:pt>
          <cx:pt idx="547">16.764200000000002</cx:pt>
          <cx:pt idx="548">17.702379999999902</cx:pt>
          <cx:pt idx="549">37.080599999999905</cx:pt>
          <cx:pt idx="550">3.9741999999999997</cx:pt>
          <cx:pt idx="551">1.16662</cx:pt>
          <cx:pt idx="552">41.137969999999704</cx:pt>
          <cx:pt idx="553">13.1242499999999</cx:pt>
          <cx:pt idx="554">43.018869999999701</cx:pt>
        </cx:lvl>
      </cx:numDim>
    </cx:data>
    <cx:data id="6">
      <cx:numDim type="val">
        <cx:f>US_Region_Box_Plots!$J$2:$J$6755</cx:f>
        <cx:lvl ptCount="6754" formatCode="_(* #,##0_);_(* \(#,##0\);_(* &quot;-&quot;??_);_(@_)">
          <cx:pt idx="0">0.91021999999999992</cx:pt>
          <cx:pt idx="1">35.468400000000003</cx:pt>
          <cx:pt idx="2">18.148399999999899</cx:pt>
          <cx:pt idx="3">48.957139999999697</cx:pt>
          <cx:pt idx="4">17.2256</cx:pt>
          <cx:pt idx="5">13.896059999999899</cx:pt>
          <cx:pt idx="6">14.74</cx:pt>
          <cx:pt idx="7">7.1655999999999995</cx:pt>
          <cx:pt idx="8">7.3008000000000006</cx:pt>
          <cx:pt idx="9">4.8715999999999999</cx:pt>
          <cx:pt idx="10">13.621320000000001</cx:pt>
          <cx:pt idx="11">8.5175999999999998</cx:pt>
          <cx:pt idx="12">4.2305999999999999</cx:pt>
          <cx:pt idx="13">4.1023999999999994</cx:pt>
          <cx:pt idx="14">2.9485999999999999</cx:pt>
          <cx:pt idx="15">39.767599999999995</cx:pt>
          <cx:pt idx="16">12.036</cx:pt>
          <cx:pt idx="17">8.3823999999999987</cx:pt>
          <cx:pt idx="18">6.03059999999999</cx:pt>
          <cx:pt idx="19">3.08962</cx:pt>
          <cx:pt idx="20">13.751459999999899</cx:pt>
        </cx:lvl>
      </cx:numDim>
    </cx:data>
    <cx:data id="7">
      <cx:numDim type="val">
        <cx:f>US_Region_Box_Plots!$K$2:$K$6755</cx:f>
        <cx:lvl ptCount="6754" formatCode="_(* #,##0_);_(* \(#,##0\);_(* &quot;-&quot;??_);_(@_)">
          <cx:pt idx="0">11.625360000000001</cx:pt>
          <cx:pt idx="1">6.1748099999999999</cx:pt>
          <cx:pt idx="2">17.0718</cx:pt>
          <cx:pt idx="3">18.778979999999901</cx:pt>
          <cx:pt idx="4">16.779579999999999</cx:pt>
          <cx:pt idx="5">10.973099999999999</cx:pt>
          <cx:pt idx="6">11.625359999999899</cx:pt>
          <cx:pt idx="7">7.8415999999999997</cx:pt>
          <cx:pt idx="8">17.24098</cx:pt>
          <cx:pt idx="9">9.7368899999999989</cx:pt>
          <cx:pt idx="10">5.89949999999999</cx:pt>
          <cx:pt idx="11">40.842399999999998</cx:pt>
          <cx:pt idx="12">14.0406599999999</cx:pt>
          <cx:pt idx="13">3.5895999999999999</cx:pt>
          <cx:pt idx="14">10.834199999999999</cx:pt>
          <cx:pt idx="15">12.036</cx:pt>
          <cx:pt idx="16">4.4870000000000001</cx:pt>
          <cx:pt idx="17">6.4370099999999999</cx:pt>
          <cx:pt idx="18">8.2472000000000012</cx:pt>
          <cx:pt idx="19">18.625179999999901</cx:pt>
          <cx:pt idx="20">51.644139999999709</cx:pt>
          <cx:pt idx="21">11.328000000000001</cx:pt>
          <cx:pt idx="22">17.533199999999997</cx:pt>
          <cx:pt idx="23">46.216399999999901</cx:pt>
          <cx:pt idx="24">17.3794</cx:pt>
          <cx:pt idx="25">9.8619000000000003</cx:pt>
          <cx:pt idx="26">17.687000000000001</cx:pt>
          <cx:pt idx="27">17.533199999999997</cx:pt>
          <cx:pt idx="28">5.7683999999999997</cx:pt>
          <cx:pt idx="29">37.886699999999998</cx:pt>
          <cx:pt idx="30">42.992000000000004</cx:pt>
          <cx:pt idx="31">14.75474</cx:pt>
          <cx:pt idx="32">3.5895999999999999</cx:pt>
          <cx:pt idx="33">6.5549999999999997</cx:pt>
          <cx:pt idx="34">15.786539999999999</cx:pt>
          <cx:pt idx="35">11.328000000000001</cx:pt>
          <cx:pt idx="36">4.6151999999999997</cx:pt>
          <cx:pt idx="37">34.689170000000004</cx:pt>
          <cx:pt idx="38">41.1111</cx:pt>
          <cx:pt idx="39">18.6098</cx:pt>
          <cx:pt idx="40">6.5549999999999997</cx:pt>
          <cx:pt idx="41">7.5712000000000002</cx:pt>
          <cx:pt idx="42">13.1242499999999</cx:pt>
          <cx:pt idx="43">6.6860999999999908</cx:pt>
          <cx:pt idx="44">14.3154</cx:pt>
          <cx:pt idx="45">13.1242499999999</cx:pt>
          <cx:pt idx="46">8.9232000000000014</cx:pt>
          <cx:pt idx="47">10.139699999999999</cx:pt>
          <cx:pt idx="48">13.1242499999999</cx:pt>
          <cx:pt idx="49">13.1242499999999</cx:pt>
          <cx:pt idx="50">13.1242499999999</cx:pt>
          <cx:pt idx="51">13.1242499999999</cx:pt>
          <cx:pt idx="52">36.838769999999997</cx:pt>
          <cx:pt idx="53">15.9192</cx:pt>
          <cx:pt idx="54">10.0008</cx:pt>
          <cx:pt idx="55">9.722999999999999</cx:pt>
          <cx:pt idx="56">14.0406599999999</cx:pt>
          <cx:pt idx="57">1.16662</cx:pt>
          <cx:pt idx="58">18.932779999999998</cx:pt>
          <cx:pt idx="59">41.1111</cx:pt>
          <cx:pt idx="60">19.547980000000003</cx:pt>
          <cx:pt idx="61">15.786539999999999</cx:pt>
          <cx:pt idx="62">14.607339999999899</cx:pt>
          <cx:pt idx="63">8.9367199999999993</cx:pt>
          <cx:pt idx="64">15.786539999999999</cx:pt>
          <cx:pt idx="65">10.0008</cx:pt>
          <cx:pt idx="66">15.786539999999999</cx:pt>
          <cx:pt idx="67">37.3492999999999</cx:pt>
          <cx:pt idx="68">10.5564</cx:pt>
          <cx:pt idx="69">10.5564</cx:pt>
          <cx:pt idx="70">15.771799999999999</cx:pt>
          <cx:pt idx="71">6.5549999999999997</cx:pt>
          <cx:pt idx="72">10.5564</cx:pt>
          <cx:pt idx="73">13.1242499999999</cx:pt>
          <cx:pt idx="74">5.1279999999999903</cx:pt>
          <cx:pt idx="75">19.378799999999998</cx:pt>
          <cx:pt idx="76">10.5564</cx:pt>
          <cx:pt idx="77">6.6860999999999908</cx:pt>
          <cx:pt idx="78">4.4870000000000001</cx:pt>
          <cx:pt idx="79">13.751459999999899</cx:pt>
          <cx:pt idx="80">18.917400000000001</cx:pt>
          <cx:pt idx="81">2.5639999999999898</cx:pt>
          <cx:pt idx="82">36.543199999999999</cx:pt>
          <cx:pt idx="83">10.5564</cx:pt>
          <cx:pt idx="84">15.491739999999901</cx:pt>
          <cx:pt idx="85">13.31766</cx:pt>
          <cx:pt idx="86">2.8332199999999998</cx:pt>
          <cx:pt idx="87">5.89949999999999</cx:pt>
          <cx:pt idx="88">15.786539999999999</cx:pt>
          <cx:pt idx="89">13.1242499999999</cx:pt>
          <cx:pt idx="90">10.6952999999999</cx:pt>
          <cx:pt idx="91">11.4696</cx:pt>
          <cx:pt idx="92">12.602399999999999</cx:pt>
          <cx:pt idx="93">19.071199999999997</cx:pt>
          <cx:pt idx="94">18.625179999999901</cx:pt>
          <cx:pt idx="95">15.329599999999999</cx:pt>
          <cx:pt idx="96">18.3175799999999</cx:pt>
          <cx:pt idx="97">48.097299999999699</cx:pt>
          <cx:pt idx="98">14.040659999999999</cx:pt>
          <cx:pt idx="99">7.4359999999999999</cx:pt>
          <cx:pt idx="100">9.5979900000000011</cx:pt>
          <cx:pt idx="101">19.071199999999997</cx:pt>
          <cx:pt idx="102">7.5712000000000002</cx:pt>
          <cx:pt idx="103">9.5840999999999994</cx:pt>
          <cx:pt idx="104">12.4731799999999</cx:pt>
          <cx:pt idx="105">7.7199199999999992</cx:pt>
          <cx:pt idx="106">4.9998000000000005</cx:pt>
          <cx:pt idx="107">17.3794</cx:pt>
          <cx:pt idx="108">6.2927999999999997</cx:pt>
          <cx:pt idx="109">16.764200000000002</cx:pt>
          <cx:pt idx="110">10.7091899999999</cx:pt>
          <cx:pt idx="111">6.8171999999999997</cx:pt>
          <cx:pt idx="112">10.4175</cx:pt>
          <cx:pt idx="113">15.786539999999999</cx:pt>
          <cx:pt idx="114">38.1554</cx:pt>
          <cx:pt idx="115">46.485099999999704</cx:pt>
          <cx:pt idx="116">12.6023999999999</cx:pt>
          <cx:pt idx="117">13.109999999999999</cx:pt>
          <cx:pt idx="118">19.240380000000002</cx:pt>
          <cx:pt idx="119">10.57029</cx:pt>
          <cx:pt idx="120">15.786539999999999</cx:pt>
          <cx:pt idx="121">6.1616999999999997</cx:pt>
          <cx:pt idx="122">14.0406599999999</cx:pt>
          <cx:pt idx="123">15.786539999999999</cx:pt>
          <cx:pt idx="124">14.0406599999999</cx:pt>
          <cx:pt idx="125">15.786539999999999</cx:pt>
          <cx:pt idx="126">14.1708</cx:pt>
          <cx:pt idx="127">10.6952999999999</cx:pt>
          <cx:pt idx="128">15.786539999999999</cx:pt>
          <cx:pt idx="129">14.0406599999999</cx:pt>
          <cx:pt idx="130">7.9767999999999892</cx:pt>
          <cx:pt idx="131">4.6151999999999997</cx:pt>
          <cx:pt idx="132">11.611199999999899</cx:pt>
          <cx:pt idx="133">17.0718</cx:pt>
          <cx:pt idx="134">8.2472000000000012</cx:pt>
          <cx:pt idx="135">5.4309900000000004</cx:pt>
          <cx:pt idx="136">36.811899999999895</cx:pt>
          <cx:pt idx="137">9.4451999999999998</cx:pt>
          <cx:pt idx="138">6.03059999999999</cx:pt>
          <cx:pt idx="139">6.1616999999999997</cx:pt>
          <cx:pt idx="140">55.110369999999996</cx:pt>
          <cx:pt idx="141">42.750169999999898</cx:pt>
          <cx:pt idx="142">13.751459999999899</cx:pt>
          <cx:pt idx="143">9.4451999999999998</cx:pt>
          <cx:pt idx="144">5.99925</cx:pt>
          <cx:pt idx="145">36.274499999999996</cx:pt>
          <cx:pt idx="146">11.625359999999899</cx:pt>
          <cx:pt idx="147">18.009979999999899</cx:pt>
          <cx:pt idx="148">11.752799999999999</cx:pt>
          <cx:pt idx="149">3.5895999999999999</cx:pt>
          <cx:pt idx="150">14.1708</cx:pt>
          <cx:pt idx="151">6.5549999999999997</cx:pt>
          <cx:pt idx="152">6.5549999999999997</cx:pt>
          <cx:pt idx="153">4.6151999999999997</cx:pt>
          <cx:pt idx="154">10.7091899999999</cx:pt>
          <cx:pt idx="155">13.1242499999999</cx:pt>
          <cx:pt idx="156">36.838769999999997</cx:pt>
          <cx:pt idx="157">7.5712000000000002</cx:pt>
          <cx:pt idx="158">11.328000000000001</cx:pt>
          <cx:pt idx="159">10.139699999999999</cx:pt>
          <cx:pt idx="160">11.752799999999999</cx:pt>
          <cx:pt idx="161">8.8150400000000193</cx:pt>
          <cx:pt idx="162">1.6794199999999999</cx:pt>
          <cx:pt idx="163">6.2927999999999997</cx:pt>
          <cx:pt idx="164">18.302199999999999</cx:pt>
          <cx:pt idx="165">18.302199999999999</cx:pt>
          <cx:pt idx="166">35.468400000000003</cx:pt>
          <cx:pt idx="167">10.973099999999999</cx:pt>
          <cx:pt idx="168">18.3175799999999</cx:pt>
          <cx:pt idx="169">38.182270000000003</cx:pt>
          <cx:pt idx="170">7.9767999999999892</cx:pt>
          <cx:pt idx="171">8.3823999999999987</cx:pt>
          <cx:pt idx="172">18.7636</cx:pt>
          <cx:pt idx="173">12.319199999999899</cx:pt>
          <cx:pt idx="174">5.2561999999999998</cx:pt>
          <cx:pt idx="175">18.778979999999901</cx:pt>
          <cx:pt idx="176">15.9192</cx:pt>
          <cx:pt idx="177">4.6151999999999997</cx:pt>
          <cx:pt idx="178">19.225000000000001</cx:pt>
          <cx:pt idx="179">6.03059999999999</cx:pt>
          <cx:pt idx="180">11.4696</cx:pt>
          <cx:pt idx="181">35.495269999999898</cx:pt>
          <cx:pt idx="182">12.825000000000001</cx:pt>
          <cx:pt idx="183">10.278600000000001</cx:pt>
          <cx:pt idx="184">4.6151999999999997</cx:pt>
          <cx:pt idx="185">14.74</cx:pt>
          <cx:pt idx="186">6.6860999999999908</cx:pt>
          <cx:pt idx="187">6.5549999999999997</cx:pt>
          <cx:pt idx="188">16.917999999999999</cx:pt>
          <cx:pt idx="189">9.4451999999999998</cx:pt>
          <cx:pt idx="190">7.3008000000000006</cx:pt>
          <cx:pt idx="191">7.7063999999999995</cx:pt>
          <cx:pt idx="192">13.1242499999999</cx:pt>
          <cx:pt idx="193">18.009979999999899</cx:pt>
          <cx:pt idx="194">10.4175</cx:pt>
          <cx:pt idx="195">13.31766</cx:pt>
          <cx:pt idx="196">16.917999999999999</cx:pt>
          <cx:pt idx="197">9.722999999999999</cx:pt>
          <cx:pt idx="198">17.871559999999999</cx:pt>
          <cx:pt idx="199">5.5061999999999998</cx:pt>
          <cx:pt idx="200">13.1242499999999</cx:pt>
          <cx:pt idx="201">8.6663199999999989</cx:pt>
          <cx:pt idx="202">7.1655999999999995</cx:pt>
          <cx:pt idx="203">18.163779999999999</cx:pt>
          <cx:pt idx="204">13.1242499999999</cx:pt>
          <cx:pt idx="205">4.6408400000000194</cx:pt>
          <cx:pt idx="206">10.973099999999999</cx:pt>
          <cx:pt idx="207">47.559899999999999</cx:pt>
          <cx:pt idx="208">17.3794</cx:pt>
          <cx:pt idx="209">4.6151999999999997</cx:pt>
          <cx:pt idx="210">19.225000000000001</cx:pt>
          <cx:pt idx="211">10.0008</cx:pt>
          <cx:pt idx="212">8.7880000000000003</cx:pt>
          <cx:pt idx="213">5.7683999999999997</cx:pt>
          <cx:pt idx="214">6.03059999999999</cx:pt>
          <cx:pt idx="215">1.9358199999999999</cx:pt>
          <cx:pt idx="216">4.9998000000000005</cx:pt>
          <cx:pt idx="217">12.460799999999999</cx:pt>
          <cx:pt idx="218">6.3059099999999892</cx:pt>
          <cx:pt idx="219">13.896059999999899</cx:pt>
          <cx:pt idx="220">41.379800000000003</cx:pt>
          <cx:pt idx="221">1.6794199999999999</cx:pt>
          <cx:pt idx="222">12.616559999999899</cx:pt>
          <cx:pt idx="223">6.1748099999999999</cx:pt>
          <cx:pt idx="224">4.1023999999999994</cx:pt>
          <cx:pt idx="225">9.5840999999999994</cx:pt>
          <cx:pt idx="226">6.0437099999999999</cx:pt>
          <cx:pt idx="227">5.63729999999999</cx:pt>
          <cx:pt idx="228">17.840799999999902</cx:pt>
          <cx:pt idx="229">5.5061999999999998</cx:pt>
          <cx:pt idx="230">2.1794000000000002</cx:pt>
          <cx:pt idx="231">3.7434400000000201</cx:pt>
          <cx:pt idx="232">7.8415999999999997</cx:pt>
          <cx:pt idx="233">5.5061999999999998</cx:pt>
          <cx:pt idx="234">4.6151999999999997</cx:pt>
          <cx:pt idx="235">12.967500000000001</cx:pt>
          <cx:pt idx="236">6.5549999999999997</cx:pt>
          <cx:pt idx="237">4.6151999999999997</cx:pt>
          <cx:pt idx="238">9.8619000000000003</cx:pt>
          <cx:pt idx="239">3.7178000000000004</cx:pt>
          <cx:pt idx="240">8.9232000000000014</cx:pt>
          <cx:pt idx="241">39.498899999999999</cx:pt>
          <cx:pt idx="242">6.4239000000000006</cx:pt>
          <cx:pt idx="243">7.3008000000000006</cx:pt>
          <cx:pt idx="244">3.9741999999999997</cx:pt>
          <cx:pt idx="245">4.4870000000000001</cx:pt>
          <cx:pt idx="246">8.3823999999999987</cx:pt>
          <cx:pt idx="247">10.139699999999999</cx:pt>
          <cx:pt idx="248">16.764200000000002</cx:pt>
          <cx:pt idx="249">9.4451999999999998</cx:pt>
          <cx:pt idx="250">5.5061999999999998</cx:pt>
          <cx:pt idx="251">10.306379999999999</cx:pt>
          <cx:pt idx="252">13.109999999999999</cx:pt>
          <cx:pt idx="253">9.722999999999999</cx:pt>
          <cx:pt idx="254">8.3823999999999987</cx:pt>
          <cx:pt idx="255">34.662300000000002</cx:pt>
          <cx:pt idx="256">11.4696</cx:pt>
          <cx:pt idx="257">12.177599999999899</cx:pt>
          <cx:pt idx="258">11.611199999999899</cx:pt>
          <cx:pt idx="259">11.752799999999999</cx:pt>
          <cx:pt idx="260">10.139699999999999</cx:pt>
          <cx:pt idx="261">9.5840999999999994</cx:pt>
          <cx:pt idx="262">5.63729999999999</cx:pt>
          <cx:pt idx="263">48.366</cx:pt>
          <cx:pt idx="264">6.03059999999999</cx:pt>
          <cx:pt idx="265">10.861980000000001</cx:pt>
          <cx:pt idx="266">5.5061999999999998</cx:pt>
          <cx:pt idx="267">11.328000000000001</cx:pt>
          <cx:pt idx="268">68.249799999999709</cx:pt>
          <cx:pt idx="269">10.153589999999999</cx:pt>
          <cx:pt idx="270">13.736999999999899</cx:pt>
          <cx:pt idx="271">6.6860999999999908</cx:pt>
          <cx:pt idx="272">17.994599999999998</cx:pt>
          <cx:pt idx="273">6.8171999999999997</cx:pt>
          <cx:pt idx="274">4.1023999999999994</cx:pt>
          <cx:pt idx="275">11.611199999999899</cx:pt>
          <cx:pt idx="276">15.9192</cx:pt>
          <cx:pt idx="277">6.03059999999999</cx:pt>
          <cx:pt idx="278">10.973099999999999</cx:pt>
          <cx:pt idx="279">10.01469</cx:pt>
          <cx:pt idx="280">10.973099999999999</cx:pt>
          <cx:pt idx="281">11.328000000000001</cx:pt>
          <cx:pt idx="282">11.894399999999999</cx:pt>
          <cx:pt idx="283">10.6952999999999</cx:pt>
          <cx:pt idx="284">5.5061999999999998</cx:pt>
          <cx:pt idx="285">5.5061999999999998</cx:pt>
          <cx:pt idx="286">12.19176</cx:pt>
          <cx:pt idx="287">17.0718</cx:pt>
          <cx:pt idx="288">10.973099999999999</cx:pt>
          <cx:pt idx="289">3.3332000000000002</cx:pt>
          <cx:pt idx="290">9.0583999999999989</cx:pt>
          <cx:pt idx="291">7.3008000000000006</cx:pt>
          <cx:pt idx="292">18.6098</cx:pt>
          <cx:pt idx="293">8.5175999999999998</cx:pt>
          <cx:pt idx="294">6.03059999999999</cx:pt>
          <cx:pt idx="295">10.4175</cx:pt>
          <cx:pt idx="296">5.63729999999999</cx:pt>
          <cx:pt idx="297">8.5175999999999998</cx:pt>
          <cx:pt idx="298">13.5924</cx:pt>
          <cx:pt idx="299">37.886699999999998</cx:pt>
          <cx:pt idx="300">37.886699999999998</cx:pt>
          <cx:pt idx="301">6.8171999999999997</cx:pt>
          <cx:pt idx="302">18.302199999999999</cx:pt>
          <cx:pt idx="303">52.665199999999999</cx:pt>
          <cx:pt idx="304">12.319199999999899</cx:pt>
          <cx:pt idx="305">10.834199999999999</cx:pt>
          <cx:pt idx="306">10.834199999999999</cx:pt>
          <cx:pt idx="307">12.967500000000001</cx:pt>
          <cx:pt idx="308">16.917999999999999</cx:pt>
          <cx:pt idx="309">11.4696</cx:pt>
          <cx:pt idx="310">4.1023999999999994</cx:pt>
          <cx:pt idx="311">8.3823999999999987</cx:pt>
          <cx:pt idx="312">10.5564</cx:pt>
          <cx:pt idx="313">13.5924</cx:pt>
          <cx:pt idx="314">2.9485999999999999</cx:pt>
          <cx:pt idx="315">10.5564</cx:pt>
          <cx:pt idx="316">5.4309900000000004</cx:pt>
          <cx:pt idx="317">37.3492999999999</cx:pt>
          <cx:pt idx="318">11.4696</cx:pt>
          <cx:pt idx="319">11.4696</cx:pt>
          <cx:pt idx="320">3.5895999999999999</cx:pt>
          <cx:pt idx="321">12.036</cx:pt>
          <cx:pt idx="322">7.5712000000000002</cx:pt>
          <cx:pt idx="323">10.6952999999999</cx:pt>
          <cx:pt idx="324">12.825000000000001</cx:pt>
          <cx:pt idx="325">4.1023999999999994</cx:pt>
          <cx:pt idx="326">10.6952999999999</cx:pt>
          <cx:pt idx="327">13.109999999999999</cx:pt>
          <cx:pt idx="328">7.3008000000000006</cx:pt>
          <cx:pt idx="329">6.4239000000000006</cx:pt>
          <cx:pt idx="330">5.5061999999999998</cx:pt>
          <cx:pt idx="331">5.63729999999999</cx:pt>
          <cx:pt idx="332">12.319199999999899</cx:pt>
          <cx:pt idx="333">5.2561999999999998</cx:pt>
          <cx:pt idx="334">10.834199999999999</cx:pt>
          <cx:pt idx="335">15.034799999999901</cx:pt>
          <cx:pt idx="336">12.177599999999899</cx:pt>
          <cx:pt idx="337">39.230199999999897</cx:pt>
          <cx:pt idx="338">17.533199999999997</cx:pt>
          <cx:pt idx="339">14.0261999999999</cx:pt>
          <cx:pt idx="340">19.547980000000003</cx:pt>
          <cx:pt idx="341">4.8844199999999995</cx:pt>
          <cx:pt idx="342">9.722999999999999</cx:pt>
          <cx:pt idx="343">10.278600000000001</cx:pt>
          <cx:pt idx="344">14.1708</cx:pt>
          <cx:pt idx="345">9.8619000000000003</cx:pt>
          <cx:pt idx="346">17.840799999999902</cx:pt>
          <cx:pt idx="347">5.1511199999999997</cx:pt>
          <cx:pt idx="348">4.1023999999999994</cx:pt>
          <cx:pt idx="349">62.875799999999707</cx:pt>
          <cx:pt idx="350">7.5712000000000002</cx:pt>
          <cx:pt idx="351">17.0718</cx:pt>
          <cx:pt idx="352">11.4696</cx:pt>
          <cx:pt idx="353">9.8619000000000003</cx:pt>
          <cx:pt idx="354">10.4175</cx:pt>
          <cx:pt idx="355">10.6952999999999</cx:pt>
          <cx:pt idx="356">6.5549999999999997</cx:pt>
          <cx:pt idx="357">36.301369999999999</cx:pt>
          <cx:pt idx="358">4.1023999999999994</cx:pt>
          <cx:pt idx="359">10.973099999999999</cx:pt>
          <cx:pt idx="360">12.967500000000001</cx:pt>
          <cx:pt idx="361">10.5564</cx:pt>
          <cx:pt idx="362">7.4495199999999997</cx:pt>
          <cx:pt idx="363">6.3190200000000196</cx:pt>
          <cx:pt idx="364">8.9232000000000014</cx:pt>
          <cx:pt idx="365">5.5061999999999998</cx:pt>
          <cx:pt idx="366">6.2927999999999997</cx:pt>
          <cx:pt idx="367">15.9192</cx:pt>
          <cx:pt idx="368">3.5895999999999999</cx:pt>
          <cx:pt idx="369">3.2050000000000001</cx:pt>
          <cx:pt idx="370">5.63729999999999</cx:pt>
          <cx:pt idx="371">17.2256</cx:pt>
          <cx:pt idx="372">36.838769999999997</cx:pt>
          <cx:pt idx="373">5.4309900000000004</cx:pt>
          <cx:pt idx="374">3.0768</cx:pt>
          <cx:pt idx="375">13.109999999999999</cx:pt>
          <cx:pt idx="376">12.036</cx:pt>
          <cx:pt idx="377">13.109999999999999</cx:pt>
          <cx:pt idx="378">15.771799999999999</cx:pt>
          <cx:pt idx="379">18.6098</cx:pt>
          <cx:pt idx="380">6.03059999999999</cx:pt>
          <cx:pt idx="381">14.0406599999999</cx:pt>
          <cx:pt idx="382">15.9192</cx:pt>
          <cx:pt idx="383">12.319199999999899</cx:pt>
          <cx:pt idx="384">10.278600000000001</cx:pt>
          <cx:pt idx="385">10.278600000000001</cx:pt>
          <cx:pt idx="386">17.533199999999997</cx:pt>
          <cx:pt idx="387">10.139699999999999</cx:pt>
          <cx:pt idx="388">12.967500000000001</cx:pt>
          <cx:pt idx="389">36.005800000000001</cx:pt>
          <cx:pt idx="390">10.5564</cx:pt>
          <cx:pt idx="391">40.573700000000002</cx:pt>
          <cx:pt idx="392">5.89949999999999</cx:pt>
          <cx:pt idx="393">14.0261999999999</cx:pt>
          <cx:pt idx="394">12.319199999999899</cx:pt>
          <cx:pt idx="395">9.0583999999999989</cx:pt>
          <cx:pt idx="396">18.625179999999901</cx:pt>
          <cx:pt idx="397">3.9741999999999997</cx:pt>
          <cx:pt idx="398">11.328000000000001</cx:pt>
          <cx:pt idx="399">6.8171999999999997</cx:pt>
          <cx:pt idx="400">6.8171999999999997</cx:pt>
          <cx:pt idx="401">10.834199999999999</cx:pt>
          <cx:pt idx="402">13.5924</cx:pt>
          <cx:pt idx="403">12.460799999999999</cx:pt>
          <cx:pt idx="404">6.6860999999999908</cx:pt>
          <cx:pt idx="405">8.7880000000000003</cx:pt>
          <cx:pt idx="406">9.4451999999999998</cx:pt>
          <cx:pt idx="407">41.917200000000001</cx:pt>
          <cx:pt idx="408">5.89949999999999</cx:pt>
          <cx:pt idx="409">17.702379999999902</cx:pt>
          <cx:pt idx="410">2.8332199999999998</cx:pt>
          <cx:pt idx="411">15.771799999999999</cx:pt>
          <cx:pt idx="412">18.6098</cx:pt>
          <cx:pt idx="413">12.967500000000001</cx:pt>
          <cx:pt idx="414">8.2472000000000012</cx:pt>
          <cx:pt idx="415">7.1655999999999995</cx:pt>
          <cx:pt idx="416">12.205920000000001</cx:pt>
          <cx:pt idx="417">59.113999999999699</cx:pt>
          <cx:pt idx="418">10.278600000000001</cx:pt>
          <cx:pt idx="419">7.4359999999999999</cx:pt>
          <cx:pt idx="420">14.739999999999901</cx:pt>
          <cx:pt idx="421">7.1655999999999995</cx:pt>
          <cx:pt idx="422">14.74</cx:pt>
          <cx:pt idx="423">28.240369999999999</cx:pt>
          <cx:pt idx="424">11.4696</cx:pt>
          <cx:pt idx="425">9.5840999999999994</cx:pt>
          <cx:pt idx="426">15.344340000000001</cx:pt>
          <cx:pt idx="427">4.6151999999999997</cx:pt>
          <cx:pt idx="428">16.779579999999999</cx:pt>
          <cx:pt idx="429">35.1997</cx:pt>
          <cx:pt idx="430">12.602399999999999</cx:pt>
          <cx:pt idx="431">18.456</cx:pt>
          <cx:pt idx="432">12.319199999999899</cx:pt>
          <cx:pt idx="433">3.55281</cx:pt>
          <cx:pt idx="434">11.4696</cx:pt>
          <cx:pt idx="435">12.177599999999899</cx:pt>
          <cx:pt idx="436">8.9232000000000014</cx:pt>
          <cx:pt idx="437">60.7261999999997</cx:pt>
          <cx:pt idx="438">11.328000000000001</cx:pt>
          <cx:pt idx="439">14.3154</cx:pt>
          <cx:pt idx="440">18.6098</cx:pt>
          <cx:pt idx="441">5.89949999999999</cx:pt>
          <cx:pt idx="442">9.8619000000000003</cx:pt>
          <cx:pt idx="443">10.0008</cx:pt>
          <cx:pt idx="444">17.533199999999997</cx:pt>
          <cx:pt idx="445">19.378799999999998</cx:pt>
          <cx:pt idx="446">11.92272</cx:pt>
          <cx:pt idx="447">16.93338</cx:pt>
          <cx:pt idx="448">18.7636</cx:pt>
          <cx:pt idx="449">11.4696</cx:pt>
          <cx:pt idx="450">8.3823999999999987</cx:pt>
          <cx:pt idx="451">6.5549999999999997</cx:pt>
          <cx:pt idx="452">15.6244</cx:pt>
          <cx:pt idx="453">47.291200000000003</cx:pt>
          <cx:pt idx="454">5.63729999999999</cx:pt>
          <cx:pt idx="455">7.3008000000000006</cx:pt>
          <cx:pt idx="456">10.278600000000001</cx:pt>
          <cx:pt idx="457">16.625780000000002</cx:pt>
          <cx:pt idx="458">10.0008</cx:pt>
          <cx:pt idx="459">8.9232000000000014</cx:pt>
          <cx:pt idx="460">5.63729999999999</cx:pt>
          <cx:pt idx="461">42.723299999999995</cx:pt>
          <cx:pt idx="462">10.973099999999999</cx:pt>
          <cx:pt idx="463">11.752799999999999</cx:pt>
          <cx:pt idx="464">5.63729999999999</cx:pt>
          <cx:pt idx="465">5.63729999999999</cx:pt>
          <cx:pt idx="466">11.4696</cx:pt>
          <cx:pt idx="467">10.834199999999999</cx:pt>
          <cx:pt idx="468">14.3154</cx:pt>
          <cx:pt idx="469">10.0008</cx:pt>
          <cx:pt idx="470">6.4239000000000006</cx:pt>
          <cx:pt idx="471">10.0008</cx:pt>
          <cx:pt idx="472">11.4696</cx:pt>
          <cx:pt idx="473">13.447799999999999</cx:pt>
          <cx:pt idx="474">7.4359999999999999</cx:pt>
          <cx:pt idx="475">11.35632</cx:pt>
          <cx:pt idx="476">8.6663199999999989</cx:pt>
          <cx:pt idx="477">7.1655999999999995</cx:pt>
          <cx:pt idx="478">4.1023999999999994</cx:pt>
          <cx:pt idx="479">13.896059999999999</cx:pt>
          <cx:pt idx="480">7.5712000000000002</cx:pt>
          <cx:pt idx="481">36.005800000000001</cx:pt>
          <cx:pt idx="482">7.9767999999999892</cx:pt>
          <cx:pt idx="483">10.278600000000001</cx:pt>
          <cx:pt idx="484">12.036</cx:pt>
          <cx:pt idx="485">9.0583999999999989</cx:pt>
          <cx:pt idx="486">10.0008</cx:pt>
          <cx:pt idx="487">10.973099999999999</cx:pt>
          <cx:pt idx="488">5.63729999999999</cx:pt>
          <cx:pt idx="489">12.967500000000001</cx:pt>
          <cx:pt idx="490">35.1997</cx:pt>
          <cx:pt idx="491">7.5712000000000002</cx:pt>
          <cx:pt idx="492">12.319199999999899</cx:pt>
          <cx:pt idx="493">11.611199999999899</cx:pt>
          <cx:pt idx="494">9.0583999999999989</cx:pt>
          <cx:pt idx="495">48.634699999999995</cx:pt>
          <cx:pt idx="496">10.0008</cx:pt>
          <cx:pt idx="497">4.7433999999999994</cx:pt>
          <cx:pt idx="498">19.071199999999997</cx:pt>
          <cx:pt idx="499">8.2472000000000012</cx:pt>
          <cx:pt idx="500">12.825000000000001</cx:pt>
          <cx:pt idx="501">10.57029</cx:pt>
          <cx:pt idx="502">2.1794000000000002</cx:pt>
          <cx:pt idx="503">11.611199999999899</cx:pt>
          <cx:pt idx="504">5.63729999999999</cx:pt>
          <cx:pt idx="505">12.319199999999899</cx:pt>
          <cx:pt idx="506">12.967500000000001</cx:pt>
          <cx:pt idx="507">6.5549999999999997</cx:pt>
          <cx:pt idx="508">11.894399999999999</cx:pt>
          <cx:pt idx="509">40.573700000000002</cx:pt>
          <cx:pt idx="510">36.811899999999895</cx:pt>
          <cx:pt idx="511">18.148399999999899</cx:pt>
          <cx:pt idx="512">12.177599999999899</cx:pt>
          <cx:pt idx="513">10.5564</cx:pt>
          <cx:pt idx="514">7.5712000000000002</cx:pt>
          <cx:pt idx="515">6.2927999999999997</cx:pt>
          <cx:pt idx="516">10.5564</cx:pt>
          <cx:pt idx="517">5.5061999999999998</cx:pt>
          <cx:pt idx="518">18.917400000000001</cx:pt>
          <cx:pt idx="519">17.994599999999998</cx:pt>
          <cx:pt idx="520">16.764200000000002</cx:pt>
          <cx:pt idx="521">3.4613999999999998</cx:pt>
          <cx:pt idx="522">8.3823999999999987</cx:pt>
          <cx:pt idx="523">9.722999999999999</cx:pt>
          <cx:pt idx="524">15.034799999999901</cx:pt>
          <cx:pt idx="525">14.1708</cx:pt>
          <cx:pt idx="526">6.2927999999999997</cx:pt>
          <cx:pt idx="527">4.2305999999999999</cx:pt>
          <cx:pt idx="528">10.0008</cx:pt>
          <cx:pt idx="529">39.498899999999999</cx:pt>
          <cx:pt idx="530">7.8415999999999997</cx:pt>
          <cx:pt idx="531">10.834199999999999</cx:pt>
          <cx:pt idx="532">12.473180000000001</cx:pt>
          <cx:pt idx="533">10.6952999999999</cx:pt>
          <cx:pt idx="534">5.2561999999999998</cx:pt>
          <cx:pt idx="535">3.4613999999999998</cx:pt>
          <cx:pt idx="536">10.973099999999999</cx:pt>
          <cx:pt idx="537">5.89949999999999</cx:pt>
          <cx:pt idx="538">10.5564</cx:pt>
          <cx:pt idx="539">10.4175</cx:pt>
          <cx:pt idx="540">6.5549999999999997</cx:pt>
          <cx:pt idx="541">11.92272</cx:pt>
          <cx:pt idx="542">5.89949999999999</cx:pt>
          <cx:pt idx="543">6.1616999999999997</cx:pt>
          <cx:pt idx="544">7.8415999999999997</cx:pt>
          <cx:pt idx="545">10.973099999999999</cx:pt>
          <cx:pt idx="546">7.1655999999999995</cx:pt>
          <cx:pt idx="547">4.7433999999999994</cx:pt>
          <cx:pt idx="548">2.3075999999999999</cx:pt>
          <cx:pt idx="549">11.85798</cx:pt>
          <cx:pt idx="550">11.611199999999899</cx:pt>
          <cx:pt idx="551">15.182200000000002</cx:pt>
          <cx:pt idx="552">5.63729999999999</cx:pt>
          <cx:pt idx="553">5.63729999999999</cx:pt>
          <cx:pt idx="554">5.5061999999999998</cx:pt>
          <cx:pt idx="555">4.6151999999999997</cx:pt>
          <cx:pt idx="556">13.736999999999998</cx:pt>
          <cx:pt idx="557">7.9767999999999892</cx:pt>
          <cx:pt idx="558">5.89949999999999</cx:pt>
          <cx:pt idx="559">10.278600000000001</cx:pt>
          <cx:pt idx="560">10.139699999999999</cx:pt>
          <cx:pt idx="561">11.4696</cx:pt>
          <cx:pt idx="562">6.5549999999999997</cx:pt>
          <cx:pt idx="563">8.1120000000000001</cx:pt>
          <cx:pt idx="564">10.834199999999999</cx:pt>
          <cx:pt idx="565">10.973099999999999</cx:pt>
          <cx:pt idx="566">6.8171999999999997</cx:pt>
          <cx:pt idx="567">10.4175</cx:pt>
          <cx:pt idx="568">15.329599999999999</cx:pt>
          <cx:pt idx="569">7.5712000000000002</cx:pt>
          <cx:pt idx="570">37.886699999999998</cx:pt>
          <cx:pt idx="571">8.6527999999999992</cx:pt>
          <cx:pt idx="572">18.456</cx:pt>
          <cx:pt idx="573">5.63729999999999</cx:pt>
          <cx:pt idx="574">11.781120000000001</cx:pt>
          <cx:pt idx="575">6.2927999999999997</cx:pt>
          <cx:pt idx="576">10.18534</cx:pt>
          <cx:pt idx="577">10.834199999999999</cx:pt>
          <cx:pt idx="578">10.6952999999999</cx:pt>
          <cx:pt idx="579">11.894399999999999</cx:pt>
          <cx:pt idx="580">13.109999999999999</cx:pt>
          <cx:pt idx="581">6.2927999999999997</cx:pt>
          <cx:pt idx="582">5.5061999999999998</cx:pt>
          <cx:pt idx="583">10.278600000000001</cx:pt>
          <cx:pt idx="584">4.3588000000000005</cx:pt>
          <cx:pt idx="585">5.5061999999999998</cx:pt>
          <cx:pt idx="586">3.9741999999999997</cx:pt>
          <cx:pt idx="587">34.930999999999997</cx:pt>
          <cx:pt idx="588">7.7063999999999995</cx:pt>
          <cx:pt idx="589">18.456</cx:pt>
          <cx:pt idx="590">38.424100000000003</cx:pt>
          <cx:pt idx="591">4.6151999999999997</cx:pt>
          <cx:pt idx="592">10.5564</cx:pt>
          <cx:pt idx="593">15.6244</cx:pt>
          <cx:pt idx="594">9.5840999999999994</cx:pt>
          <cx:pt idx="595">41.648499999999999</cx:pt>
          <cx:pt idx="596">5.1279999999999903</cx:pt>
          <cx:pt idx="597">6.03059999999999</cx:pt>
          <cx:pt idx="598">6.6860999999999908</cx:pt>
          <cx:pt idx="599">8.6527999999999992</cx:pt>
          <cx:pt idx="600">10.139699999999999</cx:pt>
          <cx:pt idx="601">11.328000000000001</cx:pt>
          <cx:pt idx="602">43.529399999999903</cx:pt>
          <cx:pt idx="603">16.917999999999999</cx:pt>
          <cx:pt idx="604">14.8873999999999</cx:pt>
          <cx:pt idx="605">6.2927999999999997</cx:pt>
          <cx:pt idx="606">10.973099999999999</cx:pt>
          <cx:pt idx="607">19.225000000000001</cx:pt>
          <cx:pt idx="608">12.825000000000001</cx:pt>
          <cx:pt idx="609">13.881599999999999</cx:pt>
          <cx:pt idx="610">39.230199999999897</cx:pt>
          <cx:pt idx="611">13.736999999999998</cx:pt>
          <cx:pt idx="612">9.4451999999999998</cx:pt>
          <cx:pt idx="613">40.305</cx:pt>
          <cx:pt idx="614">12.036</cx:pt>
          <cx:pt idx="615">11.34216</cx:pt>
          <cx:pt idx="616">5.7683999999999997</cx:pt>
          <cx:pt idx="617">10.973099999999999</cx:pt>
          <cx:pt idx="618">15.771799999999999</cx:pt>
          <cx:pt idx="619">8.9232000000000014</cx:pt>
          <cx:pt idx="620">7.1655999999999995</cx:pt>
          <cx:pt idx="621">9.722999999999999</cx:pt>
          <cx:pt idx="622">7.1655999999999995</cx:pt>
          <cx:pt idx="623">18.6098</cx:pt>
          <cx:pt idx="624">6.2927999999999997</cx:pt>
          <cx:pt idx="625">10.834199999999999</cx:pt>
          <cx:pt idx="626">12.319199999999899</cx:pt>
          <cx:pt idx="627">8.6527999999999992</cx:pt>
          <cx:pt idx="628">46.216399999999901</cx:pt>
          <cx:pt idx="629">10.0008</cx:pt>
          <cx:pt idx="630">15.491739999999901</cx:pt>
          <cx:pt idx="631">4.3588000000000005</cx:pt>
          <cx:pt idx="632">7.9767999999999892</cx:pt>
          <cx:pt idx="633">18.456</cx:pt>
          <cx:pt idx="634">11.752799999999999</cx:pt>
          <cx:pt idx="635">12.319199999999899</cx:pt>
          <cx:pt idx="636">37.618000000000002</cx:pt>
          <cx:pt idx="637">4.2434199999999995</cx:pt>
          <cx:pt idx="638">13.447799999999999</cx:pt>
          <cx:pt idx="639">15.9192</cx:pt>
          <cx:pt idx="640">5.7683999999999997</cx:pt>
          <cx:pt idx="641">12.602399999999999</cx:pt>
          <cx:pt idx="642">42.185899999999997</cx:pt>
          <cx:pt idx="643">3.9870200000000002</cx:pt>
          <cx:pt idx="644">5.63729999999999</cx:pt>
          <cx:pt idx="645">6.8171999999999997</cx:pt>
          <cx:pt idx="646">11.894399999999999</cx:pt>
          <cx:pt idx="647">10.4175</cx:pt>
          <cx:pt idx="648">5.2561999999999998</cx:pt>
          <cx:pt idx="649">4.8715999999999999</cx:pt>
          <cx:pt idx="650">13.736999999999899</cx:pt>
          <cx:pt idx="651">6.4239000000000006</cx:pt>
          <cx:pt idx="652">19.686400000000003</cx:pt>
          <cx:pt idx="653">5.0254400000000201</cx:pt>
          <cx:pt idx="654">5.63729999999999</cx:pt>
          <cx:pt idx="655">15.9192</cx:pt>
          <cx:pt idx="656">13.751459999999998</cx:pt>
          <cx:pt idx="657">10.6952999999999</cx:pt>
          <cx:pt idx="658">15.329599999999999</cx:pt>
          <cx:pt idx="659">6.6860999999999908</cx:pt>
          <cx:pt idx="660">11.611199999999899</cx:pt>
          <cx:pt idx="661">5.89949999999999</cx:pt>
          <cx:pt idx="662">13.736999999999998</cx:pt>
          <cx:pt idx="663">6.5549999999999997</cx:pt>
          <cx:pt idx="664">17.687000000000001</cx:pt>
          <cx:pt idx="665">43.529399999999903</cx:pt>
          <cx:pt idx="666">10.278600000000001</cx:pt>
          <cx:pt idx="667">3.7178000000000004</cx:pt>
          <cx:pt idx="668">4.6151999999999997</cx:pt>
          <cx:pt idx="669">18.7636</cx:pt>
          <cx:pt idx="670">10.6952999999999</cx:pt>
          <cx:pt idx="671">42.723299999999995</cx:pt>
          <cx:pt idx="672">18.456</cx:pt>
          <cx:pt idx="673">17.840799999999902</cx:pt>
          <cx:pt idx="674">5.5061999999999998</cx:pt>
          <cx:pt idx="675">11.328000000000001</cx:pt>
          <cx:pt idx="676">4.8715999999999999</cx:pt>
          <cx:pt idx="677">13.447799999999999</cx:pt>
          <cx:pt idx="678">15.786539999999999</cx:pt>
          <cx:pt idx="679">13.881599999999899</cx:pt>
          <cx:pt idx="680">17.3794</cx:pt>
          <cx:pt idx="681">9.4590899999999998</cx:pt>
          <cx:pt idx="682">15.786539999999999</cx:pt>
          <cx:pt idx="683">35.1997</cx:pt>
          <cx:pt idx="684">6.03059999999999</cx:pt>
          <cx:pt idx="685">6.6660599999999999</cx:pt>
          <cx:pt idx="686">9.3340800000000197</cx:pt>
          <cx:pt idx="687">3.9870200000000002</cx:pt>
          <cx:pt idx="688">10.973099999999999</cx:pt>
          <cx:pt idx="689">41.917200000000001</cx:pt>
          <cx:pt idx="690">3.9741999999999997</cx:pt>
          <cx:pt idx="691">10.834199999999999</cx:pt>
          <cx:pt idx="692">35.1997</cx:pt>
          <cx:pt idx="693">3.9741999999999997</cx:pt>
          <cx:pt idx="694">5.5061999999999998</cx:pt>
          <cx:pt idx="695">11.752799999999999</cx:pt>
          <cx:pt idx="696">15.9192</cx:pt>
          <cx:pt idx="697">34.95787</cx:pt>
          <cx:pt idx="698">9.5840999999999994</cx:pt>
          <cx:pt idx="699">5.5061999999999998</cx:pt>
          <cx:pt idx="700">40.573700000000002</cx:pt>
          <cx:pt idx="701">15.771799999999999</cx:pt>
          <cx:pt idx="702">18.625179999999901</cx:pt>
          <cx:pt idx="703">5.7683999999999997</cx:pt>
          <cx:pt idx="704">41.1111</cx:pt>
          <cx:pt idx="705">8.5175999999999998</cx:pt>
          <cx:pt idx="706">11.611199999999899</cx:pt>
          <cx:pt idx="707">7.9767999999999892</cx:pt>
          <cx:pt idx="708">13.896059999999899</cx:pt>
          <cx:pt idx="709">8.9232000000000014</cx:pt>
          <cx:pt idx="710">10.153589999999999</cx:pt>
          <cx:pt idx="711">37.618000000000002</cx:pt>
          <cx:pt idx="712">8.9367199999999993</cx:pt>
          <cx:pt idx="713">13.462259999999901</cx:pt>
          <cx:pt idx="714">4.7433999999999994</cx:pt>
          <cx:pt idx="715">37.886699999999998</cx:pt>
          <cx:pt idx="716">5.7683999999999997</cx:pt>
          <cx:pt idx="717">37.644870000000004</cx:pt>
          <cx:pt idx="718">35.468400000000003</cx:pt>
          <cx:pt idx="719">15.476999999999999</cx:pt>
          <cx:pt idx="720">11.752799999999999</cx:pt>
          <cx:pt idx="721">4.4870000000000001</cx:pt>
          <cx:pt idx="722">6.6860999999999908</cx:pt>
          <cx:pt idx="723">6.4239000000000006</cx:pt>
          <cx:pt idx="724">11.4696</cx:pt>
          <cx:pt idx="725">10.5564</cx:pt>
          <cx:pt idx="726">5.63729999999999</cx:pt>
          <cx:pt idx="727">8.1120000000000001</cx:pt>
          <cx:pt idx="728">3.4742199999999896</cx:pt>
          <cx:pt idx="729">6.4239000000000006</cx:pt>
          <cx:pt idx="730">6.1616999999999997</cx:pt>
          <cx:pt idx="731">10.973099999999999</cx:pt>
          <cx:pt idx="732">18.3175799999999</cx:pt>
          <cx:pt idx="733">3.5895999999999999</cx:pt>
          <cx:pt idx="734">8.3823999999999987</cx:pt>
          <cx:pt idx="735">12.825000000000001</cx:pt>
          <cx:pt idx="736">15.476999999999999</cx:pt>
          <cx:pt idx="737">5.89949999999999</cx:pt>
          <cx:pt idx="738">5.63729999999999</cx:pt>
          <cx:pt idx="739">17.533199999999997</cx:pt>
          <cx:pt idx="740">15.182200000000002</cx:pt>
          <cx:pt idx="741">4.7433999999999994</cx:pt>
          <cx:pt idx="742">11.328000000000001</cx:pt>
          <cx:pt idx="743">9.722999999999999</cx:pt>
          <cx:pt idx="744">6.5549999999999997</cx:pt>
          <cx:pt idx="745">10.0008</cx:pt>
          <cx:pt idx="746">2.4358</cx:pt>
          <cx:pt idx="747">17.0718</cx:pt>
          <cx:pt idx="748">19.378799999999998</cx:pt>
          <cx:pt idx="749">7.7063999999999995</cx:pt>
          <cx:pt idx="750">6.1616999999999997</cx:pt>
          <cx:pt idx="751">61.800999999999995</cx:pt>
          <cx:pt idx="752">12.036</cx:pt>
          <cx:pt idx="753">11.611199999999899</cx:pt>
          <cx:pt idx="754">17.840799999999902</cx:pt>
          <cx:pt idx="755">14.1707999999999</cx:pt>
          <cx:pt idx="756">12.967500000000001</cx:pt>
          <cx:pt idx="757">5.7683999999999997</cx:pt>
          <cx:pt idx="758">13.736999999999998</cx:pt>
          <cx:pt idx="759">5.7683999999999997</cx:pt>
          <cx:pt idx="760">12.602399999999999</cx:pt>
          <cx:pt idx="761">5.2561999999999998</cx:pt>
          <cx:pt idx="762">38.424100000000003</cx:pt>
          <cx:pt idx="763">17.0718</cx:pt>
          <cx:pt idx="764">11.752799999999999</cx:pt>
          <cx:pt idx="765">12.036</cx:pt>
          <cx:pt idx="766">15.182200000000002</cx:pt>
          <cx:pt idx="767">46.216399999999702</cx:pt>
          <cx:pt idx="768">10.973099999999999</cx:pt>
          <cx:pt idx="769">8.7880000000000003</cx:pt>
          <cx:pt idx="770">12.967500000000001</cx:pt>
          <cx:pt idx="771">7.8415999999999997</cx:pt>
          <cx:pt idx="772">6.2927999999999997</cx:pt>
          <cx:pt idx="773">7.5712000000000002</cx:pt>
          <cx:pt idx="774">4.3588000000000005</cx:pt>
          <cx:pt idx="775">18.148399999999899</cx:pt>
          <cx:pt idx="776">6.6860999999999908</cx:pt>
          <cx:pt idx="777">4.8715999999999999</cx:pt>
          <cx:pt idx="778">12.177599999999899</cx:pt>
          <cx:pt idx="779">6.4239000000000006</cx:pt>
          <cx:pt idx="780">18.302199999999999</cx:pt>
          <cx:pt idx="781">6.2927999999999997</cx:pt>
          <cx:pt idx="782">6.2927999999999997</cx:pt>
          <cx:pt idx="783">6.1616999999999997</cx:pt>
          <cx:pt idx="784">5.63729999999999</cx:pt>
          <cx:pt idx="785">46.753799999999998</cx:pt>
          <cx:pt idx="786">7.7063999999999995</cx:pt>
          <cx:pt idx="787">16.625780000000002</cx:pt>
          <cx:pt idx="788">9.8619000000000003</cx:pt>
          <cx:pt idx="789">14.75474</cx:pt>
          <cx:pt idx="790">10.4175</cx:pt>
          <cx:pt idx="791">5.89949999999999</cx:pt>
          <cx:pt idx="792">9.4451999999999998</cx:pt>
          <cx:pt idx="793">12.967500000000001</cx:pt>
          <cx:pt idx="794">5.7683999999999997</cx:pt>
          <cx:pt idx="795">6.2927999999999997</cx:pt>
          <cx:pt idx="796">52.181540000000005</cx:pt>
          <cx:pt idx="797">17.0718</cx:pt>
          <cx:pt idx="798">4.1023999999999994</cx:pt>
          <cx:pt idx="799">4.8715999999999999</cx:pt>
          <cx:pt idx="800">4.4870000000000001</cx:pt>
          <cx:pt idx="801">11.328000000000001</cx:pt>
          <cx:pt idx="802">5.1279999999999903</cx:pt>
          <cx:pt idx="803">10.139699999999999</cx:pt>
          <cx:pt idx="804">17.702379999999902</cx:pt>
          <cx:pt idx="805">8.9232000000000014</cx:pt>
          <cx:pt idx="806">11.4696</cx:pt>
          <cx:pt idx="807">18.148399999999899</cx:pt>
          <cx:pt idx="808">15.6244</cx:pt>
          <cx:pt idx="809">7.8415999999999997</cx:pt>
          <cx:pt idx="810">10.139699999999999</cx:pt>
          <cx:pt idx="811">4.4870000000000001</cx:pt>
          <cx:pt idx="812">37.886699999999998</cx:pt>
          <cx:pt idx="813">3.5895999999999999</cx:pt>
          <cx:pt idx="814">15.034799999999901</cx:pt>
          <cx:pt idx="815">9.5840999999999994</cx:pt>
          <cx:pt idx="816">6.2927999999999997</cx:pt>
          <cx:pt idx="817">15.9192</cx:pt>
          <cx:pt idx="818">12.602399999999999</cx:pt>
          <cx:pt idx="819">10.278600000000001</cx:pt>
          <cx:pt idx="820">12.177599999999899</cx:pt>
          <cx:pt idx="821">17.3794</cx:pt>
          <cx:pt idx="822">17.2256</cx:pt>
          <cx:pt idx="823">6.4239000000000006</cx:pt>
          <cx:pt idx="824">3.2178199999999997</cx:pt>
          <cx:pt idx="825">17.2256</cx:pt>
          <cx:pt idx="826">1.9358199999999999</cx:pt>
          <cx:pt idx="827">3.7178000000000004</cx:pt>
          <cx:pt idx="828">11.328000000000001</cx:pt>
          <cx:pt idx="829">9.8619000000000003</cx:pt>
          <cx:pt idx="830">39.498899999999999</cx:pt>
          <cx:pt idx="831">16.917999999999999</cx:pt>
          <cx:pt idx="832">17.2256</cx:pt>
          <cx:pt idx="833">6.5549999999999997</cx:pt>
          <cx:pt idx="834">6.4239000000000006</cx:pt>
          <cx:pt idx="835">7.1655999999999995</cx:pt>
          <cx:pt idx="836">12.460799999999999</cx:pt>
          <cx:pt idx="837">10.278600000000001</cx:pt>
          <cx:pt idx="838">6.5549999999999997</cx:pt>
          <cx:pt idx="839">11.752799999999999</cx:pt>
          <cx:pt idx="840">10.4175</cx:pt>
          <cx:pt idx="841">10.5564</cx:pt>
          <cx:pt idx="842">5.63729999999999</cx:pt>
          <cx:pt idx="843">3.8588200000000001</cx:pt>
          <cx:pt idx="844">5.63729999999999</cx:pt>
          <cx:pt idx="845">10.4175</cx:pt>
          <cx:pt idx="846">10.4175</cx:pt>
          <cx:pt idx="847">18.009979999999899</cx:pt>
          <cx:pt idx="848">7.3008000000000006</cx:pt>
          <cx:pt idx="849">5.89949999999999</cx:pt>
          <cx:pt idx="850">6.03059999999999</cx:pt>
          <cx:pt idx="851">11.328000000000001</cx:pt>
          <cx:pt idx="852">8.9232000000000014</cx:pt>
          <cx:pt idx="853">52.6651999999997</cx:pt>
          <cx:pt idx="854">12.177599999999899</cx:pt>
          <cx:pt idx="855">13.447799999999999</cx:pt>
          <cx:pt idx="856">10.6952999999999</cx:pt>
          <cx:pt idx="857">17.2256</cx:pt>
          <cx:pt idx="858">8.9367199999999993</cx:pt>
          <cx:pt idx="859">10.139699999999999</cx:pt>
          <cx:pt idx="860">4.3588000000000005</cx:pt>
          <cx:pt idx="861">5.7683999999999997</cx:pt>
          <cx:pt idx="862">19.532599999999999</cx:pt>
          <cx:pt idx="863">13.1242499999999</cx:pt>
          <cx:pt idx="864">10.5564</cx:pt>
          <cx:pt idx="865">8.3823999999999987</cx:pt>
          <cx:pt idx="866">44.899769999999997</cx:pt>
          <cx:pt idx="867">13.1242499999999</cx:pt>
          <cx:pt idx="868">10.973099999999999</cx:pt>
          <cx:pt idx="869">4.2305999999999999</cx:pt>
          <cx:pt idx="870">11.328000000000001</cx:pt>
          <cx:pt idx="871">6.2927999999999997</cx:pt>
          <cx:pt idx="872">6.8171999999999997</cx:pt>
          <cx:pt idx="873">10.5564</cx:pt>
          <cx:pt idx="874">37.107469999999999</cx:pt>
          <cx:pt idx="875">11.752799999999999</cx:pt>
          <cx:pt idx="876">12.177599999999899</cx:pt>
          <cx:pt idx="877">17.3794</cx:pt>
          <cx:pt idx="878">10.973099999999999</cx:pt>
          <cx:pt idx="879">8.2691400000000002</cx:pt>
          <cx:pt idx="880">10.278600000000001</cx:pt>
          <cx:pt idx="881">11.611199999999899</cx:pt>
          <cx:pt idx="882">10.834199999999999</cx:pt>
          <cx:pt idx="883">4.8715999999999999</cx:pt>
          <cx:pt idx="884">4.2305999999999999</cx:pt>
          <cx:pt idx="885">9.7368899999999989</cx:pt>
          <cx:pt idx="886">10.973099999999999</cx:pt>
          <cx:pt idx="887">11.328000000000001</cx:pt>
          <cx:pt idx="888">8.9232000000000014</cx:pt>
          <cx:pt idx="889">15.182200000000002</cx:pt>
          <cx:pt idx="890">10.48014</cx:pt>
          <cx:pt idx="891">10.5564</cx:pt>
          <cx:pt idx="892">10.6952999999999</cx:pt>
          <cx:pt idx="893">5.89949999999999</cx:pt>
          <cx:pt idx="894">10.4175</cx:pt>
          <cx:pt idx="895">10.834199999999999</cx:pt>
          <cx:pt idx="896">46.243269999999995</cx:pt>
          <cx:pt idx="897">10.5564</cx:pt>
          <cx:pt idx="898">8.6527999999999992</cx:pt>
          <cx:pt idx="899">6.6860999999999908</cx:pt>
          <cx:pt idx="900">16.917999999999999</cx:pt>
          <cx:pt idx="901">17.0718</cx:pt>
          <cx:pt idx="902">10.6952999999999</cx:pt>
          <cx:pt idx="903">34.71604</cx:pt>
          <cx:pt idx="904">10.4175</cx:pt>
          <cx:pt idx="905">12.839249999999899</cx:pt>
          <cx:pt idx="906">12.9817499999999</cx:pt>
          <cx:pt idx="907">36.032670000000003</cx:pt>
          <cx:pt idx="908">15.786539999999999</cx:pt>
          <cx:pt idx="909">17.2256</cx:pt>
          <cx:pt idx="910">4.8807199999999895</cx:pt>
          <cx:pt idx="911">12.839249999999899</cx:pt>
          <cx:pt idx="912">14.75474</cx:pt>
          <cx:pt idx="913">15.491739999999901</cx:pt>
          <cx:pt idx="914">15.491739999999901</cx:pt>
          <cx:pt idx="915">15.491739999999901</cx:pt>
          <cx:pt idx="916">15.491739999999901</cx:pt>
          <cx:pt idx="917">5.5061999999999998</cx:pt>
          <cx:pt idx="918">17.548580000000001</cx:pt>
          <cx:pt idx="919">11.4696</cx:pt>
          <cx:pt idx="920">12.839249999999899</cx:pt>
          <cx:pt idx="921">37.886699999999998</cx:pt>
          <cx:pt idx="922">4.2305999999999999</cx:pt>
          <cx:pt idx="923">5.2818400000000203</cx:pt>
          <cx:pt idx="924">8.9232000000000014</cx:pt>
          <cx:pt idx="925">1.6794199999999999</cx:pt>
          <cx:pt idx="926">15.9192</cx:pt>
          <cx:pt idx="927">6.03059999999999</cx:pt>
          <cx:pt idx="928">7.9767999999999892</cx:pt>
          <cx:pt idx="929">5.63729999999999</cx:pt>
          <cx:pt idx="930">15.04954</cx:pt>
          <cx:pt idx="931">15.034799999999901</cx:pt>
          <cx:pt idx="932">5.7683999999999997</cx:pt>
          <cx:pt idx="933">9.8619000000000003</cx:pt>
          <cx:pt idx="934">4.8715999999999999</cx:pt>
          <cx:pt idx="935">10.139699999999999</cx:pt>
          <cx:pt idx="936">5.7683999999999997</cx:pt>
          <cx:pt idx="937">6.1616999999999997</cx:pt>
          <cx:pt idx="938">10.139699999999999</cx:pt>
          <cx:pt idx="939">9.5840999999999994</cx:pt>
          <cx:pt idx="940">9.8619000000000003</cx:pt>
          <cx:pt idx="941">10.5564</cx:pt>
          <cx:pt idx="942">18.7636</cx:pt>
          <cx:pt idx="943">12.036</cx:pt>
          <cx:pt idx="944">44.899769999999997</cx:pt>
          <cx:pt idx="945">40.573700000000002</cx:pt>
          <cx:pt idx="946">4.7433999999999994</cx:pt>
          <cx:pt idx="947">10.139699999999999</cx:pt>
          <cx:pt idx="948">15.04954</cx:pt>
          <cx:pt idx="949">10.834199999999999</cx:pt>
          <cx:pt idx="950">8.6527999999999992</cx:pt>
          <cx:pt idx="951">17.687000000000001</cx:pt>
          <cx:pt idx="952">44.899769999999997</cx:pt>
          <cx:pt idx="953">17.0718</cx:pt>
          <cx:pt idx="954">10.6952999999999</cx:pt>
          <cx:pt idx="955">10.278600000000001</cx:pt>
          <cx:pt idx="956">6.03059999999999</cx:pt>
          <cx:pt idx="957">18.148399999999899</cx:pt>
          <cx:pt idx="958">10.278600000000001</cx:pt>
          <cx:pt idx="959">10.834199999999999</cx:pt>
          <cx:pt idx="960">35.495269999999898</cx:pt>
          <cx:pt idx="961">10.278600000000001</cx:pt>
          <cx:pt idx="962">11.752799999999999</cx:pt>
          <cx:pt idx="963">11.328000000000001</cx:pt>
          <cx:pt idx="964">10.01469</cx:pt>
          <cx:pt idx="965">38.1554</cx:pt>
          <cx:pt idx="966">12.839249999999899</cx:pt>
          <cx:pt idx="967">9.0583999999999989</cx:pt>
          <cx:pt idx="968">18.009979999999899</cx:pt>
          <cx:pt idx="969">2.8203999999999998</cx:pt>
          <cx:pt idx="970">1.9358199999999999</cx:pt>
          <cx:pt idx="971">17.687000000000001</cx:pt>
          <cx:pt idx="972">15.786539999999999</cx:pt>
          <cx:pt idx="973">41.1111</cx:pt>
          <cx:pt idx="974">12.177599999999899</cx:pt>
          <cx:pt idx="975">15.182200000000002</cx:pt>
          <cx:pt idx="976">6.03059999999999</cx:pt>
          <cx:pt idx="977">11.752799999999999</cx:pt>
          <cx:pt idx="978">9.8619000000000003</cx:pt>
          <cx:pt idx="979">12.319199999999899</cx:pt>
          <cx:pt idx="980">2.5639999999999898</cx:pt>
          <cx:pt idx="981">13.1242499999999</cx:pt>
          <cx:pt idx="982">12.839249999999899</cx:pt>
          <cx:pt idx="983">4.3588000000000005</cx:pt>
          <cx:pt idx="984">6.2927999999999997</cx:pt>
          <cx:pt idx="985">10.139699999999999</cx:pt>
          <cx:pt idx="986">4.3588000000000005</cx:pt>
          <cx:pt idx="987">5.5061999999999998</cx:pt>
          <cx:pt idx="988">37.376169999999995</cx:pt>
          <cx:pt idx="989">37.886699999999998</cx:pt>
          <cx:pt idx="990">14.75474</cx:pt>
          <cx:pt idx="991">7.4359999999999999</cx:pt>
          <cx:pt idx="992">9.5979900000000011</cx:pt>
          <cx:pt idx="993">10.139699999999999</cx:pt>
          <cx:pt idx="994">15.182200000000002</cx:pt>
          <cx:pt idx="995">12.036</cx:pt>
          <cx:pt idx="996">5.7946200000000196</cx:pt>
          <cx:pt idx="997">6.4370099999999999</cx:pt>
          <cx:pt idx="998">5.7683999999999997</cx:pt>
          <cx:pt idx="999">4.3588000000000005</cx:pt>
          <cx:pt idx="1000">11.611199999999899</cx:pt>
          <cx:pt idx="1001">5.5061999999999998</cx:pt>
          <cx:pt idx="1002">5.1536400000000198</cx:pt>
          <cx:pt idx="1003">5.7683999999999997</cx:pt>
          <cx:pt idx="1004">10.973099999999999</cx:pt>
          <cx:pt idx="1005">17.3794</cx:pt>
          <cx:pt idx="1006">7.8415999999999997</cx:pt>
          <cx:pt idx="1007">17.0718</cx:pt>
          <cx:pt idx="1008">6.4239000000000006</cx:pt>
          <cx:pt idx="1009">4.9998000000000005</cx:pt>
          <cx:pt idx="1010">15.786539999999999</cx:pt>
          <cx:pt idx="1011">9.4590899999999998</cx:pt>
          <cx:pt idx="1012">4.7433999999999994</cx:pt>
          <cx:pt idx="1013">36.301369999999999</cx:pt>
          <cx:pt idx="1014">6.1616999999999997</cx:pt>
          <cx:pt idx="1015">10.4175</cx:pt>
          <cx:pt idx="1016">4.7562199999999999</cx:pt>
          <cx:pt idx="1017">6.1616999999999997</cx:pt>
          <cx:pt idx="1018">10.139699999999999</cx:pt>
          <cx:pt idx="1019">3.9741999999999997</cx:pt>
          <cx:pt idx="1020">9.8619000000000003</cx:pt>
          <cx:pt idx="1021">15.182200000000002</cx:pt>
          <cx:pt idx="1022">6.6860999999999908</cx:pt>
          <cx:pt idx="1023">6.5549999999999997</cx:pt>
          <cx:pt idx="1024">11.894399999999999</cx:pt>
          <cx:pt idx="1025">10.5564</cx:pt>
          <cx:pt idx="1026">36.301369999999999</cx:pt>
          <cx:pt idx="1027">6.03059999999999</cx:pt>
          <cx:pt idx="1028">10.4175</cx:pt>
          <cx:pt idx="1029">7.4495199999999997</cx:pt>
          <cx:pt idx="1030">3.81501</cx:pt>
          <cx:pt idx="1031">9.8757900000000003</cx:pt>
          <cx:pt idx="1032">8.6527999999999992</cx:pt>
          <cx:pt idx="1033">7.7063999999999995</cx:pt>
          <cx:pt idx="1034">6.6860999999999908</cx:pt>
          <cx:pt idx="1035">3.8460000000000001</cx:pt>
          <cx:pt idx="1036">10.4175</cx:pt>
          <cx:pt idx="1037">10.973099999999999</cx:pt>
          <cx:pt idx="1038">16.764200000000002</cx:pt>
          <cx:pt idx="1039">10.4175</cx:pt>
          <cx:pt idx="1040">17.533199999999997</cx:pt>
          <cx:pt idx="1041">15.182200000000002</cx:pt>
          <cx:pt idx="1042">18.17916</cx:pt>
          <cx:pt idx="1043">4.3588000000000005</cx:pt>
          <cx:pt idx="1044">13.1242499999999</cx:pt>
          <cx:pt idx="1045">15.639140000000001</cx:pt>
          <cx:pt idx="1046">51.052999999999905</cx:pt>
          <cx:pt idx="1047">6.2927999999999997</cx:pt>
          <cx:pt idx="1048">6.5549999999999997</cx:pt>
          <cx:pt idx="1049">13.1242499999999</cx:pt>
          <cx:pt idx="1050">15.476999999999999</cx:pt>
          <cx:pt idx="1051">17.0718</cx:pt>
          <cx:pt idx="1052">38.961499999999901</cx:pt>
          <cx:pt idx="1053">3.7178000000000004</cx:pt>
          <cx:pt idx="1054">14.3154</cx:pt>
          <cx:pt idx="1055">13.1242499999999</cx:pt>
          <cx:pt idx="1056">36.032670000000003</cx:pt>
          <cx:pt idx="1057">6.03059999999999</cx:pt>
          <cx:pt idx="1058">36.838769999999997</cx:pt>
          <cx:pt idx="1059">14.055119999999999</cx:pt>
          <cx:pt idx="1060">17.24098</cx:pt>
          <cx:pt idx="1061">17.533199999999997</cx:pt>
          <cx:pt idx="1062">15.491739999999901</cx:pt>
          <cx:pt idx="1063">15.491739999999901</cx:pt>
          <cx:pt idx="1064">12.839249999999899</cx:pt>
          <cx:pt idx="1065">10.834199999999999</cx:pt>
          <cx:pt idx="1066">17.2256</cx:pt>
          <cx:pt idx="1067">10.431389999999901</cx:pt>
          <cx:pt idx="1068">12.839249999999899</cx:pt>
          <cx:pt idx="1069">12.839249999999899</cx:pt>
          <cx:pt idx="1070">13.751459999999899</cx:pt>
          <cx:pt idx="1071">10.4175</cx:pt>
          <cx:pt idx="1072">12.839249999999899</cx:pt>
          <cx:pt idx="1073">44.362369999999999</cx:pt>
          <cx:pt idx="1074">52.960769999999904</cx:pt>
          <cx:pt idx="1075">36.838769999999997</cx:pt>
          <cx:pt idx="1076">15.491739999999901</cx:pt>
          <cx:pt idx="1077">15.491739999999901</cx:pt>
          <cx:pt idx="1078">17.2256</cx:pt>
          <cx:pt idx="1079">12.602399999999999</cx:pt>
          <cx:pt idx="1080">11.894399999999999</cx:pt>
          <cx:pt idx="1081">17.702379999999902</cx:pt>
          <cx:pt idx="1082">13.1242499999999</cx:pt>
          <cx:pt idx="1083">4.6151999999999997</cx:pt>
          <cx:pt idx="1084">16.764200000000002</cx:pt>
          <cx:pt idx="1085">10.973099999999999</cx:pt>
          <cx:pt idx="1086">10.6952999999999</cx:pt>
          <cx:pt idx="1087">15.771799999999999</cx:pt>
          <cx:pt idx="1088">36.005800000000001</cx:pt>
          <cx:pt idx="1089">9.8619000000000003</cx:pt>
          <cx:pt idx="1090">17.687000000000001</cx:pt>
          <cx:pt idx="1091">12.177599999999899</cx:pt>
          <cx:pt idx="1092">11.611199999999899</cx:pt>
          <cx:pt idx="1093">10.5564</cx:pt>
          <cx:pt idx="1094">6.2927999999999997</cx:pt>
          <cx:pt idx="1095">14.315399999999901</cx:pt>
          <cx:pt idx="1096">4.6151999999999997</cx:pt>
          <cx:pt idx="1097">16.764200000000002</cx:pt>
          <cx:pt idx="1098">13.109999999999999</cx:pt>
          <cx:pt idx="1099">17.687000000000001</cx:pt>
          <cx:pt idx="1100">6.5549999999999997</cx:pt>
          <cx:pt idx="1101">15.771799999999999</cx:pt>
          <cx:pt idx="1102">6.2927999999999997</cx:pt>
          <cx:pt idx="1103">7.1655999999999995</cx:pt>
          <cx:pt idx="1104">10.5564</cx:pt>
          <cx:pt idx="1105">17.687000000000001</cx:pt>
          <cx:pt idx="1106">16.625780000000002</cx:pt>
          <cx:pt idx="1107">10.973099999999999</cx:pt>
          <cx:pt idx="1108">12.48912</cx:pt>
          <cx:pt idx="1109">6.03059999999999</cx:pt>
          <cx:pt idx="1110">5.63729999999999</cx:pt>
          <cx:pt idx="1111">17.687000000000001</cx:pt>
          <cx:pt idx="1112">15.786539999999999</cx:pt>
          <cx:pt idx="1113">4.3588000000000005</cx:pt>
          <cx:pt idx="1114">5.63729999999999</cx:pt>
          <cx:pt idx="1115">6.1616999999999997</cx:pt>
          <cx:pt idx="1116">11.328000000000001</cx:pt>
          <cx:pt idx="1117">10.5564</cx:pt>
          <cx:pt idx="1118">16.625780000000002</cx:pt>
          <cx:pt idx="1119">39.498899999999999</cx:pt>
          <cx:pt idx="1120">8.2472000000000012</cx:pt>
          <cx:pt idx="1121">37.618000000000002</cx:pt>
          <cx:pt idx="1122">6.5549999999999997</cx:pt>
          <cx:pt idx="1123">7.5982400000000201</cx:pt>
          <cx:pt idx="1124">5.89949999999999</cx:pt>
          <cx:pt idx="1125">6.4239000000000006</cx:pt>
          <cx:pt idx="1126">14.0406599999999</cx:pt>
          <cx:pt idx="1127">10.848089999999901</cx:pt>
          <cx:pt idx="1128">11.328000000000001</cx:pt>
          <cx:pt idx="1129">6.2927999999999997</cx:pt>
          <cx:pt idx="1130">11.328000000000001</cx:pt>
          <cx:pt idx="1131">14.0406599999999</cx:pt>
          <cx:pt idx="1132">4.4870000000000001</cx:pt>
          <cx:pt idx="1133">6.2927999999999997</cx:pt>
          <cx:pt idx="1134">6.03059999999999</cx:pt>
          <cx:pt idx="1135">4.8715999999999999</cx:pt>
          <cx:pt idx="1136">13.1242499999999</cx:pt>
          <cx:pt idx="1137">5.7683999999999997</cx:pt>
          <cx:pt idx="1138">7.5712000000000002</cx:pt>
          <cx:pt idx="1139">13.5924</cx:pt>
          <cx:pt idx="1140">47.049370000000003</cx:pt>
          <cx:pt idx="1141">10.973099999999999</cx:pt>
          <cx:pt idx="1142">10.973099999999999</cx:pt>
          <cx:pt idx="1143">18.3175799999999</cx:pt>
          <cx:pt idx="1144">4.3588000000000005</cx:pt>
          <cx:pt idx="1145">10.6952999999999</cx:pt>
          <cx:pt idx="1146">10.7091899999999</cx:pt>
          <cx:pt idx="1147">17.3794</cx:pt>
          <cx:pt idx="1148">11.328000000000001</cx:pt>
          <cx:pt idx="1149">19.547980000000003</cx:pt>
          <cx:pt idx="1150">13.1242499999999</cx:pt>
          <cx:pt idx="1151">17.533199999999997</cx:pt>
          <cx:pt idx="1152">10.6952999999999</cx:pt>
          <cx:pt idx="1153">16.917999999999999</cx:pt>
          <cx:pt idx="1154">7.4495199999999997</cx:pt>
          <cx:pt idx="1155">13.1242499999999</cx:pt>
          <cx:pt idx="1156">43.2607</cx:pt>
          <cx:pt idx="1157">2.3204199999999999</cx:pt>
          <cx:pt idx="1158">10.834199999999999</cx:pt>
          <cx:pt idx="1159">7.7063999999999995</cx:pt>
          <cx:pt idx="1160">6.8106600000000004</cx:pt>
          <cx:pt idx="1161">17.533199999999997</cx:pt>
          <cx:pt idx="1162">10.5564</cx:pt>
          <cx:pt idx="1163">5.5061999999999998</cx:pt>
          <cx:pt idx="1164">15.786539999999999</cx:pt>
          <cx:pt idx="1165">2.9614199999999999</cx:pt>
          <cx:pt idx="1166">45.678999999999697</cx:pt>
          <cx:pt idx="1167">4.7690400000000199</cx:pt>
          <cx:pt idx="1168">3.9741999999999997</cx:pt>
          <cx:pt idx="1169">17.687000000000001</cx:pt>
          <cx:pt idx="1170">18.3175799999999</cx:pt>
          <cx:pt idx="1171">11.328000000000001</cx:pt>
          <cx:pt idx="1172">19.086580000000001</cx:pt>
          <cx:pt idx="1173">2.1922199999999998</cx:pt>
          <cx:pt idx="1174">34.662300000000002</cx:pt>
          <cx:pt idx="1175">10.5564</cx:pt>
          <cx:pt idx="1176">10.973099999999999</cx:pt>
          <cx:pt idx="1177">15.786539999999999</cx:pt>
          <cx:pt idx="1178">6.03059999999999</cx:pt>
          <cx:pt idx="1179">13.1242499999999</cx:pt>
          <cx:pt idx="1180">3.0768</cx:pt>
          <cx:pt idx="1181">5.63729999999999</cx:pt>
          <cx:pt idx="1182">13.592399999999898</cx:pt>
          <cx:pt idx="1183">18.302199999999999</cx:pt>
          <cx:pt idx="1184">5.89949999999999</cx:pt>
          <cx:pt idx="1185">15.786539999999999</cx:pt>
          <cx:pt idx="1186">12.967500000000001</cx:pt>
          <cx:pt idx="1187">6.4239000000000006</cx:pt>
          <cx:pt idx="1188">6.4239000000000006</cx:pt>
          <cx:pt idx="1189">44.362369999999999</cx:pt>
          <cx:pt idx="1190">10.6952999999999</cx:pt>
          <cx:pt idx="1191">2.1922199999999998</cx:pt>
          <cx:pt idx="1192">7.4359999999999999</cx:pt>
          <cx:pt idx="1193">35.1997</cx:pt>
          <cx:pt idx="1194">16.764200000000002</cx:pt>
          <cx:pt idx="1195">15.476999999999999</cx:pt>
          <cx:pt idx="1196">19.547980000000003</cx:pt>
          <cx:pt idx="1197">8.6527999999999992</cx:pt>
          <cx:pt idx="1198">4.4870000000000001</cx:pt>
          <cx:pt idx="1199">13.1242499999999</cx:pt>
          <cx:pt idx="1200">13.1242499999999</cx:pt>
          <cx:pt idx="1201">13.1242499999999</cx:pt>
          <cx:pt idx="1202">6.6860999999999908</cx:pt>
          <cx:pt idx="1203">11.328000000000001</cx:pt>
          <cx:pt idx="1204">11.328000000000001</cx:pt>
          <cx:pt idx="1205">5.89949999999999</cx:pt>
          <cx:pt idx="1206">13.881599999999999</cx:pt>
          <cx:pt idx="1207">49.1721</cx:pt>
          <cx:pt idx="1208">4.3588000000000005</cx:pt>
          <cx:pt idx="1209">7.1655999999999995</cx:pt>
          <cx:pt idx="1210">5.7683999999999997</cx:pt>
          <cx:pt idx="1211">10.139699999999999</cx:pt>
          <cx:pt idx="1212">6.4501200000000205</cx:pt>
          <cx:pt idx="1213">10.4175</cx:pt>
          <cx:pt idx="1214">17.533199999999997</cx:pt>
          <cx:pt idx="1215">12.177599999999899</cx:pt>
          <cx:pt idx="1216">10.4175</cx:pt>
          <cx:pt idx="1217">15.491739999999901</cx:pt>
          <cx:pt idx="1218">19.240380000000002</cx:pt>
          <cx:pt idx="1219">6.03059999999999</cx:pt>
          <cx:pt idx="1220">7.5712000000000002</cx:pt>
          <cx:pt idx="1221">8.5175999999999998</cx:pt>
          <cx:pt idx="1222">11.328000000000001</cx:pt>
          <cx:pt idx="1223">5.7683999999999997</cx:pt>
          <cx:pt idx="1224">40.331869999999995</cx:pt>
          <cx:pt idx="1225">15.786539999999999</cx:pt>
          <cx:pt idx="1226">15.786539999999999</cx:pt>
          <cx:pt idx="1227">2.5768200000000001</cx:pt>
          <cx:pt idx="1228">9.3201899999999895</cx:pt>
          <cx:pt idx="1229">4.8715999999999999</cx:pt>
          <cx:pt idx="1230">18.778979999999901</cx:pt>
          <cx:pt idx="1231">47.855469999999997</cx:pt>
          <cx:pt idx="1232">15.786539999999999</cx:pt>
          <cx:pt idx="1233">4.3588000000000005</cx:pt>
          <cx:pt idx="1234">19.240380000000002</cx:pt>
          <cx:pt idx="1235">4.4870000000000001</cx:pt>
          <cx:pt idx="1236">4.9998000000000005</cx:pt>
          <cx:pt idx="1237">2.44862</cx:pt>
          <cx:pt idx="1238">4.1152199999999999</cx:pt>
          <cx:pt idx="1239">11.328000000000001</cx:pt>
          <cx:pt idx="1240">15.6244</cx:pt>
        </cx:lvl>
      </cx:numDim>
    </cx:data>
    <cx:data id="8">
      <cx:numDim type="val">
        <cx:f>US_Region_Box_Plots!$L$2:$L$6755</cx:f>
        <cx:lvl ptCount="6754" formatCode="_(* #,##0_);_(* \(#,##0\);_(* &quot;-&quot;??_);_(@_)">
          <cx:pt idx="0">3.4742199999999896</cx:pt>
          <cx:pt idx="1">6.2927999999999997</cx:pt>
          <cx:pt idx="2">16.779579999999999</cx:pt>
          <cx:pt idx="3">9.5840999999999994</cx:pt>
          <cx:pt idx="4">10.4175</cx:pt>
          <cx:pt idx="5">16.625780000000002</cx:pt>
          <cx:pt idx="6">16.93338</cx:pt>
          <cx:pt idx="7">10.57029</cx:pt>
          <cx:pt idx="8">19.547980000000003</cx:pt>
          <cx:pt idx="9">14.1707999999999</cx:pt>
          <cx:pt idx="10">6.5549999999999997</cx:pt>
          <cx:pt idx="11">38.692799999999998</cx:pt>
          <cx:pt idx="12">43.798099999999998</cx:pt>
          <cx:pt idx="13">18.009979999999899</cx:pt>
          <cx:pt idx="14">11.894399999999999</cx:pt>
          <cx:pt idx="15">10.7091899999999</cx:pt>
          <cx:pt idx="16">43.798099999999998</cx:pt>
          <cx:pt idx="17">16.917999999999999</cx:pt>
          <cx:pt idx="18">17.702379999999902</cx:pt>
          <cx:pt idx="19">8.5175999999999998</cx:pt>
          <cx:pt idx="20">45.141599999999997</cx:pt>
          <cx:pt idx="21">18.009979999999899</cx:pt>
          <cx:pt idx="22">18.778979999999901</cx:pt>
          <cx:pt idx="23">37.080599999999905</cx:pt>
          <cx:pt idx="24">18.302199999999999</cx:pt>
          <cx:pt idx="25">18.4713799999999</cx:pt>
          <cx:pt idx="26">16.764200000000002</cx:pt>
          <cx:pt idx="27">13.1242499999999</cx:pt>
          <cx:pt idx="28">10.973099999999999</cx:pt>
          <cx:pt idx="29">56.453869999999995</cx:pt>
          <cx:pt idx="30">41.379800000000003</cx:pt>
          <cx:pt idx="31">48.392869999999697</cx:pt>
          <cx:pt idx="32">13.1242499999999</cx:pt>
          <cx:pt idx="33">17.24098</cx:pt>
          <cx:pt idx="34">17.394779999999898</cx:pt>
          <cx:pt idx="35">13.896059999999999</cx:pt>
          <cx:pt idx="36">19.071199999999997</cx:pt>
          <cx:pt idx="37">10.139699999999999</cx:pt>
          <cx:pt idx="38">8.9367199999999993</cx:pt>
          <cx:pt idx="39">13.1242499999999</cx:pt>
          <cx:pt idx="40">45.705869999999699</cx:pt>
          <cx:pt idx="41">18.778979999999901</cx:pt>
          <cx:pt idx="42">5.5193099999999999</cx:pt>
          <cx:pt idx="43">11.611199999999899</cx:pt>
          <cx:pt idx="44">48.097299999999699</cx:pt>
          <cx:pt idx="45">5.89949999999999</cx:pt>
          <cx:pt idx="46">10.5564</cx:pt>
          <cx:pt idx="47">14.0406599999999</cx:pt>
          <cx:pt idx="48">10.4175</cx:pt>
          <cx:pt idx="49">15.786539999999999</cx:pt>
          <cx:pt idx="50">18.778979999999901</cx:pt>
          <cx:pt idx="51">10.139699999999999</cx:pt>
          <cx:pt idx="52">6.03059999999999</cx:pt>
          <cx:pt idx="53">38.182270000000003</cx:pt>
          <cx:pt idx="54">6.03059999999999</cx:pt>
          <cx:pt idx="55">6.5549999999999997</cx:pt>
          <cx:pt idx="56">11.4696</cx:pt>
          <cx:pt idx="57">18.009979999999899</cx:pt>
          <cx:pt idx="58">6.5549999999999997</cx:pt>
          <cx:pt idx="59">12.839249999999899</cx:pt>
          <cx:pt idx="60">37.080599999999905</cx:pt>
          <cx:pt idx="61">16.764200000000002</cx:pt>
          <cx:pt idx="62">5.89949999999999</cx:pt>
          <cx:pt idx="63">13.1242499999999</cx:pt>
          <cx:pt idx="64">1.9358199999999999</cx:pt>
          <cx:pt idx="65">15.9192</cx:pt>
          <cx:pt idx="66">4.3588000000000005</cx:pt>
          <cx:pt idx="67">16.779579999999999</cx:pt>
          <cx:pt idx="68">8.6527999999999992</cx:pt>
          <cx:pt idx="69">38.182270000000003</cx:pt>
          <cx:pt idx="70">9.3201899999999789</cx:pt>
          <cx:pt idx="71">14.739999999999901</cx:pt>
          <cx:pt idx="72">9.5840999999999994</cx:pt>
          <cx:pt idx="73">8.9367199999999993</cx:pt>
          <cx:pt idx="74">11.894399999999999</cx:pt>
          <cx:pt idx="75">11.894399999999999</cx:pt>
          <cx:pt idx="76">10.6952999999999</cx:pt>
          <cx:pt idx="77">6.03059999999999</cx:pt>
          <cx:pt idx="78">11.611199999999899</cx:pt>
          <cx:pt idx="79">36.838769999999997</cx:pt>
          <cx:pt idx="80">5.63729999999999</cx:pt>
          <cx:pt idx="81">6.5549999999999997</cx:pt>
          <cx:pt idx="82">35.1997</cx:pt>
          <cx:pt idx="83">15.329599999999999</cx:pt>
          <cx:pt idx="84">6.2927999999999997</cx:pt>
          <cx:pt idx="85">6.5549999999999997</cx:pt>
          <cx:pt idx="86">14.75474</cx:pt>
          <cx:pt idx="87">5.89949999999999</cx:pt>
          <cx:pt idx="88">10.973099999999999</cx:pt>
          <cx:pt idx="89">6.03059999999999</cx:pt>
          <cx:pt idx="90">10.57029</cx:pt>
          <cx:pt idx="91">8.2472000000000012</cx:pt>
          <cx:pt idx="92">5.89949999999999</cx:pt>
          <cx:pt idx="93">11.328000000000001</cx:pt>
          <cx:pt idx="94">15.04954</cx:pt>
          <cx:pt idx="95">12.0117799999999</cx:pt>
          <cx:pt idx="96">12.177599999999899</cx:pt>
          <cx:pt idx="97">12.036</cx:pt>
          <cx:pt idx="98">10.4175</cx:pt>
          <cx:pt idx="99">10.7091899999999</cx:pt>
          <cx:pt idx="100">11.894399999999999</cx:pt>
          <cx:pt idx="101">15.786539999999999</cx:pt>
          <cx:pt idx="102">18.7636</cx:pt>
          <cx:pt idx="103">3.8460000000000001</cx:pt>
          <cx:pt idx="104">8.7880000000000003</cx:pt>
          <cx:pt idx="105">17.533199999999997</cx:pt>
          <cx:pt idx="106">17.840799999999902</cx:pt>
          <cx:pt idx="107">12.319379999999901</cx:pt>
          <cx:pt idx="108">58.039200000000001</cx:pt>
          <cx:pt idx="109">15.786539999999999</cx:pt>
          <cx:pt idx="110">13.1242499999999</cx:pt>
          <cx:pt idx="111">12.8535</cx:pt>
          <cx:pt idx="112">11.4696</cx:pt>
          <cx:pt idx="113">36.274499999999996</cx:pt>
          <cx:pt idx="114">18.3175799999999</cx:pt>
          <cx:pt idx="115">6.6860999999999908</cx:pt>
          <cx:pt idx="116">47.291200000000003</cx:pt>
          <cx:pt idx="117">6.4239000000000006</cx:pt>
          <cx:pt idx="118">50.273769999999999</cx:pt>
          <cx:pt idx="119">41.917200000000001</cx:pt>
          <cx:pt idx="120">13.592399999999898</cx:pt>
          <cx:pt idx="121">13.736999999999998</cx:pt>
          <cx:pt idx="122">18.6098</cx:pt>
          <cx:pt idx="123">6.6860999999999908</cx:pt>
          <cx:pt idx="124">11.752799999999999</cx:pt>
          <cx:pt idx="125">12.825000000000001</cx:pt>
          <cx:pt idx="126">6.4239000000000006</cx:pt>
          <cx:pt idx="127">9.4590899999999998</cx:pt>
          <cx:pt idx="128">15.491739999999901</cx:pt>
          <cx:pt idx="129">17.533199999999997</cx:pt>
          <cx:pt idx="130">13.736999999999998</cx:pt>
          <cx:pt idx="131">12.8249999999999</cx:pt>
          <cx:pt idx="132">14.3154</cx:pt>
          <cx:pt idx="133">35.495269999999898</cx:pt>
          <cx:pt idx="134">15.329599999999999</cx:pt>
          <cx:pt idx="135">17.687000000000001</cx:pt>
          <cx:pt idx="136">12.333360000000001</cx:pt>
          <cx:pt idx="137">6.2927999999999997</cx:pt>
          <cx:pt idx="138">37.376169999999995</cx:pt>
          <cx:pt idx="139">38.424100000000003</cx:pt>
          <cx:pt idx="140">14.902139999999999</cx:pt>
          <cx:pt idx="141">12.825000000000001</cx:pt>
          <cx:pt idx="142">12.036</cx:pt>
          <cx:pt idx="143">17.840799999999902</cx:pt>
          <cx:pt idx="144">7.5847200000000008</cx:pt>
          <cx:pt idx="145">7.0439199999999991</cx:pt>
          <cx:pt idx="146">8.3823999999999987</cx:pt>
          <cx:pt idx="147">9.0583999999999989</cx:pt>
          <cx:pt idx="148">12.825000000000001</cx:pt>
          <cx:pt idx="149">17.687000000000001</cx:pt>
          <cx:pt idx="150">11.8943999999999</cx:pt>
          <cx:pt idx="151">12.333360000000001</cx:pt>
          <cx:pt idx="152">6.03059999999999</cx:pt>
          <cx:pt idx="153">10.5564</cx:pt>
          <cx:pt idx="154">9.722999999999999</cx:pt>
          <cx:pt idx="155">10.4175</cx:pt>
          <cx:pt idx="156">5.89949999999999</cx:pt>
          <cx:pt idx="157">6.1616999999999997</cx:pt>
          <cx:pt idx="158">10.4175</cx:pt>
          <cx:pt idx="159">6.5549999999999997</cx:pt>
          <cx:pt idx="160">9.722999999999999</cx:pt>
          <cx:pt idx="161">3.60242</cx:pt>
          <cx:pt idx="162">10.973099999999999</cx:pt>
          <cx:pt idx="163">8.6527999999999992</cx:pt>
          <cx:pt idx="164">11.328000000000001</cx:pt>
          <cx:pt idx="165">5.89949999999999</cx:pt>
          <cx:pt idx="166">10.973099999999999</cx:pt>
          <cx:pt idx="167">40.842399999999998</cx:pt>
          <cx:pt idx="168">5.89949999999999</cx:pt>
          <cx:pt idx="169">8.6527999999999992</cx:pt>
          <cx:pt idx="170">6.4239000000000006</cx:pt>
          <cx:pt idx="171">17.533199999999997</cx:pt>
          <cx:pt idx="172">13.736999999999998</cx:pt>
          <cx:pt idx="173">13.31766</cx:pt>
          <cx:pt idx="174">15.786539999999999</cx:pt>
          <cx:pt idx="175">37.618000000000002</cx:pt>
          <cx:pt idx="176">52.933899999999902</cx:pt>
          <cx:pt idx="177">10.5564</cx:pt>
          <cx:pt idx="178">6.4239000000000006</cx:pt>
          <cx:pt idx="179">8.2472000000000012</cx:pt>
          <cx:pt idx="180">12.602399999999999</cx:pt>
          <cx:pt idx="181">11.328000000000001</cx:pt>
          <cx:pt idx="182">10.4175</cx:pt>
          <cx:pt idx="183">9.5840999999999994</cx:pt>
          <cx:pt idx="184">16.94876</cx:pt>
          <cx:pt idx="185">8.1120000000000001</cx:pt>
          <cx:pt idx="186">12.602399999999999</cx:pt>
          <cx:pt idx="187">18.009979999999899</cx:pt>
          <cx:pt idx="188">8.7880000000000003</cx:pt>
          <cx:pt idx="189">13.5924</cx:pt>
          <cx:pt idx="190">8.6663199999999989</cx:pt>
          <cx:pt idx="191">11.625360000000001</cx:pt>
          <cx:pt idx="192">12.602399999999999</cx:pt>
          <cx:pt idx="193">0.91021999999999992</cx:pt>
          <cx:pt idx="194">10.973099999999999</cx:pt>
          <cx:pt idx="195">43.529399999999903</cx:pt>
          <cx:pt idx="196">13.5924</cx:pt>
          <cx:pt idx="197">13.549779999999901</cx:pt>
          <cx:pt idx="198">12.0117799999999</cx:pt>
          <cx:pt idx="199">40.842399999999998</cx:pt>
          <cx:pt idx="200">15.786539999999999</cx:pt>
          <cx:pt idx="201">17.3794</cx:pt>
          <cx:pt idx="202">3.7178000000000004</cx:pt>
          <cx:pt idx="203">8.6527999999999992</cx:pt>
          <cx:pt idx="204">9.4868700000000192</cx:pt>
          <cx:pt idx="205">30.389969999999899</cx:pt>
          <cx:pt idx="206">3.2178199999999997</cx:pt>
          <cx:pt idx="207">15.034799999999901</cx:pt>
          <cx:pt idx="208">11.894399999999999</cx:pt>
          <cx:pt idx="209">27.702969999999898</cx:pt>
          <cx:pt idx="210">2.9614199999999999</cx:pt>
          <cx:pt idx="211">10.0008</cx:pt>
          <cx:pt idx="212">5.63729999999999</cx:pt>
          <cx:pt idx="213">13.1242499999999</cx:pt>
          <cx:pt idx="214">10.5564</cx:pt>
          <cx:pt idx="215">37.886699999999998</cx:pt>
          <cx:pt idx="216">4.4870000000000001</cx:pt>
          <cx:pt idx="217">8.5175999999999998</cx:pt>
          <cx:pt idx="218">8.6527999999999992</cx:pt>
          <cx:pt idx="219">11.328000000000001</cx:pt>
          <cx:pt idx="220">10.973099999999999</cx:pt>
          <cx:pt idx="221">59.920099999999699</cx:pt>
          <cx:pt idx="222">8.5175999999999998</cx:pt>
          <cx:pt idx="223">15.06428</cx:pt>
          <cx:pt idx="224">11.4696</cx:pt>
          <cx:pt idx="225">10.834199999999999</cx:pt>
          <cx:pt idx="226">16.764200000000002</cx:pt>
          <cx:pt idx="227">14.0261999999999</cx:pt>
          <cx:pt idx="228">8.9232000000000014</cx:pt>
          <cx:pt idx="229">18.302199999999999</cx:pt>
          <cx:pt idx="230">36.543199999999999</cx:pt>
          <cx:pt idx="231">17.0718</cx:pt>
          <cx:pt idx="232">10.153589999999999</cx:pt>
          <cx:pt idx="233">34.662300000000002</cx:pt>
          <cx:pt idx="234">13.881599999999999</cx:pt>
          <cx:pt idx="235">44.335500000000003</cx:pt>
          <cx:pt idx="236">15.786539999999999</cx:pt>
          <cx:pt idx="237">41.648499999999999</cx:pt>
          <cx:pt idx="238">8.9232000000000014</cx:pt>
          <cx:pt idx="239">11.328000000000001</cx:pt>
          <cx:pt idx="240">36.543199999999999</cx:pt>
          <cx:pt idx="241">9.5840999999999994</cx:pt>
          <cx:pt idx="242">10.4175</cx:pt>
          <cx:pt idx="243">10.7091899999999</cx:pt>
          <cx:pt idx="244">15.6244</cx:pt>
          <cx:pt idx="245">11.328000000000001</cx:pt>
          <cx:pt idx="246">16.764200000000002</cx:pt>
          <cx:pt idx="247">18.7636</cx:pt>
          <cx:pt idx="248">11.328000000000001</cx:pt>
          <cx:pt idx="249">12.967500000000001</cx:pt>
          <cx:pt idx="250">8.9232000000000014</cx:pt>
          <cx:pt idx="251">2.1922199999999998</cx:pt>
          <cx:pt idx="252">11.894399999999999</cx:pt>
          <cx:pt idx="253">9.5840999999999994</cx:pt>
          <cx:pt idx="254">39.230199999999897</cx:pt>
          <cx:pt idx="255">36.032670000000003</cx:pt>
          <cx:pt idx="256">9.8619000000000003</cx:pt>
          <cx:pt idx="257">45.705869999999699</cx:pt>
          <cx:pt idx="258">7.5712000000000002</cx:pt>
          <cx:pt idx="259">9.8757900000000003</cx:pt>
          <cx:pt idx="260">18.932779999999998</cx:pt>
          <cx:pt idx="261">10.306379999999999</cx:pt>
          <cx:pt idx="262">15.034799999999901</cx:pt>
          <cx:pt idx="263">44.872899999999902</cx:pt>
          <cx:pt idx="264">13.881599999999899</cx:pt>
          <cx:pt idx="265">10.5564</cx:pt>
          <cx:pt idx="266">13.736999999999899</cx:pt>
          <cx:pt idx="267">12.0359999999999</cx:pt>
          <cx:pt idx="268">16.917999999999999</cx:pt>
          <cx:pt idx="269">15.639140000000001</cx:pt>
          <cx:pt idx="270">10.986989999999899</cx:pt>
          <cx:pt idx="271">9.5840999999999994</cx:pt>
          <cx:pt idx="272">8.9232000000000014</cx:pt>
          <cx:pt idx="273">17.994599999999998</cx:pt>
          <cx:pt idx="274">38.424100000000003</cx:pt>
          <cx:pt idx="275">37.3492999999999</cx:pt>
          <cx:pt idx="276">8.3959200000000003</cx:pt>
          <cx:pt idx="277">10.278600000000001</cx:pt>
          <cx:pt idx="278">40.573700000000002</cx:pt>
          <cx:pt idx="279">43.798099999999998</cx:pt>
          <cx:pt idx="280">56.158299999999905</cx:pt>
          <cx:pt idx="281">43.2607</cx:pt>
          <cx:pt idx="282">15.786539999999999</cx:pt>
          <cx:pt idx="283">9.722999999999999</cx:pt>
          <cx:pt idx="284">44.872899999999902</cx:pt>
          <cx:pt idx="285">17.533199999999997</cx:pt>
          <cx:pt idx="286">54.277399999999702</cx:pt>
          <cx:pt idx="287">41.944069999999996</cx:pt>
          <cx:pt idx="288">17.0718</cx:pt>
          <cx:pt idx="289">10.4175</cx:pt>
          <cx:pt idx="290">11.611199999999899</cx:pt>
          <cx:pt idx="291">10.834199999999999</cx:pt>
          <cx:pt idx="292">18.917400000000001</cx:pt>
          <cx:pt idx="293">15.786539999999999</cx:pt>
          <cx:pt idx="294">13.447799999999999</cx:pt>
          <cx:pt idx="295">39.498899999999999</cx:pt>
          <cx:pt idx="296">16.917999999999999</cx:pt>
          <cx:pt idx="297">9.5840999999999994</cx:pt>
          <cx:pt idx="298">10.139699999999999</cx:pt>
          <cx:pt idx="299">19.532599999999999</cx:pt>
          <cx:pt idx="300">10.0008</cx:pt>
          <cx:pt idx="301">18.3175799999999</cx:pt>
          <cx:pt idx="302">37.618000000000002</cx:pt>
          <cx:pt idx="303">8.7880000000000003</cx:pt>
          <cx:pt idx="304">11.611199999999899</cx:pt>
          <cx:pt idx="305">13.31766</cx:pt>
          <cx:pt idx="306">17.3794</cx:pt>
          <cx:pt idx="307">40.573700000000002</cx:pt>
          <cx:pt idx="308">15.771799999999999</cx:pt>
          <cx:pt idx="309">40.573700000000002</cx:pt>
          <cx:pt idx="310">38.1554</cx:pt>
          <cx:pt idx="311">10.6952999999999</cx:pt>
          <cx:pt idx="312">8.9232000000000014</cx:pt>
          <cx:pt idx="313">13.881599999999999</cx:pt>
          <cx:pt idx="314">9.0583999999999989</cx:pt>
          <cx:pt idx="315">9.0583999999999989</cx:pt>
          <cx:pt idx="316">60.994899999999696</cx:pt>
          <cx:pt idx="317">17.533199999999997</cx:pt>
          <cx:pt idx="318">10.5564</cx:pt>
          <cx:pt idx="319">56.964399999999706</cx:pt>
          <cx:pt idx="320">10.6952999999999</cx:pt>
          <cx:pt idx="321">12.319199999999899</cx:pt>
          <cx:pt idx="322">16.764200000000002</cx:pt>
          <cx:pt idx="323">47.559899999999999</cx:pt>
          <cx:pt idx="324">10.0008</cx:pt>
          <cx:pt idx="325">18.456</cx:pt>
          <cx:pt idx="326">10.0008</cx:pt>
          <cx:pt idx="327">10.973099999999999</cx:pt>
          <cx:pt idx="328">14.8873999999999</cx:pt>
          <cx:pt idx="329">44.066799999999901</cx:pt>
          <cx:pt idx="330">9.8619000000000003</cx:pt>
          <cx:pt idx="331">47.291200000000003</cx:pt>
          <cx:pt idx="332">10.834199999999999</cx:pt>
          <cx:pt idx="333">16.917999999999999</cx:pt>
          <cx:pt idx="334">10.834199999999999</cx:pt>
          <cx:pt idx="335">10.5564</cx:pt>
          <cx:pt idx="336">10.834199999999999</cx:pt>
          <cx:pt idx="337">12.825000000000001</cx:pt>
          <cx:pt idx="338">16.764200000000002</cx:pt>
          <cx:pt idx="339">12.967500000000001</cx:pt>
          <cx:pt idx="340">8.1255199999999999</cx:pt>
          <cx:pt idx="341">42.185899999999997</cx:pt>
          <cx:pt idx="342">52.665199999999999</cx:pt>
          <cx:pt idx="343">4.4870000000000001</cx:pt>
          <cx:pt idx="344">11.752799999999999</cx:pt>
          <cx:pt idx="345">13.447799999999999</cx:pt>
          <cx:pt idx="346">10.6952999999999</cx:pt>
          <cx:pt idx="347">8.3959200000000003</cx:pt>
          <cx:pt idx="348">15.771799999999999</cx:pt>
          <cx:pt idx="349">11.894399999999999</cx:pt>
          <cx:pt idx="350">34.930999999999997</cx:pt>
          <cx:pt idx="351">6.8171999999999997</cx:pt>
          <cx:pt idx="352">17.24098</cx:pt>
          <cx:pt idx="353">17.0718</cx:pt>
          <cx:pt idx="354">9.722999999999999</cx:pt>
          <cx:pt idx="355">13.881599999999899</cx:pt>
          <cx:pt idx="356">15.9192</cx:pt>
          <cx:pt idx="357">54.814799999999998</cx:pt>
          <cx:pt idx="358">38.692799999999998</cx:pt>
          <cx:pt idx="359">17.3794</cx:pt>
          <cx:pt idx="360">10.973099999999999</cx:pt>
          <cx:pt idx="361">9.5840999999999994</cx:pt>
          <cx:pt idx="362">15.6244</cx:pt>
          <cx:pt idx="363">9.0583999999999989</cx:pt>
          <cx:pt idx="364">12.319199999999899</cx:pt>
          <cx:pt idx="365">18.7636</cx:pt>
          <cx:pt idx="366">8.80152</cx:pt>
          <cx:pt idx="367">18.948160000000001</cx:pt>
          <cx:pt idx="368">15.9192</cx:pt>
          <cx:pt idx="369">11.4696</cx:pt>
          <cx:pt idx="370">55.083499999999695</cx:pt>
          <cx:pt idx="371">7.7063999999999995</cx:pt>
          <cx:pt idx="372">39.230199999999897</cx:pt>
          <cx:pt idx="373">10.6952999999999</cx:pt>
          <cx:pt idx="374">7.8415999999999997</cx:pt>
          <cx:pt idx="375">15.786539999999999</cx:pt>
          <cx:pt idx="376">13.736999999999998</cx:pt>
          <cx:pt idx="377">52.127799999999901</cx:pt>
          <cx:pt idx="378">10.0008</cx:pt>
          <cx:pt idx="379">8.1120000000000001</cx:pt>
          <cx:pt idx="380">8.3823999999999987</cx:pt>
          <cx:pt idx="381">13.109999999999999</cx:pt>
          <cx:pt idx="382">13.736999999999998</cx:pt>
          <cx:pt idx="383">47.559899999999999</cx:pt>
          <cx:pt idx="384">37.080599999999905</cx:pt>
          <cx:pt idx="385">15.344340000000001</cx:pt>
          <cx:pt idx="386">36.301369999999999</cx:pt>
          <cx:pt idx="387">10.0008</cx:pt>
          <cx:pt idx="388">10.834199999999999</cx:pt>
          <cx:pt idx="389">17.2256</cx:pt>
          <cx:pt idx="390">37.618000000000002</cx:pt>
          <cx:pt idx="391">18.148399999999899</cx:pt>
          <cx:pt idx="392">8.7880000000000003</cx:pt>
          <cx:pt idx="393">8.6663199999999989</cx:pt>
          <cx:pt idx="394">13.736999999999899</cx:pt>
          <cx:pt idx="395">10.4175</cx:pt>
          <cx:pt idx="396">10.4175</cx:pt>
          <cx:pt idx="397">8.80152</cx:pt>
          <cx:pt idx="398">13.606859999999902</cx:pt>
          <cx:pt idx="399">15.19694</cx:pt>
          <cx:pt idx="400">13.881599999999899</cx:pt>
          <cx:pt idx="401">11.894399999999999</cx:pt>
          <cx:pt idx="402">47.022500000000001</cx:pt>
          <cx:pt idx="403">11.752799999999999</cx:pt>
          <cx:pt idx="404">8.9232000000000014</cx:pt>
          <cx:pt idx="405">14.1708</cx:pt>
          <cx:pt idx="406">41.648499999999999</cx:pt>
          <cx:pt idx="407">65.562799999999697</cx:pt>
          <cx:pt idx="408">34.95787</cx:pt>
          <cx:pt idx="409">10.292490000000001</cx:pt>
          <cx:pt idx="410">8.3823999999999987</cx:pt>
          <cx:pt idx="411">7.3008000000000006</cx:pt>
          <cx:pt idx="412">9.8619000000000003</cx:pt>
          <cx:pt idx="413">14.1708</cx:pt>
          <cx:pt idx="414">9.4451999999999998</cx:pt>
          <cx:pt idx="415">18.917400000000001</cx:pt>
          <cx:pt idx="416">18.625179999999901</cx:pt>
          <cx:pt idx="417">39.794469999999997</cx:pt>
          <cx:pt idx="418">16.764200000000002</cx:pt>
          <cx:pt idx="419">40.036300000000004</cx:pt>
          <cx:pt idx="420">11.4696</cx:pt>
          <cx:pt idx="421">4.6151999999999997</cx:pt>
          <cx:pt idx="422">9.8619000000000003</cx:pt>
          <cx:pt idx="423">12.8535</cx:pt>
          <cx:pt idx="424">11.752799999999999</cx:pt>
          <cx:pt idx="425">19.225000000000001</cx:pt>
          <cx:pt idx="426">15.329599999999999</cx:pt>
          <cx:pt idx="427">17.0718</cx:pt>
          <cx:pt idx="428">19.378799999999998</cx:pt>
          <cx:pt idx="429">47.291200000000003</cx:pt>
          <cx:pt idx="430">6.03059999999999</cx:pt>
          <cx:pt idx="431">19.686400000000003</cx:pt>
          <cx:pt idx="432">10.0008</cx:pt>
          <cx:pt idx="433">14.0406599999999</cx:pt>
          <cx:pt idx="434">5.63729999999999</cx:pt>
          <cx:pt idx="435">18.456</cx:pt>
          <cx:pt idx="436">18.456</cx:pt>
          <cx:pt idx="437">36.301369999999999</cx:pt>
          <cx:pt idx="438">9.8619000000000003</cx:pt>
          <cx:pt idx="439">38.692799999999998</cx:pt>
          <cx:pt idx="440">17.994599999999998</cx:pt>
          <cx:pt idx="441">18.3175799999999</cx:pt>
          <cx:pt idx="442">8.9232000000000014</cx:pt>
          <cx:pt idx="443">9.0583999999999989</cx:pt>
          <cx:pt idx="444">7.3008000000000006</cx:pt>
          <cx:pt idx="445">17.08718</cx:pt>
          <cx:pt idx="446">18.456</cx:pt>
          <cx:pt idx="447">12.319199999999899</cx:pt>
          <cx:pt idx="448">13.109999999999999</cx:pt>
          <cx:pt idx="449">12.319199999999899</cx:pt>
          <cx:pt idx="450">15.639140000000001</cx:pt>
          <cx:pt idx="451">9.4590899999999998</cx:pt>
          <cx:pt idx="452">17.856179999999998</cx:pt>
          <cx:pt idx="453">10.848089999999901</cx:pt>
          <cx:pt idx="454">17.687000000000001</cx:pt>
          <cx:pt idx="455">9.722999999999999</cx:pt>
          <cx:pt idx="456">45.4102999999999</cx:pt>
          <cx:pt idx="457">18.917400000000001</cx:pt>
          <cx:pt idx="458">9.5840999999999994</cx:pt>
          <cx:pt idx="459">14.74</cx:pt>
          <cx:pt idx="460">13.736999999999899</cx:pt>
          <cx:pt idx="461">9.8619000000000003</cx:pt>
          <cx:pt idx="462">18.6098</cx:pt>
          <cx:pt idx="463">14.040659999999999</cx:pt>
          <cx:pt idx="464">42.185899999999997</cx:pt>
          <cx:pt idx="465">11.34216</cx:pt>
          <cx:pt idx="466">9.4451999999999998</cx:pt>
          <cx:pt idx="467">6.2927999999999997</cx:pt>
          <cx:pt idx="468">12.967500000000001</cx:pt>
          <cx:pt idx="469">36.811899999999895</cx:pt>
          <cx:pt idx="470">15.182200000000002</cx:pt>
          <cx:pt idx="471">17.0718</cx:pt>
          <cx:pt idx="472">9.8619000000000003</cx:pt>
          <cx:pt idx="473">10.0008</cx:pt>
          <cx:pt idx="474">9.8619000000000003</cx:pt>
          <cx:pt idx="475">15.9192</cx:pt>
          <cx:pt idx="476">10.431389999999901</cx:pt>
          <cx:pt idx="477">37.3492999999999</cx:pt>
          <cx:pt idx="478">12.602399999999999</cx:pt>
          <cx:pt idx="479">6.8171999999999997</cx:pt>
          <cx:pt idx="480">17.2256</cx:pt>
          <cx:pt idx="481">14.1707999999999</cx:pt>
          <cx:pt idx="482">60.188799999999901</cx:pt>
          <cx:pt idx="483">11.894399999999999</cx:pt>
          <cx:pt idx="484">17.994599999999998</cx:pt>
          <cx:pt idx="485">10.7091899999999</cx:pt>
          <cx:pt idx="486">9.5840999999999994</cx:pt>
          <cx:pt idx="487">17.994599999999998</cx:pt>
          <cx:pt idx="488">14.3154</cx:pt>
          <cx:pt idx="489">8.9232000000000014</cx:pt>
          <cx:pt idx="490">8.3823999999999987</cx:pt>
          <cx:pt idx="491">14.3154</cx:pt>
          <cx:pt idx="492">11.4696</cx:pt>
          <cx:pt idx="493">8.9232000000000014</cx:pt>
          <cx:pt idx="494">11.328000000000001</cx:pt>
          <cx:pt idx="495">10.278600000000001</cx:pt>
          <cx:pt idx="496">45.678999999999995</cx:pt>
          <cx:pt idx="497">19.532599999999999</cx:pt>
          <cx:pt idx="498">19.686400000000003</cx:pt>
          <cx:pt idx="499">16.917999999999999</cx:pt>
          <cx:pt idx="500">8.7880000000000003</cx:pt>
          <cx:pt idx="501">8.6663199999999989</cx:pt>
          <cx:pt idx="502">11.4696</cx:pt>
          <cx:pt idx="503">10.6952999999999</cx:pt>
          <cx:pt idx="504">18.932779999999998</cx:pt>
          <cx:pt idx="505">12.602399999999999</cx:pt>
          <cx:pt idx="506">57.233099999999901</cx:pt>
          <cx:pt idx="507">40.842399999999998</cx:pt>
          <cx:pt idx="508">56.158299999999905</cx:pt>
          <cx:pt idx="509">13.896059999999999</cx:pt>
          <cx:pt idx="510">42.992000000000004</cx:pt>
          <cx:pt idx="511">41.648499999999999</cx:pt>
          <cx:pt idx="512">44.872899999999902</cx:pt>
          <cx:pt idx="513">10.292490000000001</cx:pt>
          <cx:pt idx="514">9.0583999999999989</cx:pt>
          <cx:pt idx="515">10.57029</cx:pt>
          <cx:pt idx="516">10.292490000000001</cx:pt>
          <cx:pt idx="517">18.163779999999999</cx:pt>
          <cx:pt idx="518">16.779579999999999</cx:pt>
          <cx:pt idx="519">9.722999999999999</cx:pt>
          <cx:pt idx="520">5.89949999999999</cx:pt>
          <cx:pt idx="521">12.967500000000001</cx:pt>
          <cx:pt idx="522">12.602399999999999</cx:pt>
          <cx:pt idx="523">50.515599999999907</cx:pt>
          <cx:pt idx="524">16.625780000000002</cx:pt>
          <cx:pt idx="525">9.5840999999999994</cx:pt>
          <cx:pt idx="526">10.0008</cx:pt>
          <cx:pt idx="527">10.6952999999999</cx:pt>
          <cx:pt idx="528">5.89949999999999</cx:pt>
          <cx:pt idx="529">11.752799999999999</cx:pt>
          <cx:pt idx="530">38.1554</cx:pt>
          <cx:pt idx="531">17.687000000000001</cx:pt>
          <cx:pt idx="532">8.9232000000000014</cx:pt>
          <cx:pt idx="533">18.456</cx:pt>
          <cx:pt idx="534">38.961499999999901</cx:pt>
          <cx:pt idx="535">39.498899999999999</cx:pt>
          <cx:pt idx="536">15.329599999999999</cx:pt>
          <cx:pt idx="537">13.109999999999999</cx:pt>
          <cx:pt idx="538">10.278600000000001</cx:pt>
          <cx:pt idx="539">10.0008</cx:pt>
          <cx:pt idx="540">15.329599999999999</cx:pt>
          <cx:pt idx="541">13.462260000000001</cx:pt>
          <cx:pt idx="542">5.5061999999999998</cx:pt>
          <cx:pt idx="543">44.899769999999997</cx:pt>
          <cx:pt idx="544">18.6098</cx:pt>
          <cx:pt idx="545">16.764200000000002</cx:pt>
          <cx:pt idx="546">7.5712000000000002</cx:pt>
          <cx:pt idx="547">16.917999999999999</cx:pt>
          <cx:pt idx="548">15.034799999999901</cx:pt>
          <cx:pt idx="549">46.216399999999901</cx:pt>
          <cx:pt idx="550">15.182200000000002</cx:pt>
          <cx:pt idx="551">17.0718</cx:pt>
          <cx:pt idx="552">40.600570000000005</cx:pt>
          <cx:pt idx="553">9.5840999999999994</cx:pt>
          <cx:pt idx="554">43.798099999999998</cx:pt>
          <cx:pt idx="555">14.8873999999999</cx:pt>
          <cx:pt idx="556">40.573700000000002</cx:pt>
          <cx:pt idx="557">37.644870000000004</cx:pt>
          <cx:pt idx="558">10.278600000000001</cx:pt>
          <cx:pt idx="559">41.648499999999999</cx:pt>
          <cx:pt idx="560">13.447799999999999</cx:pt>
          <cx:pt idx="561">18.7636</cx:pt>
          <cx:pt idx="562">13.1242499999999</cx:pt>
          <cx:pt idx="563">4.2305999999999999</cx:pt>
          <cx:pt idx="564">9.4451999999999998</cx:pt>
          <cx:pt idx="565">17.2256</cx:pt>
          <cx:pt idx="566">17.994599999999998</cx:pt>
          <cx:pt idx="567">8.9232000000000014</cx:pt>
          <cx:pt idx="568">10.834199999999999</cx:pt>
          <cx:pt idx="569">9.0583999999999989</cx:pt>
          <cx:pt idx="570">14.607339999999899</cx:pt>
          <cx:pt idx="571">34.662300000000002</cx:pt>
          <cx:pt idx="572">10.834199999999999</cx:pt>
          <cx:pt idx="573">15.771799999999999</cx:pt>
          <cx:pt idx="574">51.590399999999704</cx:pt>
          <cx:pt idx="575">15.329599999999999</cx:pt>
          <cx:pt idx="576">9.8619000000000003</cx:pt>
          <cx:pt idx="577">10.973099999999999</cx:pt>
          <cx:pt idx="578">10.4175</cx:pt>
          <cx:pt idx="579">8.9232000000000014</cx:pt>
          <cx:pt idx="580">8.5175999999999998</cx:pt>
          <cx:pt idx="581">6.4239000000000006</cx:pt>
          <cx:pt idx="582">13.736999999999998</cx:pt>
          <cx:pt idx="583">10.278600000000001</cx:pt>
          <cx:pt idx="584">14.3154</cx:pt>
          <cx:pt idx="585">39.230199999999897</cx:pt>
          <cx:pt idx="586">34.930999999999997</cx:pt>
          <cx:pt idx="587">11.4696</cx:pt>
          <cx:pt idx="588">8.3823999999999987</cx:pt>
          <cx:pt idx="589">5.89949999999999</cx:pt>
          <cx:pt idx="590">11.4696</cx:pt>
          <cx:pt idx="591">10.278600000000001</cx:pt>
          <cx:pt idx="592">49.709499999999998</cx:pt>
          <cx:pt idx="593">15.476999999999999</cx:pt>
          <cx:pt idx="594">17.2256</cx:pt>
          <cx:pt idx="595">13.109999999999999</cx:pt>
          <cx:pt idx="596">17.0718</cx:pt>
          <cx:pt idx="597">10.6952999999999</cx:pt>
          <cx:pt idx="598">9.8619000000000003</cx:pt>
          <cx:pt idx="599">18.3175799999999</cx:pt>
          <cx:pt idx="600">16.625780000000002</cx:pt>
          <cx:pt idx="601">40.305</cx:pt>
          <cx:pt idx="602">35.1997</cx:pt>
          <cx:pt idx="603">11.611199999999899</cx:pt>
          <cx:pt idx="604">7.5712000000000002</cx:pt>
          <cx:pt idx="605">13.881599999999899</cx:pt>
          <cx:pt idx="606">19.086580000000001</cx:pt>
          <cx:pt idx="607">11.752799999999999</cx:pt>
          <cx:pt idx="608">17.0718</cx:pt>
          <cx:pt idx="609">12.3333599999999</cx:pt>
          <cx:pt idx="610">9.5979900000000011</cx:pt>
          <cx:pt idx="611">36.274499999999996</cx:pt>
          <cx:pt idx="612">17.533199999999997</cx:pt>
          <cx:pt idx="613">41.917200000000001</cx:pt>
          <cx:pt idx="614">16.625780000000002</cx:pt>
          <cx:pt idx="615">18.456</cx:pt>
          <cx:pt idx="616">18.6098</cx:pt>
          <cx:pt idx="617">9.722999999999999</cx:pt>
          <cx:pt idx="618">35.737099999999998</cx:pt>
          <cx:pt idx="619">13.881599999999999</cx:pt>
          <cx:pt idx="620">7.3008000000000006</cx:pt>
          <cx:pt idx="621">11.611199999999899</cx:pt>
          <cx:pt idx="622">37.618000000000002</cx:pt>
          <cx:pt idx="623">49.440800000000003</cx:pt>
          <cx:pt idx="624">35.468400000000003</cx:pt>
          <cx:pt idx="625">5.2561999999999998</cx:pt>
          <cx:pt idx="626">40.573700000000002</cx:pt>
          <cx:pt idx="627">8.3823999999999987</cx:pt>
          <cx:pt idx="628">15.9192</cx:pt>
          <cx:pt idx="629">1.6794199999999999</cx:pt>
          <cx:pt idx="630">13.447799999999999</cx:pt>
          <cx:pt idx="631">19.225000000000001</cx:pt>
          <cx:pt idx="632">9.4451999999999998</cx:pt>
          <cx:pt idx="633">60.7261999999997</cx:pt>
          <cx:pt idx="634">11.611199999999899</cx:pt>
          <cx:pt idx="635">44.066799999999901</cx:pt>
          <cx:pt idx="636">40.573700000000002</cx:pt>
          <cx:pt idx="637">40.573700000000002</cx:pt>
          <cx:pt idx="638">40.842399999999998</cx:pt>
          <cx:pt idx="639">18.302199999999999</cx:pt>
          <cx:pt idx="640">10.5564</cx:pt>
          <cx:pt idx="641">4.6151999999999997</cx:pt>
          <cx:pt idx="642">14.0406599999999</cx:pt>
          <cx:pt idx="643">18.917400000000001</cx:pt>
          <cx:pt idx="644">13.736999999999899</cx:pt>
          <cx:pt idx="645">10.834199999999999</cx:pt>
          <cx:pt idx="646">7.1655999999999995</cx:pt>
          <cx:pt idx="647">15.034799999999901</cx:pt>
          <cx:pt idx="648">14.0261999999999</cx:pt>
          <cx:pt idx="649">12.825000000000001</cx:pt>
          <cx:pt idx="650">15.476999999999999</cx:pt>
          <cx:pt idx="651">47.559899999999999</cx:pt>
          <cx:pt idx="652">54.008699999999997</cx:pt>
          <cx:pt idx="653">38.692799999999998</cx:pt>
          <cx:pt idx="654">15.491739999999901</cx:pt>
          <cx:pt idx="655">12.036</cx:pt>
          <cx:pt idx="656">35.737099999999998</cx:pt>
          <cx:pt idx="657">18.009979999999899</cx:pt>
          <cx:pt idx="658">44.872899999999902</cx:pt>
          <cx:pt idx="659">11.625360000000001</cx:pt>
          <cx:pt idx="660">14.318779999999901</cx:pt>
          <cx:pt idx="661">9.5840999999999994</cx:pt>
          <cx:pt idx="662">42.992000000000004</cx:pt>
          <cx:pt idx="663">12.602399999999999</cx:pt>
          <cx:pt idx="664">15.182200000000002</cx:pt>
          <cx:pt idx="665">35.468400000000003</cx:pt>
          <cx:pt idx="666">14.0261999999999</cx:pt>
          <cx:pt idx="667">17.533199999999997</cx:pt>
          <cx:pt idx="668">47.828600000000002</cx:pt>
          <cx:pt idx="669">15.04954</cx:pt>
          <cx:pt idx="670">8.6527999999999992</cx:pt>
          <cx:pt idx="671">45.141599999999997</cx:pt>
          <cx:pt idx="672">15.786539999999999</cx:pt>
          <cx:pt idx="673">15.034799999999901</cx:pt>
          <cx:pt idx="674">38.424100000000003</cx:pt>
          <cx:pt idx="675">49.978200000000001</cx:pt>
          <cx:pt idx="676">11.328000000000001</cx:pt>
          <cx:pt idx="677">9.0583999999999989</cx:pt>
          <cx:pt idx="678">9.4451999999999998</cx:pt>
          <cx:pt idx="679">15.639140000000001</cx:pt>
          <cx:pt idx="680">10.834199999999999</cx:pt>
          <cx:pt idx="681">38.424100000000003</cx:pt>
          <cx:pt idx="682">5.89949999999999</cx:pt>
          <cx:pt idx="683">14.74</cx:pt>
          <cx:pt idx="684">10.973099999999999</cx:pt>
          <cx:pt idx="685">13.736999999999899</cx:pt>
          <cx:pt idx="686">11.894399999999999</cx:pt>
          <cx:pt idx="687">10.278600000000001</cx:pt>
          <cx:pt idx="688">19.532599999999999</cx:pt>
          <cx:pt idx="689">14.0261999999999</cx:pt>
          <cx:pt idx="690">5.7683999999999997</cx:pt>
          <cx:pt idx="691">15.771799999999999</cx:pt>
          <cx:pt idx="692">13.109999999999999</cx:pt>
          <cx:pt idx="693">17.3794</cx:pt>
          <cx:pt idx="694">19.378799999999998</cx:pt>
          <cx:pt idx="695">38.961499999999901</cx:pt>
          <cx:pt idx="696">10.4175</cx:pt>
          <cx:pt idx="697">15.329599999999999</cx:pt>
          <cx:pt idx="698">17.687000000000001</cx:pt>
          <cx:pt idx="699">8.2472000000000012</cx:pt>
          <cx:pt idx="700">12.83925</cx:pt>
          <cx:pt idx="701">12.319199999999899</cx:pt>
          <cx:pt idx="702">36.543199999999999</cx:pt>
          <cx:pt idx="703">14.8873999999999</cx:pt>
          <cx:pt idx="704">15.476999999999999</cx:pt>
          <cx:pt idx="705">37.403039999999898</cx:pt>
          <cx:pt idx="706">48.903400000000005</cx:pt>
          <cx:pt idx="707">14.8873999999999</cx:pt>
          <cx:pt idx="708">9.0583999999999989</cx:pt>
          <cx:pt idx="709">7.8415999999999997</cx:pt>
          <cx:pt idx="710">40.305</cx:pt>
          <cx:pt idx="711">17.3794</cx:pt>
          <cx:pt idx="712">18.148399999999899</cx:pt>
          <cx:pt idx="713">12.967500000000001</cx:pt>
          <cx:pt idx="714">14.18526</cx:pt>
          <cx:pt idx="715">8.3823999999999987</cx:pt>
          <cx:pt idx="716">13.736999999999998</cx:pt>
          <cx:pt idx="717">4.8715999999999999</cx:pt>
          <cx:pt idx="718">5.89949999999999</cx:pt>
          <cx:pt idx="719">47.828600000000002</cx:pt>
          <cx:pt idx="720">12.967500000000001</cx:pt>
          <cx:pt idx="721">16.917999999999999</cx:pt>
          <cx:pt idx="722">9.0583999999999989</cx:pt>
          <cx:pt idx="723">11.328000000000001</cx:pt>
          <cx:pt idx="724">11.894399999999999</cx:pt>
          <cx:pt idx="725">14.3154</cx:pt>
          <cx:pt idx="726">15.034799999999901</cx:pt>
          <cx:pt idx="727">6.8171999999999997</cx:pt>
          <cx:pt idx="728">15.9192</cx:pt>
          <cx:pt idx="729">11.550379999999901</cx:pt>
          <cx:pt idx="730">7.3008000000000006</cx:pt>
          <cx:pt idx="731">9.722999999999999</cx:pt>
          <cx:pt idx="732">13.109999999999999</cx:pt>
          <cx:pt idx="733">16.764200000000002</cx:pt>
          <cx:pt idx="734">18.148399999999899</cx:pt>
          <cx:pt idx="735">10.7091899999999</cx:pt>
          <cx:pt idx="736">17.08718</cx:pt>
          <cx:pt idx="737">8.80152</cx:pt>
          <cx:pt idx="738">34.662300000000002</cx:pt>
          <cx:pt idx="739">17.687000000000001</cx:pt>
          <cx:pt idx="740">10.139699999999999</cx:pt>
          <cx:pt idx="741">10.139699999999999</cx:pt>
          <cx:pt idx="742">15.6244</cx:pt>
          <cx:pt idx="743">5.5061999999999998</cx:pt>
          <cx:pt idx="744">9.4451999999999998</cx:pt>
          <cx:pt idx="745">9.5840999999999994</cx:pt>
          <cx:pt idx="746">38.1554</cx:pt>
          <cx:pt idx="747">11.894399999999999</cx:pt>
          <cx:pt idx="748">37.886699999999998</cx:pt>
          <cx:pt idx="749">55.083499999999994</cx:pt>
          <cx:pt idx="750">38.961499999999901</cx:pt>
          <cx:pt idx="751">8.80152</cx:pt>
          <cx:pt idx="752">45.678999999999995</cx:pt>
          <cx:pt idx="753">16.917999999999999</cx:pt>
          <cx:pt idx="754">9.5840999999999994</cx:pt>
          <cx:pt idx="755">18.6098</cx:pt>
          <cx:pt idx="756">37.886699999999998</cx:pt>
          <cx:pt idx="757">10.834199999999999</cx:pt>
          <cx:pt idx="758">6.1616999999999997</cx:pt>
          <cx:pt idx="759">39.498899999999999</cx:pt>
          <cx:pt idx="760">14.1708</cx:pt>
          <cx:pt idx="761">13.881599999999999</cx:pt>
          <cx:pt idx="762">15.786539999999999</cx:pt>
          <cx:pt idx="763">16.764200000000002</cx:pt>
          <cx:pt idx="764">39.525770000000001</cx:pt>
          <cx:pt idx="765">34.930999999999997</cx:pt>
          <cx:pt idx="766">11.625359999999899</cx:pt>
          <cx:pt idx="767">15.6244</cx:pt>
          <cx:pt idx="768">15.771799999999999</cx:pt>
          <cx:pt idx="769">37.886699999999998</cx:pt>
          <cx:pt idx="770">8.9232000000000014</cx:pt>
          <cx:pt idx="771">6.1616999999999997</cx:pt>
          <cx:pt idx="772">11.894399999999999</cx:pt>
          <cx:pt idx="773">40.305</cx:pt>
          <cx:pt idx="774">19.547980000000003</cx:pt>
          <cx:pt idx="775">12.319199999999899</cx:pt>
          <cx:pt idx="776">37.644870000000004</cx:pt>
          <cx:pt idx="777">8.6527999999999992</cx:pt>
          <cx:pt idx="778">10.973099999999999</cx:pt>
          <cx:pt idx="779">15.034799999999901</cx:pt>
          <cx:pt idx="780">17.2256</cx:pt>
          <cx:pt idx="781">17.840799999999902</cx:pt>
          <cx:pt idx="782">17.2256</cx:pt>
          <cx:pt idx="783">10.834199999999999</cx:pt>
          <cx:pt idx="784">37.644870000000004</cx:pt>
          <cx:pt idx="785">17.687000000000001</cx:pt>
          <cx:pt idx="786">48.366</cx:pt>
          <cx:pt idx="787">14.0261999999999</cx:pt>
          <cx:pt idx="788">13.751459999999899</cx:pt>
          <cx:pt idx="789">10.973099999999999</cx:pt>
          <cx:pt idx="790">9.5840999999999994</cx:pt>
          <cx:pt idx="791">46.753799999999998</cx:pt>
          <cx:pt idx="792">8.7880000000000003</cx:pt>
          <cx:pt idx="793">36.032670000000003</cx:pt>
          <cx:pt idx="794">17.0718</cx:pt>
          <cx:pt idx="795">11.328000000000001</cx:pt>
          <cx:pt idx="796">15.9192</cx:pt>
          <cx:pt idx="797">17.08718</cx:pt>
          <cx:pt idx="798">12.319199999999899</cx:pt>
          <cx:pt idx="799">8.3823999999999987</cx:pt>
          <cx:pt idx="800">15.786539999999999</cx:pt>
          <cx:pt idx="801">36.005800000000001</cx:pt>
          <cx:pt idx="802">11.90856</cx:pt>
          <cx:pt idx="803">4.9998000000000005</cx:pt>
          <cx:pt idx="804">12.319199999999899</cx:pt>
          <cx:pt idx="805">10.0008</cx:pt>
          <cx:pt idx="806">14.0261999999999</cx:pt>
          <cx:pt idx="807">17.3794</cx:pt>
          <cx:pt idx="808">14.1852599999999</cx:pt>
          <cx:pt idx="809">53.740000000000002</cx:pt>
          <cx:pt idx="810">15.9192</cx:pt>
          <cx:pt idx="811">9.5840999999999994</cx:pt>
          <cx:pt idx="812">14.0406599999999</cx:pt>
          <cx:pt idx="813">11.611199999999899</cx:pt>
          <cx:pt idx="814">19.686400000000003</cx:pt>
          <cx:pt idx="815">10.139699999999999</cx:pt>
          <cx:pt idx="816">15.786539999999999</cx:pt>
          <cx:pt idx="817">52.127799999999901</cx:pt>
          <cx:pt idx="818">18.456</cx:pt>
          <cx:pt idx="819">13.447799999999999</cx:pt>
          <cx:pt idx="820">13.736999999999899</cx:pt>
          <cx:pt idx="821">17.3794</cx:pt>
          <cx:pt idx="822">8.9232000000000014</cx:pt>
          <cx:pt idx="823">47.559899999999999</cx:pt>
          <cx:pt idx="824">10.6952999999999</cx:pt>
          <cx:pt idx="825">16.764200000000002</cx:pt>
          <cx:pt idx="826">11.328000000000001</cx:pt>
          <cx:pt idx="827">3.5895999999999999</cx:pt>
          <cx:pt idx="828">11.4696</cx:pt>
          <cx:pt idx="829">9.0583999999999989</cx:pt>
          <cx:pt idx="830">14.902139999999999</cx:pt>
          <cx:pt idx="831">40.331869999999995</cx:pt>
          <cx:pt idx="832">19.225000000000001</cx:pt>
          <cx:pt idx="833">38.1554</cx:pt>
          <cx:pt idx="834">7.5712000000000002</cx:pt>
          <cx:pt idx="835">37.886699999999998</cx:pt>
          <cx:pt idx="836">47.022500000000001</cx:pt>
          <cx:pt idx="837">4.1023999999999994</cx:pt>
          <cx:pt idx="838">44.066799999999901</cx:pt>
          <cx:pt idx="839">17.687000000000001</cx:pt>
          <cx:pt idx="840">39.498899999999999</cx:pt>
          <cx:pt idx="841">16.625780000000002</cx:pt>
          <cx:pt idx="842">11.894399999999999</cx:pt>
          <cx:pt idx="843">19.225000000000001</cx:pt>
          <cx:pt idx="844">10.6952999999999</cx:pt>
          <cx:pt idx="845">44.872899999999902</cx:pt>
          <cx:pt idx="846">9.0583999999999989</cx:pt>
          <cx:pt idx="847">11.328000000000001</cx:pt>
          <cx:pt idx="848">12.825000000000001</cx:pt>
          <cx:pt idx="849">15.034799999999901</cx:pt>
          <cx:pt idx="850">9.5840999999999994</cx:pt>
          <cx:pt idx="851">15.771799999999999</cx:pt>
          <cx:pt idx="852">36.274499999999996</cx:pt>
          <cx:pt idx="853">10.6952999999999</cx:pt>
          <cx:pt idx="854">10.973099999999999</cx:pt>
          <cx:pt idx="855">14.1707999999999</cx:pt>
          <cx:pt idx="856">14.8873999999999</cx:pt>
          <cx:pt idx="857">11.328000000000001</cx:pt>
          <cx:pt idx="858">3.2178199999999997</cx:pt>
          <cx:pt idx="859">40.86927</cx:pt>
          <cx:pt idx="860">17.3794</cx:pt>
          <cx:pt idx="861">14.0261999999999</cx:pt>
          <cx:pt idx="862">6.2927999999999997</cx:pt>
          <cx:pt idx="863">35.1997</cx:pt>
          <cx:pt idx="864">37.080599999999905</cx:pt>
          <cx:pt idx="865">10.139699999999999</cx:pt>
          <cx:pt idx="866">17.994599999999998</cx:pt>
          <cx:pt idx="867">12.9817499999999</cx:pt>
          <cx:pt idx="868">48.366</cx:pt>
          <cx:pt idx="869">12.177599999999899</cx:pt>
          <cx:pt idx="870">10.0008</cx:pt>
          <cx:pt idx="871">18.456</cx:pt>
          <cx:pt idx="872">11.752799999999999</cx:pt>
          <cx:pt idx="873">10.139699999999999</cx:pt>
          <cx:pt idx="874">39.767599999999995</cx:pt>
          <cx:pt idx="875">17.3794</cx:pt>
          <cx:pt idx="876">17.994599999999998</cx:pt>
          <cx:pt idx="877">17.533199999999997</cx:pt>
          <cx:pt idx="878">14.0261999999999</cx:pt>
          <cx:pt idx="879">15.182200000000002</cx:pt>
          <cx:pt idx="880">17.0718</cx:pt>
          <cx:pt idx="881">12.967500000000001</cx:pt>
          <cx:pt idx="882">5.7683999999999997</cx:pt>
          <cx:pt idx="883">17.2256</cx:pt>
          <cx:pt idx="884">35.495269999999898</cx:pt>
          <cx:pt idx="885">14.75474</cx:pt>
          <cx:pt idx="886">46.753799999999998</cx:pt>
          <cx:pt idx="887">12.825000000000001</cx:pt>
          <cx:pt idx="888">5.7683999999999997</cx:pt>
          <cx:pt idx="889">15.786539999999999</cx:pt>
          <cx:pt idx="890">11.611199999999899</cx:pt>
          <cx:pt idx="891">38.1554</cx:pt>
          <cx:pt idx="892">13.31766</cx:pt>
          <cx:pt idx="893">41.433540000000001</cx:pt>
          <cx:pt idx="894">17.3794</cx:pt>
          <cx:pt idx="895">15.034799999999901</cx:pt>
          <cx:pt idx="896">18.7636</cx:pt>
          <cx:pt idx="897">15.653880000000001</cx:pt>
          <cx:pt idx="898">39.498899999999999</cx:pt>
          <cx:pt idx="899">13.896059999999999</cx:pt>
          <cx:pt idx="900">6.1748099999999999</cx:pt>
          <cx:pt idx="901">7.5712000000000002</cx:pt>
          <cx:pt idx="902">11.894399999999999</cx:pt>
          <cx:pt idx="903">6.5549999999999997</cx:pt>
          <cx:pt idx="904">5.63729999999999</cx:pt>
          <cx:pt idx="905">38.692799999999998</cx:pt>
          <cx:pt idx="906">12.460799999999999</cx:pt>
          <cx:pt idx="907">15.771799999999999</cx:pt>
          <cx:pt idx="908">17.994599999999998</cx:pt>
          <cx:pt idx="909">16.764200000000002</cx:pt>
          <cx:pt idx="910">18.6098</cx:pt>
          <cx:pt idx="911">10.973099999999999</cx:pt>
          <cx:pt idx="912">10.7091899999999</cx:pt>
          <cx:pt idx="913">7.7063999999999995</cx:pt>
          <cx:pt idx="914">47.022500000000001</cx:pt>
          <cx:pt idx="915">17.2256</cx:pt>
          <cx:pt idx="916">12.177599999999899</cx:pt>
          <cx:pt idx="917">11.4696</cx:pt>
          <cx:pt idx="918">9.8619000000000003</cx:pt>
          <cx:pt idx="919">13.606860000000001</cx:pt>
          <cx:pt idx="920">44.899769999999997</cx:pt>
          <cx:pt idx="921">34.662300000000002</cx:pt>
          <cx:pt idx="922">36.811899999999895</cx:pt>
          <cx:pt idx="923">17.994599999999998</cx:pt>
          <cx:pt idx="924">52.127799999999901</cx:pt>
          <cx:pt idx="925">35.1997</cx:pt>
          <cx:pt idx="926">12.825000000000001</cx:pt>
          <cx:pt idx="927">11.894399999999999</cx:pt>
          <cx:pt idx="928">10.834199999999999</cx:pt>
          <cx:pt idx="929">10.4175</cx:pt>
          <cx:pt idx="930">12.036</cx:pt>
          <cx:pt idx="931">59.113999999999997</cx:pt>
          <cx:pt idx="932">19.378799999999998</cx:pt>
          <cx:pt idx="933">6.1616999999999997</cx:pt>
          <cx:pt idx="934">6.6860999999999908</cx:pt>
          <cx:pt idx="935">10.0008</cx:pt>
          <cx:pt idx="936">37.376169999999995</cx:pt>
          <cx:pt idx="937">39.230199999999897</cx:pt>
          <cx:pt idx="938">12.967499999999902</cx:pt>
          <cx:pt idx="939">10.6952999999999</cx:pt>
          <cx:pt idx="940">8.7880000000000003</cx:pt>
          <cx:pt idx="941">9.4451999999999998</cx:pt>
          <cx:pt idx="942">37.886699999999998</cx:pt>
          <cx:pt idx="943">8.9232000000000014</cx:pt>
          <cx:pt idx="944">12.602399999999999</cx:pt>
          <cx:pt idx="945">40.305</cx:pt>
          <cx:pt idx="946">10.834199999999999</cx:pt>
          <cx:pt idx="947">18.4713799999999</cx:pt>
          <cx:pt idx="948">42.454599999999999</cx:pt>
          <cx:pt idx="949">9.8619000000000003</cx:pt>
          <cx:pt idx="950">17.533199999999997</cx:pt>
          <cx:pt idx="951">17.08718</cx:pt>
          <cx:pt idx="952">70.668099999999697</cx:pt>
          <cx:pt idx="953">14.0261999999999</cx:pt>
          <cx:pt idx="954">10.4175</cx:pt>
          <cx:pt idx="955">8.9367199999999993</cx:pt>
          <cx:pt idx="956">16.93338</cx:pt>
          <cx:pt idx="957">12.460799999999999</cx:pt>
          <cx:pt idx="958">39.498899999999999</cx:pt>
          <cx:pt idx="959">18.302199999999999</cx:pt>
          <cx:pt idx="960">42.185899999999997</cx:pt>
          <cx:pt idx="961">11.894399999999999</cx:pt>
          <cx:pt idx="962">12.967500000000001</cx:pt>
          <cx:pt idx="963">4.6151999999999997</cx:pt>
          <cx:pt idx="964">14.1708</cx:pt>
          <cx:pt idx="965">38.1554</cx:pt>
          <cx:pt idx="966">15.9192</cx:pt>
          <cx:pt idx="967">17.3794</cx:pt>
          <cx:pt idx="968">40.305</cx:pt>
          <cx:pt idx="969">11.752799999999999</cx:pt>
          <cx:pt idx="970">35.468400000000003</cx:pt>
          <cx:pt idx="971">12.05016</cx:pt>
          <cx:pt idx="972">37.886699999999998</cx:pt>
          <cx:pt idx="973">11.111999999999899</cx:pt>
          <cx:pt idx="974">38.961499999999901</cx:pt>
          <cx:pt idx="975">15.6244</cx:pt>
          <cx:pt idx="976">6.5549999999999997</cx:pt>
          <cx:pt idx="977">15.034799999999901</cx:pt>
          <cx:pt idx="978">10.4175</cx:pt>
          <cx:pt idx="979">10.834199999999999</cx:pt>
          <cx:pt idx="980">17.2256</cx:pt>
          <cx:pt idx="981">6.2927999999999997</cx:pt>
          <cx:pt idx="982">14.8873999999999</cx:pt>
          <cx:pt idx="983">9.0583999999999989</cx:pt>
          <cx:pt idx="984">12.036</cx:pt>
          <cx:pt idx="985">17.994599999999998</cx:pt>
          <cx:pt idx="986">10.973099999999999</cx:pt>
          <cx:pt idx="987">62.338399999999709</cx:pt>
          <cx:pt idx="988">18.917400000000001</cx:pt>
          <cx:pt idx="989">37.886699999999998</cx:pt>
          <cx:pt idx="990">19.701779999999999</cx:pt>
          <cx:pt idx="991">4.1023999999999994</cx:pt>
          <cx:pt idx="992">44.604199999999999</cx:pt>
          <cx:pt idx="993">8.9232000000000014</cx:pt>
          <cx:pt idx="994">14.74</cx:pt>
          <cx:pt idx="995">16.917999999999999</cx:pt>
          <cx:pt idx="996">14.0261999999999</cx:pt>
          <cx:pt idx="997">40.573700000000002</cx:pt>
          <cx:pt idx="998">14.739999999999901</cx:pt>
          <cx:pt idx="999">11.752799999999999</cx:pt>
          <cx:pt idx="1000">15.9192</cx:pt>
          <cx:pt idx="1001">18.302199999999999</cx:pt>
          <cx:pt idx="1002">15.6244</cx:pt>
          <cx:pt idx="1003">13.1242499999999</cx:pt>
          <cx:pt idx="1004">4.3588000000000005</cx:pt>
          <cx:pt idx="1005">11.3421599999999</cx:pt>
          <cx:pt idx="1006">10.5564</cx:pt>
          <cx:pt idx="1007">37.376169999999995</cx:pt>
          <cx:pt idx="1008">19.071199999999997</cx:pt>
          <cx:pt idx="1009">15.034799999999901</cx:pt>
          <cx:pt idx="1010">12.319199999999899</cx:pt>
          <cx:pt idx="1011">11.611199999999899</cx:pt>
          <cx:pt idx="1012">6.8171999999999997</cx:pt>
          <cx:pt idx="1013">35.737099999999998</cx:pt>
          <cx:pt idx="1014">37.618000000000002</cx:pt>
          <cx:pt idx="1015">15.182200000000002</cx:pt>
          <cx:pt idx="1016">11.611199999999899</cx:pt>
          <cx:pt idx="1017">14.0261999999999</cx:pt>
          <cx:pt idx="1018">47.318069999999899</cx:pt>
          <cx:pt idx="1019">11.4696</cx:pt>
          <cx:pt idx="1020">16.917999999999999</cx:pt>
          <cx:pt idx="1021">18.148399999999899</cx:pt>
          <cx:pt idx="1022">19.532599999999999</cx:pt>
          <cx:pt idx="1023">38.692799999999998</cx:pt>
          <cx:pt idx="1024">35.763969999999901</cx:pt>
          <cx:pt idx="1025">15.771799999999999</cx:pt>
          <cx:pt idx="1026">10.4175</cx:pt>
          <cx:pt idx="1027">17.3794</cx:pt>
          <cx:pt idx="1028">15.639140000000001</cx:pt>
          <cx:pt idx="1029">48.903400000000005</cx:pt>
          <cx:pt idx="1030">38.424100000000003</cx:pt>
          <cx:pt idx="1031">10.4175</cx:pt>
          <cx:pt idx="1032">17.0718</cx:pt>
          <cx:pt idx="1033">17.3794</cx:pt>
          <cx:pt idx="1034">14.1708</cx:pt>
          <cx:pt idx="1035">37.3492999999999</cx:pt>
          <cx:pt idx="1036">18.148399999999899</cx:pt>
          <cx:pt idx="1037">10.139699999999999</cx:pt>
          <cx:pt idx="1038">9.8619000000000003</cx:pt>
          <cx:pt idx="1039">43.82497</cx:pt>
          <cx:pt idx="1040">10.973099999999999</cx:pt>
          <cx:pt idx="1041">18.625179999999901</cx:pt>
          <cx:pt idx="1042">17.702379999999902</cx:pt>
          <cx:pt idx="1043">9.4590899999999998</cx:pt>
          <cx:pt idx="1044">7.8415999999999997</cx:pt>
          <cx:pt idx="1045">13.447799999999999</cx:pt>
          <cx:pt idx="1046">43.798099999999998</cx:pt>
          <cx:pt idx="1047">10.5564</cx:pt>
          <cx:pt idx="1048">42.723299999999995</cx:pt>
          <cx:pt idx="1049">9.0583999999999989</cx:pt>
          <cx:pt idx="1050">16.764200000000002</cx:pt>
          <cx:pt idx="1051">10.431389999999901</cx:pt>
          <cx:pt idx="1052">9.722999999999999</cx:pt>
          <cx:pt idx="1053">41.648499999999999</cx:pt>
          <cx:pt idx="1054">5.63729999999999</cx:pt>
          <cx:pt idx="1055">45.141599999999997</cx:pt>
          <cx:pt idx="1056">15.491739999999901</cx:pt>
          <cx:pt idx="1057">46.780670000000001</cx:pt>
          <cx:pt idx="1058">9.722999999999999</cx:pt>
          <cx:pt idx="1059">16.764200000000002</cx:pt>
          <cx:pt idx="1060">12.460799999999999</cx:pt>
          <cx:pt idx="1061">4.6151999999999997</cx:pt>
          <cx:pt idx="1062">49.198969999999996</cx:pt>
          <cx:pt idx="1063">11.328000000000001</cx:pt>
          <cx:pt idx="1064">17.0718</cx:pt>
          <cx:pt idx="1065">17.24098</cx:pt>
          <cx:pt idx="1066">11.752799999999999</cx:pt>
          <cx:pt idx="1067">7.8415999999999997</cx:pt>
          <cx:pt idx="1068">43.2607</cx:pt>
          <cx:pt idx="1069">11.894399999999999</cx:pt>
          <cx:pt idx="1070">17.3794</cx:pt>
          <cx:pt idx="1071">16.625780000000002</cx:pt>
          <cx:pt idx="1072">4.1023999999999994</cx:pt>
          <cx:pt idx="1073">17.994599999999998</cx:pt>
          <cx:pt idx="1074">38.1554</cx:pt>
          <cx:pt idx="1075">10.278600000000001</cx:pt>
          <cx:pt idx="1076">12.967500000000001</cx:pt>
          <cx:pt idx="1077">14.315399999999901</cx:pt>
          <cx:pt idx="1078">5.63729999999999</cx:pt>
          <cx:pt idx="1079">12.177599999999899</cx:pt>
          <cx:pt idx="1080">5.7683999999999997</cx:pt>
          <cx:pt idx="1081">8.6527999999999992</cx:pt>
          <cx:pt idx="1082">7.3008000000000006</cx:pt>
          <cx:pt idx="1083">5.7683999999999997</cx:pt>
          <cx:pt idx="1084">9.722999999999999</cx:pt>
          <cx:pt idx="1085">43.529399999999903</cx:pt>
          <cx:pt idx="1086">5.63729999999999</cx:pt>
          <cx:pt idx="1087">13.896059999999899</cx:pt>
          <cx:pt idx="1088">38.424100000000003</cx:pt>
          <cx:pt idx="1089">6.2927999999999997</cx:pt>
          <cx:pt idx="1090">9.722999999999999</cx:pt>
          <cx:pt idx="1091">17.840799999999902</cx:pt>
          <cx:pt idx="1092">15.6244</cx:pt>
          <cx:pt idx="1093">10.6952999999999</cx:pt>
          <cx:pt idx="1094">13.736999999999899</cx:pt>
          <cx:pt idx="1095">34.930999999999997</cx:pt>
          <cx:pt idx="1096">47.291200000000003</cx:pt>
          <cx:pt idx="1097">11.4696</cx:pt>
          <cx:pt idx="1098">37.080599999999905</cx:pt>
          <cx:pt idx="1099">54.814799999999998</cx:pt>
          <cx:pt idx="1100">9.8619000000000003</cx:pt>
          <cx:pt idx="1101">37.080599999999905</cx:pt>
          <cx:pt idx="1102">15.771799999999999</cx:pt>
          <cx:pt idx="1103">18.7636</cx:pt>
          <cx:pt idx="1104">9.5840999999999994</cx:pt>
          <cx:pt idx="1105">62.875799999999906</cx:pt>
          <cx:pt idx="1106">10.139699999999999</cx:pt>
          <cx:pt idx="1107">4.9998000000000005</cx:pt>
          <cx:pt idx="1108">6.03059999999999</cx:pt>
          <cx:pt idx="1109">38.1554</cx:pt>
          <cx:pt idx="1110">10.834199999999999</cx:pt>
          <cx:pt idx="1111">36.543199999999999</cx:pt>
          <cx:pt idx="1112">17.2256</cx:pt>
          <cx:pt idx="1113">49.440800000000003</cx:pt>
          <cx:pt idx="1114">7.1655999999999995</cx:pt>
          <cx:pt idx="1115">17.3794</cx:pt>
          <cx:pt idx="1116">11.4696</cx:pt>
          <cx:pt idx="1117">12.319199999999899</cx:pt>
          <cx:pt idx="1118">13.881599999999999</cx:pt>
          <cx:pt idx="1119">44.362369999999999</cx:pt>
          <cx:pt idx="1120">9.4451999999999998</cx:pt>
          <cx:pt idx="1121">9.0583999999999989</cx:pt>
          <cx:pt idx="1122">18.148399999999899</cx:pt>
          <cx:pt idx="1123">15.786539999999999</cx:pt>
          <cx:pt idx="1124">15.786539999999999</cx:pt>
          <cx:pt idx="1125">36.838769999999997</cx:pt>
          <cx:pt idx="1126">35.737099999999998</cx:pt>
          <cx:pt idx="1127">11.328000000000001</cx:pt>
          <cx:pt idx="1128">18.778979999999901</cx:pt>
          <cx:pt idx="1129">40.86927</cx:pt>
          <cx:pt idx="1130">48.93027</cx:pt>
          <cx:pt idx="1131">38.719670000000001</cx:pt>
          <cx:pt idx="1132">5.89949999999999</cx:pt>
          <cx:pt idx="1133">9.4590899999999998</cx:pt>
          <cx:pt idx="1134">37.886699999999998</cx:pt>
          <cx:pt idx="1135">15.771799999999999</cx:pt>
          <cx:pt idx="1136">18.778979999999901</cx:pt>
          <cx:pt idx="1137">19.086580000000001</cx:pt>
          <cx:pt idx="1138">9.4451999999999998</cx:pt>
          <cx:pt idx="1139">16.764200000000002</cx:pt>
          <cx:pt idx="1140">47.291200000000003</cx:pt>
          <cx:pt idx="1141">8.6527999999999992</cx:pt>
          <cx:pt idx="1142">13.751459999999899</cx:pt>
          <cx:pt idx="1143">41.379800000000003</cx:pt>
          <cx:pt idx="1144">17.533199999999997</cx:pt>
          <cx:pt idx="1145">9.722999999999999</cx:pt>
          <cx:pt idx="1146">10.5564</cx:pt>
          <cx:pt idx="1147">17.871559999999999</cx:pt>
          <cx:pt idx="1148">8.7880000000000003</cx:pt>
          <cx:pt idx="1149">10.0008</cx:pt>
          <cx:pt idx="1150">10.0008</cx:pt>
          <cx:pt idx="1151">10.834199999999999</cx:pt>
          <cx:pt idx="1152">15.771799999999999</cx:pt>
          <cx:pt idx="1153">17.994599999999998</cx:pt>
          <cx:pt idx="1154">11.328000000000001</cx:pt>
          <cx:pt idx="1155">13.1242499999999</cx:pt>
          <cx:pt idx="1156">18.009979999999899</cx:pt>
          <cx:pt idx="1157">46.243269999999995</cx:pt>
          <cx:pt idx="1158">51.590400000000002</cx:pt>
          <cx:pt idx="1159">18.778979999999901</cx:pt>
          <cx:pt idx="1160">38.961499999999901</cx:pt>
          <cx:pt idx="1161">18.009979999999899</cx:pt>
          <cx:pt idx="1162">17.24098</cx:pt>
          <cx:pt idx="1163">40.842399999999998</cx:pt>
          <cx:pt idx="1164">10.6952999999999</cx:pt>
          <cx:pt idx="1165">39.230199999999897</cx:pt>
          <cx:pt idx="1166">13.447799999999999</cx:pt>
          <cx:pt idx="1167">10.973099999999999</cx:pt>
          <cx:pt idx="1168">5.5061999999999998</cx:pt>
          <cx:pt idx="1169">11.625359999999899</cx:pt>
          <cx:pt idx="1170">8.1120000000000001</cx:pt>
          <cx:pt idx="1171">9.0583999999999989</cx:pt>
          <cx:pt idx="1172">11.483759999999901</cx:pt>
          <cx:pt idx="1173">17.2256</cx:pt>
          <cx:pt idx="1174">7.3008000000000006</cx:pt>
          <cx:pt idx="1175">19.547980000000003</cx:pt>
          <cx:pt idx="1176">15.329599999999999</cx:pt>
          <cx:pt idx="1177">11.611199999999899</cx:pt>
          <cx:pt idx="1178">15.476999999999999</cx:pt>
          <cx:pt idx="1179">36.811899999999895</cx:pt>
          <cx:pt idx="1180">8.3959200000000003</cx:pt>
          <cx:pt idx="1181">16.917999999999999</cx:pt>
          <cx:pt idx="1182">10.0008</cx:pt>
          <cx:pt idx="1183">11.611199999999899</cx:pt>
          <cx:pt idx="1184">11.328000000000001</cx:pt>
          <cx:pt idx="1185">8.6527999999999992</cx:pt>
          <cx:pt idx="1186">12.319199999999899</cx:pt>
          <cx:pt idx="1187">15.04954</cx:pt>
          <cx:pt idx="1188">6.6860999999999908</cx:pt>
          <cx:pt idx="1189">15.182200000000002</cx:pt>
          <cx:pt idx="1190">58.307899999999705</cx:pt>
          <cx:pt idx="1191">10.973099999999999</cx:pt>
          <cx:pt idx="1192">17.994599999999998</cx:pt>
          <cx:pt idx="1193">17.533199999999997</cx:pt>
          <cx:pt idx="1194">10.6952999999999</cx:pt>
          <cx:pt idx="1195">35.495269999999898</cx:pt>
          <cx:pt idx="1196">37.886699999999998</cx:pt>
          <cx:pt idx="1197">11.752799999999999</cx:pt>
          <cx:pt idx="1198">3.5895999999999999</cx:pt>
          <cx:pt idx="1199">42.992000000000004</cx:pt>
          <cx:pt idx="1200">9.5840999999999994</cx:pt>
          <cx:pt idx="1201">17.3794</cx:pt>
          <cx:pt idx="1202">12.177599999999899</cx:pt>
          <cx:pt idx="1203">38.424100000000003</cx:pt>
          <cx:pt idx="1204">10.4175</cx:pt>
          <cx:pt idx="1205">54.814799999999998</cx:pt>
          <cx:pt idx="1206">15.786539999999999</cx:pt>
          <cx:pt idx="1207">13.881599999999999</cx:pt>
          <cx:pt idx="1208">11.752799999999999</cx:pt>
          <cx:pt idx="1209">10.278600000000001</cx:pt>
          <cx:pt idx="1210">42.185899999999997</cx:pt>
          <cx:pt idx="1211">40.573700000000002</cx:pt>
          <cx:pt idx="1212">14.74</cx:pt>
          <cx:pt idx="1213">9.8619000000000003</cx:pt>
          <cx:pt idx="1214">48.634699999999995</cx:pt>
          <cx:pt idx="1215">17.0718</cx:pt>
          <cx:pt idx="1216">9.722999999999999</cx:pt>
          <cx:pt idx="1217">11.766959999999999</cx:pt>
          <cx:pt idx="1218">12.05016</cx:pt>
          <cx:pt idx="1219">19.071199999999997</cx:pt>
          <cx:pt idx="1220">17.840799999999902</cx:pt>
          <cx:pt idx="1221">41.917200000000001</cx:pt>
          <cx:pt idx="1222">10.7091899999999</cx:pt>
          <cx:pt idx="1223">19.547980000000003</cx:pt>
          <cx:pt idx="1224">9.7368899999999794</cx:pt>
          <cx:pt idx="1225">4.8715999999999999</cx:pt>
          <cx:pt idx="1226">15.491739999999901</cx:pt>
          <cx:pt idx="1227">19.086580000000001</cx:pt>
          <cx:pt idx="1228">46.216399999999901</cx:pt>
          <cx:pt idx="1229">17.702379999999902</cx:pt>
          <cx:pt idx="1230">36.543199999999999</cx:pt>
          <cx:pt idx="1231">35.495269999999898</cx:pt>
          <cx:pt idx="1232">16.625780000000002</cx:pt>
          <cx:pt idx="1233">19.532599999999999</cx:pt>
          <cx:pt idx="1234">18.3175799999999</cx:pt>
          <cx:pt idx="1235">12.4749599999999</cx:pt>
          <cx:pt idx="1236">1.6794199999999999</cx:pt>
          <cx:pt idx="1237">11.4696</cx:pt>
          <cx:pt idx="1238">17.548580000000001</cx:pt>
          <cx:pt idx="1239">10.986989999999899</cx:pt>
          <cx:pt idx="1240">61.290469999999701</cx:pt>
          <cx:pt idx="1241">15.344340000000001</cx:pt>
          <cx:pt idx="1242">17.24098</cx:pt>
          <cx:pt idx="1243">14.315399999999901</cx:pt>
          <cx:pt idx="1244">37.107469999999999</cx:pt>
          <cx:pt idx="1245">13.462259999999901</cx:pt>
          <cx:pt idx="1246">42.992000000000004</cx:pt>
          <cx:pt idx="1247">16.779579999999999</cx:pt>
          <cx:pt idx="1248">50.542469999999696</cx:pt>
          <cx:pt idx="1249">10.7091899999999</cx:pt>
          <cx:pt idx="1250">12.319199999999899</cx:pt>
          <cx:pt idx="1251">15.491739999999901</cx:pt>
          <cx:pt idx="1252">12.839249999999899</cx:pt>
          <cx:pt idx="1253">40.305</cx:pt>
          <cx:pt idx="1254">36.811899999999895</cx:pt>
          <cx:pt idx="1255">18.163779999999999</cx:pt>
          <cx:pt idx="1256">47.049369999999705</cx:pt>
          <cx:pt idx="1257">12.4749599999999</cx:pt>
          <cx:pt idx="1258">12.839249999999899</cx:pt>
          <cx:pt idx="1259">10.7091899999999</cx:pt>
          <cx:pt idx="1260">17.394779999999898</cx:pt>
          <cx:pt idx="1261">34.662300000000002</cx:pt>
          <cx:pt idx="1262">40.842399999999998</cx:pt>
          <cx:pt idx="1263">15.786539999999999</cx:pt>
          <cx:pt idx="1264">17.2256</cx:pt>
          <cx:pt idx="1265">15.491739999999901</cx:pt>
          <cx:pt idx="1266">2.1794000000000002</cx:pt>
          <cx:pt idx="1267">12.839249999999899</cx:pt>
          <cx:pt idx="1268">1.55122</cx:pt>
          <cx:pt idx="1269">49.198969999999996</cx:pt>
          <cx:pt idx="1270">10.431389999999901</cx:pt>
          <cx:pt idx="1271">36.301369999999999</cx:pt>
          <cx:pt idx="1272">18.04074</cx:pt>
          <cx:pt idx="1273">9.722999999999999</cx:pt>
          <cx:pt idx="1274">47.291200000000003</cx:pt>
          <cx:pt idx="1275">18.148399999999899</cx:pt>
          <cx:pt idx="1276">15.9192</cx:pt>
          <cx:pt idx="1277">16.93338</cx:pt>
          <cx:pt idx="1278">11.894399999999999</cx:pt>
          <cx:pt idx="1279">16.93338</cx:pt>
          <cx:pt idx="1280">6.4370099999999999</cx:pt>
          <cx:pt idx="1281">10.4175</cx:pt>
          <cx:pt idx="1282">11.328000000000001</cx:pt>
          <cx:pt idx="1283">11.4696</cx:pt>
          <cx:pt idx="1284">44.066799999999901</cx:pt>
          <cx:pt idx="1285">4.6280199999999905</cx:pt>
          <cx:pt idx="1286">15.034799999999901</cx:pt>
          <cx:pt idx="1287">15.6244</cx:pt>
          <cx:pt idx="1288">38.424100000000003</cx:pt>
          <cx:pt idx="1289">14.1708</cx:pt>
          <cx:pt idx="1290">17.840799999999902</cx:pt>
          <cx:pt idx="1291">13.881599999999999</cx:pt>
          <cx:pt idx="1292">9.4590899999999998</cx:pt>
          <cx:pt idx="1293">11.611199999999899</cx:pt>
          <cx:pt idx="1294">38.182270000000003</cx:pt>
          <cx:pt idx="1295">17.533199999999997</cx:pt>
          <cx:pt idx="1296">14.0261999999999</cx:pt>
          <cx:pt idx="1297">16.764200000000002</cx:pt>
          <cx:pt idx="1298">6.5549999999999997</cx:pt>
          <cx:pt idx="1299">10.278600000000001</cx:pt>
          <cx:pt idx="1300">11.752799999999999</cx:pt>
          <cx:pt idx="1301">18.7636</cx:pt>
          <cx:pt idx="1302">14.0261999999999</cx:pt>
          <cx:pt idx="1303">6.5549999999999997</cx:pt>
          <cx:pt idx="1304">10.6952999999999</cx:pt>
          <cx:pt idx="1305">16.764200000000002</cx:pt>
          <cx:pt idx="1306">18.3175799999999</cx:pt>
          <cx:pt idx="1307">42.992000000000004</cx:pt>
          <cx:pt idx="1308">13.462259999999901</cx:pt>
          <cx:pt idx="1309">19.532599999999999</cx:pt>
          <cx:pt idx="1310">35.468400000000003</cx:pt>
          <cx:pt idx="1311">12.177599999999899</cx:pt>
          <cx:pt idx="1312">7.7199199999999992</cx:pt>
          <cx:pt idx="1313">18.302199999999999</cx:pt>
          <cx:pt idx="1314">19.378799999999998</cx:pt>
          <cx:pt idx="1315">10.0008</cx:pt>
          <cx:pt idx="1316">17.3794</cx:pt>
          <cx:pt idx="1317">12.191759999999901</cx:pt>
          <cx:pt idx="1318">39.767599999999995</cx:pt>
          <cx:pt idx="1319">5.89949999999999</cx:pt>
          <cx:pt idx="1320">9.5840999999999994</cx:pt>
          <cx:pt idx="1321">15.04954</cx:pt>
          <cx:pt idx="1322">36.838769999999997</cx:pt>
          <cx:pt idx="1323">35.495269999999898</cx:pt>
          <cx:pt idx="1324">15.786539999999999</cx:pt>
          <cx:pt idx="1325">17.0718</cx:pt>
          <cx:pt idx="1326">36.838769999999997</cx:pt>
          <cx:pt idx="1327">4.4870000000000001</cx:pt>
          <cx:pt idx="1328">37.107469999999999</cx:pt>
          <cx:pt idx="1329">17.840799999999902</cx:pt>
          <cx:pt idx="1330">4.4870000000000001</cx:pt>
          <cx:pt idx="1331">11.328000000000001</cx:pt>
          <cx:pt idx="1332">19.532599999999999</cx:pt>
          <cx:pt idx="1333">13.881599999999899</cx:pt>
          <cx:pt idx="1334">38.961499999999901</cx:pt>
          <cx:pt idx="1335">15.786539999999999</cx:pt>
          <cx:pt idx="1336">10.6952999999999</cx:pt>
          <cx:pt idx="1337">13.751459999999899</cx:pt>
          <cx:pt idx="1338">4.4870000000000001</cx:pt>
          <cx:pt idx="1339">8.3823999999999987</cx:pt>
          <cx:pt idx="1340">15.771799999999999</cx:pt>
          <cx:pt idx="1341">7.1655999999999995</cx:pt>
          <cx:pt idx="1342">5.63729999999999</cx:pt>
          <cx:pt idx="1343">11.4696</cx:pt>
          <cx:pt idx="1344">47.291200000000003</cx:pt>
          <cx:pt idx="1345">15.9192</cx:pt>
          <cx:pt idx="1346">14.0261999999999</cx:pt>
          <cx:pt idx="1347">16.779579999999999</cx:pt>
          <cx:pt idx="1348">10.6952999999999</cx:pt>
          <cx:pt idx="1349">10.431389999999901</cx:pt>
          <cx:pt idx="1350">11.328000000000001</cx:pt>
          <cx:pt idx="1351">12.177599999999899</cx:pt>
          <cx:pt idx="1352">18.302199999999999</cx:pt>
          <cx:pt idx="1353">11.4696</cx:pt>
          <cx:pt idx="1354">38.988370000000003</cx:pt>
          <cx:pt idx="1355">44.362369999999999</cx:pt>
          <cx:pt idx="1356">58.307899999999705</cx:pt>
          <cx:pt idx="1357">55.083499999999994</cx:pt>
          <cx:pt idx="1358">5.89949999999999</cx:pt>
          <cx:pt idx="1359">17.548580000000001</cx:pt>
          <cx:pt idx="1360">17.3794</cx:pt>
          <cx:pt idx="1361">11.611199999999899</cx:pt>
          <cx:pt idx="1362">38.424100000000003</cx:pt>
          <cx:pt idx="1363">52.127799999999901</cx:pt>
          <cx:pt idx="1364">8.6527999999999992</cx:pt>
          <cx:pt idx="1365">15.19694</cx:pt>
          <cx:pt idx="1366">17.0718</cx:pt>
          <cx:pt idx="1367">8.2472000000000012</cx:pt>
          <cx:pt idx="1368">43.529399999999903</cx:pt>
          <cx:pt idx="1369">11.752799999999999</cx:pt>
          <cx:pt idx="1370">17.533199999999997</cx:pt>
          <cx:pt idx="1371">42.508339999999698</cx:pt>
          <cx:pt idx="1372">17.687000000000001</cx:pt>
          <cx:pt idx="1373">10.4175</cx:pt>
          <cx:pt idx="1374">10.7091899999999</cx:pt>
          <cx:pt idx="1375">36.838769999999997</cx:pt>
          <cx:pt idx="1376">65.294099999999702</cx:pt>
          <cx:pt idx="1377">35.495269999999898</cx:pt>
          <cx:pt idx="1378">11.611199999999899</cx:pt>
          <cx:pt idx="1379">46.216399999999901</cx:pt>
          <cx:pt idx="1380">11.48376</cx:pt>
          <cx:pt idx="1381">15.491739999999901</cx:pt>
          <cx:pt idx="1382">17.394779999999898</cx:pt>
          <cx:pt idx="1383">15.329599999999999</cx:pt>
          <cx:pt idx="1384">10.431389999999901</cx:pt>
          <cx:pt idx="1385">17.3794</cx:pt>
          <cx:pt idx="1386">10.834199999999999</cx:pt>
          <cx:pt idx="1387">6.2927999999999997</cx:pt>
          <cx:pt idx="1388">17.3794</cx:pt>
          <cx:pt idx="1389">15.786539999999999</cx:pt>
          <cx:pt idx="1390">6.2927999999999997</cx:pt>
          <cx:pt idx="1391">38.1554</cx:pt>
          <cx:pt idx="1392">6.1616999999999997</cx:pt>
          <cx:pt idx="1393">11.4696</cx:pt>
          <cx:pt idx="1394">37.886699999999998</cx:pt>
          <cx:pt idx="1395">12.839249999999899</cx:pt>
          <cx:pt idx="1396">10.848089999999901</cx:pt>
          <cx:pt idx="1397">14.1852599999999</cx:pt>
          <cx:pt idx="1398">13.736999999999899</cx:pt>
          <cx:pt idx="1399">48.634699999999995</cx:pt>
          <cx:pt idx="1400">36.032670000000003</cx:pt>
          <cx:pt idx="1401">37.3492999999999</cx:pt>
          <cx:pt idx="1402">11.4696</cx:pt>
          <cx:pt idx="1403">10.6952999999999</cx:pt>
          <cx:pt idx="1404">12.839249999999899</cx:pt>
          <cx:pt idx="1405">51.052999999999905</cx:pt>
          <cx:pt idx="1406">17.0718</cx:pt>
          <cx:pt idx="1407">56.964399999999905</cx:pt>
          <cx:pt idx="1408">18.917400000000001</cx:pt>
          <cx:pt idx="1409">14.315399999999901</cx:pt>
          <cx:pt idx="1410">7.3008000000000006</cx:pt>
          <cx:pt idx="1411">17.687000000000001</cx:pt>
          <cx:pt idx="1412">15.344340000000001</cx:pt>
          <cx:pt idx="1413">10.6952999999999</cx:pt>
          <cx:pt idx="1414">15.491739999999901</cx:pt>
          <cx:pt idx="1415">13.751459999999899</cx:pt>
          <cx:pt idx="1416">37.886699999999998</cx:pt>
          <cx:pt idx="1417">10.139699999999999</cx:pt>
          <cx:pt idx="1418">17.2256</cx:pt>
          <cx:pt idx="1419">6.1616999999999997</cx:pt>
          <cx:pt idx="1420">42.723299999999995</cx:pt>
          <cx:pt idx="1421">18.7636</cx:pt>
          <cx:pt idx="1422">4.2305999999999999</cx:pt>
          <cx:pt idx="1423">14.0261999999999</cx:pt>
          <cx:pt idx="1424">4.6151999999999997</cx:pt>
          <cx:pt idx="1425">6.1616999999999997</cx:pt>
          <cx:pt idx="1426">12.460799999999999</cx:pt>
          <cx:pt idx="1427">10.5564</cx:pt>
          <cx:pt idx="1428">15.786539999999999</cx:pt>
          <cx:pt idx="1429">7.5712000000000002</cx:pt>
          <cx:pt idx="1430">10.986989999999899</cx:pt>
          <cx:pt idx="1431">18.4713799999999</cx:pt>
          <cx:pt idx="1432">36.543199999999999</cx:pt>
          <cx:pt idx="1433">17.3794</cx:pt>
          <cx:pt idx="1434">10.278600000000001</cx:pt>
          <cx:pt idx="1435">9.8619000000000003</cx:pt>
          <cx:pt idx="1436">12.839249999999899</cx:pt>
          <cx:pt idx="1437">10.973099999999999</cx:pt>
          <cx:pt idx="1438">19.240380000000002</cx:pt>
          <cx:pt idx="1439">8.5175999999999998</cx:pt>
          <cx:pt idx="1440">38.988370000000003</cx:pt>
          <cx:pt idx="1441">37.886699999999998</cx:pt>
          <cx:pt idx="1442">13.592399999999898</cx:pt>
          <cx:pt idx="1443">7.7063999999999995</cx:pt>
          <cx:pt idx="1444">17.994599999999998</cx:pt>
          <cx:pt idx="1445">18.917400000000001</cx:pt>
          <cx:pt idx="1446">45.141599999999997</cx:pt>
          <cx:pt idx="1447">8.6527999999999992</cx:pt>
          <cx:pt idx="1448">35.737099999999998</cx:pt>
          <cx:pt idx="1449">37.886699999999998</cx:pt>
          <cx:pt idx="1450">38.1554</cx:pt>
          <cx:pt idx="1451">15.476999999999999</cx:pt>
          <cx:pt idx="1452">5.7683999999999997</cx:pt>
          <cx:pt idx="1453">18.3175799999999</cx:pt>
          <cx:pt idx="1454">19.686400000000003</cx:pt>
          <cx:pt idx="1455">6.2927999999999997</cx:pt>
          <cx:pt idx="1456">8.1120000000000001</cx:pt>
          <cx:pt idx="1457">13.109999999999999</cx:pt>
          <cx:pt idx="1458">12.036</cx:pt>
          <cx:pt idx="1459">9.5840999999999994</cx:pt>
          <cx:pt idx="1460">13.881599999999899</cx:pt>
          <cx:pt idx="1461">15.6244</cx:pt>
          <cx:pt idx="1462">11.625359999999899</cx:pt>
          <cx:pt idx="1463">16.764200000000002</cx:pt>
          <cx:pt idx="1464">6.4239000000000006</cx:pt>
          <cx:pt idx="1465">4.2305999999999999</cx:pt>
          <cx:pt idx="1466">18.456</cx:pt>
          <cx:pt idx="1467">43.798099999999998</cx:pt>
          <cx:pt idx="1468">8.1120000000000001</cx:pt>
          <cx:pt idx="1469">16.917999999999999</cx:pt>
          <cx:pt idx="1470">6.1879200000000196</cx:pt>
          <cx:pt idx="1471">4.8715999999999999</cx:pt>
          <cx:pt idx="1472">9.4451999999999998</cx:pt>
          <cx:pt idx="1473">5.63729999999999</cx:pt>
          <cx:pt idx="1474">41.379800000000003</cx:pt>
          <cx:pt idx="1475">6.03059999999999</cx:pt>
          <cx:pt idx="1476">5.7683999999999997</cx:pt>
          <cx:pt idx="1477">39.498899999999999</cx:pt>
          <cx:pt idx="1478">10.139699999999999</cx:pt>
          <cx:pt idx="1479">15.9192</cx:pt>
          <cx:pt idx="1480">10.278600000000001</cx:pt>
          <cx:pt idx="1481">43.2607</cx:pt>
          <cx:pt idx="1482">17.24098</cx:pt>
          <cx:pt idx="1483">37.886699999999998</cx:pt>
          <cx:pt idx="1484">14.0406599999999</cx:pt>
          <cx:pt idx="1485">46.216399999999901</cx:pt>
          <cx:pt idx="1486">10.0008</cx:pt>
          <cx:pt idx="1487">10.139699999999999</cx:pt>
          <cx:pt idx="1488">39.525770000000001</cx:pt>
          <cx:pt idx="1489">13.1242499999999</cx:pt>
          <cx:pt idx="1490">17.3794</cx:pt>
          <cx:pt idx="1491">10.834199999999999</cx:pt>
          <cx:pt idx="1492">12.839249999999899</cx:pt>
          <cx:pt idx="1493">12.191759999999901</cx:pt>
          <cx:pt idx="1494">12.050159999999901</cx:pt>
          <cx:pt idx="1495">15.344340000000001</cx:pt>
          <cx:pt idx="1496">15.771799999999999</cx:pt>
          <cx:pt idx="1497">9.7368899999999989</cx:pt>
          <cx:pt idx="1498">13.447799999999999</cx:pt>
          <cx:pt idx="1499">6.03059999999999</cx:pt>
          <cx:pt idx="1500">18.3175799999999</cx:pt>
          <cx:pt idx="1501">7.3008000000000006</cx:pt>
          <cx:pt idx="1502">19.071199999999997</cx:pt>
          <cx:pt idx="1503">13.1242499999999</cx:pt>
          <cx:pt idx="1504">38.692799999999998</cx:pt>
          <cx:pt idx="1505">19.240380000000002</cx:pt>
          <cx:pt idx="1506">18.148399999999899</cx:pt>
          <cx:pt idx="1507">43.2607</cx:pt>
          <cx:pt idx="1508">15.786539999999999</cx:pt>
          <cx:pt idx="1509">9.8619000000000003</cx:pt>
          <cx:pt idx="1510">18.6098</cx:pt>
          <cx:pt idx="1511">7.8551199999999906</cx:pt>
          <cx:pt idx="1512">8.6527999999999992</cx:pt>
          <cx:pt idx="1513">5.63729999999999</cx:pt>
          <cx:pt idx="1514">34.662300000000002</cx:pt>
          <cx:pt idx="1515">50.784299999999902</cx:pt>
          <cx:pt idx="1516">12.177599999999899</cx:pt>
          <cx:pt idx="1517">47.049370000000003</cx:pt>
          <cx:pt idx="1518">10.139699999999999</cx:pt>
          <cx:pt idx="1519">9.7368899999999989</cx:pt>
          <cx:pt idx="1520">15.786539999999999</cx:pt>
          <cx:pt idx="1521">38.692799999999998</cx:pt>
          <cx:pt idx="1522">38.424100000000003</cx:pt>
          <cx:pt idx="1523">11.752799999999999</cx:pt>
          <cx:pt idx="1524">9.8619000000000003</cx:pt>
          <cx:pt idx="1525">3.08962</cx:pt>
          <cx:pt idx="1526">14.1707999999999</cx:pt>
          <cx:pt idx="1527">11.625359999999899</cx:pt>
          <cx:pt idx="1528">13.606859999999902</cx:pt>
          <cx:pt idx="1529">18.148399999999899</cx:pt>
          <cx:pt idx="1530">10.834199999999999</cx:pt>
          <cx:pt idx="1531">17.994599999999998</cx:pt>
          <cx:pt idx="1532">11.483759999999901</cx:pt>
          <cx:pt idx="1533">16.779579999999999</cx:pt>
          <cx:pt idx="1534">12.8535</cx:pt>
          <cx:pt idx="1535">11.894399999999999</cx:pt>
          <cx:pt idx="1536">11.92272</cx:pt>
          <cx:pt idx="1537">14.315399999999901</cx:pt>
          <cx:pt idx="1538">16.625780000000002</cx:pt>
          <cx:pt idx="1539">12.460799999999999</cx:pt>
          <cx:pt idx="1540">18.3175799999999</cx:pt>
          <cx:pt idx="1541">10.278600000000001</cx:pt>
          <cx:pt idx="1542">35.468400000000003</cx:pt>
          <cx:pt idx="1543">19.071199999999997</cx:pt>
          <cx:pt idx="1544">9.5840999999999994</cx:pt>
          <cx:pt idx="1545">10.6952999999999</cx:pt>
          <cx:pt idx="1546">13.1242499999999</cx:pt>
          <cx:pt idx="1547">15.034799999999901</cx:pt>
          <cx:pt idx="1548">15.491739999999901</cx:pt>
          <cx:pt idx="1549">13.751459999999899</cx:pt>
          <cx:pt idx="1550">10.431389999999901</cx:pt>
          <cx:pt idx="1551">12.839249999999899</cx:pt>
          <cx:pt idx="1552">18.4713799999999</cx:pt>
          <cx:pt idx="1553">53.498169999999902</cx:pt>
          <cx:pt idx="1554">16.917999999999999</cx:pt>
          <cx:pt idx="1555">9.7368899999999794</cx:pt>
          <cx:pt idx="1556">19.240380000000002</cx:pt>
          <cx:pt idx="1557">10.431389999999901</cx:pt>
          <cx:pt idx="1558">15.491739999999901</cx:pt>
          <cx:pt idx="1559">13.1242499999999</cx:pt>
          <cx:pt idx="1560">12.839249999999899</cx:pt>
          <cx:pt idx="1561">38.182270000000003</cx:pt>
          <cx:pt idx="1562">17.702379999999902</cx:pt>
          <cx:pt idx="1563">14.1852599999999</cx:pt>
          <cx:pt idx="1564">19.240380000000002</cx:pt>
          <cx:pt idx="1565">19.547980000000003</cx:pt>
          <cx:pt idx="1566">17.08718</cx:pt>
          <cx:pt idx="1567">15.786539999999999</cx:pt>
          <cx:pt idx="1568">15.786539999999999</cx:pt>
          <cx:pt idx="1569">10.431389999999901</cx:pt>
          <cx:pt idx="1570">13.751459999999899</cx:pt>
          <cx:pt idx="1571">13.881599999999899</cx:pt>
          <cx:pt idx="1572">5.7683999999999997</cx:pt>
          <cx:pt idx="1573">52.154669999999903</cx:pt>
          <cx:pt idx="1574">9.722999999999999</cx:pt>
          <cx:pt idx="1575">10.834199999999999</cx:pt>
          <cx:pt idx="1576">40.06317</cx:pt>
          <cx:pt idx="1577">41.379800000000003</cx:pt>
          <cx:pt idx="1578">10.7091899999999</cx:pt>
          <cx:pt idx="1579">13.1242499999999</cx:pt>
          <cx:pt idx="1580">14.3154</cx:pt>
          <cx:pt idx="1581">12.6023999999999</cx:pt>
          <cx:pt idx="1582">13.1242499999999</cx:pt>
          <cx:pt idx="1583">13.1242499999999</cx:pt>
          <cx:pt idx="1584">11.611199999999899</cx:pt>
          <cx:pt idx="1585">17.3794</cx:pt>
          <cx:pt idx="1586">15.6244</cx:pt>
          <cx:pt idx="1587">14.902139999999999</cx:pt>
          <cx:pt idx="1588">14.0406599999999</cx:pt>
          <cx:pt idx="1589">8.3823999999999987</cx:pt>
          <cx:pt idx="1590">5.5193099999999999</cx:pt>
          <cx:pt idx="1591">19.240380000000002</cx:pt>
          <cx:pt idx="1592">8.5175999999999998</cx:pt>
          <cx:pt idx="1593">19.547980000000003</cx:pt>
          <cx:pt idx="1594">36.838769999999997</cx:pt>
          <cx:pt idx="1595">8.3823999999999987</cx:pt>
          <cx:pt idx="1596">17.687000000000001</cx:pt>
          <cx:pt idx="1597">38.961499999999901</cx:pt>
          <cx:pt idx="1598">16.917999999999999</cx:pt>
          <cx:pt idx="1599">11.625359999999899</cx:pt>
          <cx:pt idx="1600">14.0406599999999</cx:pt>
          <cx:pt idx="1601">9.5840999999999994</cx:pt>
          <cx:pt idx="1602">9.8619000000000003</cx:pt>
          <cx:pt idx="1603">4.6151999999999997</cx:pt>
          <cx:pt idx="1604">17.533199999999997</cx:pt>
          <cx:pt idx="1605">44.335500000000003</cx:pt>
          <cx:pt idx="1606">10.292490000000001</cx:pt>
          <cx:pt idx="1607">14.0261999999999</cx:pt>
          <cx:pt idx="1608">4.3588000000000005</cx:pt>
          <cx:pt idx="1609">15.329599999999999</cx:pt>
          <cx:pt idx="1610">18.009979999999899</cx:pt>
          <cx:pt idx="1611">17.3794</cx:pt>
          <cx:pt idx="1612">38.424100000000003</cx:pt>
          <cx:pt idx="1613">10.834199999999999</cx:pt>
          <cx:pt idx="1614">38.692799999999998</cx:pt>
          <cx:pt idx="1615">10.6952999999999</cx:pt>
          <cx:pt idx="1616">12.319199999999899</cx:pt>
          <cx:pt idx="1617">7.3008000000000006</cx:pt>
          <cx:pt idx="1618">40.305</cx:pt>
          <cx:pt idx="1619">11.625359999999899</cx:pt>
          <cx:pt idx="1620">15.639140000000001</cx:pt>
          <cx:pt idx="1621">42.185899999999997</cx:pt>
          <cx:pt idx="1622">35.737099999999998</cx:pt>
          <cx:pt idx="1623">9.722999999999999</cx:pt>
          <cx:pt idx="1624">10.834199999999999</cx:pt>
          <cx:pt idx="1625">4.2305999999999999</cx:pt>
          <cx:pt idx="1626">15.182200000000002</cx:pt>
          <cx:pt idx="1627">9.4590899999999998</cx:pt>
          <cx:pt idx="1628">5.89949999999999</cx:pt>
          <cx:pt idx="1629">12.98175</cx:pt>
          <cx:pt idx="1630">5.89949999999999</cx:pt>
          <cx:pt idx="1631">14.0406599999999</cx:pt>
          <cx:pt idx="1632">14.75474</cx:pt>
          <cx:pt idx="1633">14.0406599999999</cx:pt>
          <cx:pt idx="1634">3.9741999999999997</cx:pt>
          <cx:pt idx="1635">16.917999999999999</cx:pt>
          <cx:pt idx="1636">9.722999999999999</cx:pt>
          <cx:pt idx="1637">40.305</cx:pt>
          <cx:pt idx="1638">17.533199999999997</cx:pt>
          <cx:pt idx="1639">18.6098</cx:pt>
          <cx:pt idx="1640">10.973099999999999</cx:pt>
          <cx:pt idx="1641">9.8619000000000003</cx:pt>
          <cx:pt idx="1642">6.03059999999999</cx:pt>
          <cx:pt idx="1643">36.274499999999996</cx:pt>
          <cx:pt idx="1644">47.828600000000002</cx:pt>
          <cx:pt idx="1645">15.771799999999999</cx:pt>
          <cx:pt idx="1646">5.5061999999999998</cx:pt>
          <cx:pt idx="1647">37.886699999999998</cx:pt>
          <cx:pt idx="1648">15.9192</cx:pt>
          <cx:pt idx="1649">37.644870000000004</cx:pt>
          <cx:pt idx="1650">17.3794</cx:pt>
          <cx:pt idx="1651">13.881599999999899</cx:pt>
          <cx:pt idx="1652">15.639140000000001</cx:pt>
          <cx:pt idx="1653">37.3492999999999</cx:pt>
          <cx:pt idx="1654">13.1242499999999</cx:pt>
          <cx:pt idx="1655">4.4870000000000001</cx:pt>
          <cx:pt idx="1656">16.625780000000002</cx:pt>
          <cx:pt idx="1657">15.786539999999999</cx:pt>
          <cx:pt idx="1658">13.1242499999999</cx:pt>
          <cx:pt idx="1659">37.91357</cx:pt>
          <cx:pt idx="1660">11.766959999999999</cx:pt>
          <cx:pt idx="1661">9.8619000000000003</cx:pt>
          <cx:pt idx="1662">14.0406599999999</cx:pt>
          <cx:pt idx="1663">51.052999999999905</cx:pt>
          <cx:pt idx="1664">14.74</cx:pt>
          <cx:pt idx="1665">46.485100000000003</cx:pt>
          <cx:pt idx="1666">8.6663199999999989</cx:pt>
          <cx:pt idx="1667">11.48376</cx:pt>
          <cx:pt idx="1668">9.5840999999999994</cx:pt>
          <cx:pt idx="1669">12.050159999999901</cx:pt>
          <cx:pt idx="1670">16.917999999999999</cx:pt>
          <cx:pt idx="1671">16.94876</cx:pt>
          <cx:pt idx="1672">4.7690400000000199</cx:pt>
          <cx:pt idx="1673">12.177599999999899</cx:pt>
          <cx:pt idx="1674">17.533199999999997</cx:pt>
          <cx:pt idx="1675">36.274499999999996</cx:pt>
          <cx:pt idx="1676">10.834199999999999</cx:pt>
          <cx:pt idx="1677">6.4239000000000006</cx:pt>
          <cx:pt idx="1678">40.86927</cx:pt>
          <cx:pt idx="1679">18.456</cx:pt>
          <cx:pt idx="1680">14.0406599999999</cx:pt>
          <cx:pt idx="1681">42.750169999999898</cx:pt>
          <cx:pt idx="1682">10.7091899999999</cx:pt>
          <cx:pt idx="1683">18.6098</cx:pt>
          <cx:pt idx="1684">17.0718</cx:pt>
          <cx:pt idx="1685">34.95787</cx:pt>
          <cx:pt idx="1686">17.533199999999997</cx:pt>
          <cx:pt idx="1687">8.6527999999999992</cx:pt>
          <cx:pt idx="1688">14.607339999999899</cx:pt>
          <cx:pt idx="1689">15.786539999999999</cx:pt>
          <cx:pt idx="1690">15.491739999999901</cx:pt>
          <cx:pt idx="1691">15.491739999999901</cx:pt>
          <cx:pt idx="1692">14.1852599999999</cx:pt>
          <cx:pt idx="1693">10.278600000000001</cx:pt>
          <cx:pt idx="1694">9.8619000000000003</cx:pt>
          <cx:pt idx="1695">18.148399999999899</cx:pt>
          <cx:pt idx="1696">12.036</cx:pt>
          <cx:pt idx="1697">11.894399999999999</cx:pt>
          <cx:pt idx="1698">5.89949999999999</cx:pt>
          <cx:pt idx="1699">5.89949999999999</cx:pt>
          <cx:pt idx="1700">11.483759999999901</cx:pt>
          <cx:pt idx="1701">8.5175999999999998</cx:pt>
          <cx:pt idx="1702">40.600569999999706</cx:pt>
          <cx:pt idx="1703">18.917400000000001</cx:pt>
          <cx:pt idx="1704">10.6952999999999</cx:pt>
          <cx:pt idx="1705">11.3421599999999</cx:pt>
          <cx:pt idx="1706">17.548580000000001</cx:pt>
          <cx:pt idx="1707">34.662300000000002</cx:pt>
          <cx:pt idx="1708">15.04954</cx:pt>
          <cx:pt idx="1709">19.532599999999999</cx:pt>
          <cx:pt idx="1710">11.328000000000001</cx:pt>
          <cx:pt idx="1711">15.786539999999999</cx:pt>
          <cx:pt idx="1712">48.097299999999898</cx:pt>
          <cx:pt idx="1713">11.4696</cx:pt>
          <cx:pt idx="1714">53.471299999999701</cx:pt>
          <cx:pt idx="1715">13.1242499999999</cx:pt>
          <cx:pt idx="1716">17.117939999999901</cx:pt>
          <cx:pt idx="1717">13.1242499999999</cx:pt>
          <cx:pt idx="1718">34.689170000000004</cx:pt>
          <cx:pt idx="1719">13.881599999999999</cx:pt>
          <cx:pt idx="1720">7.9903199999999996</cx:pt>
          <cx:pt idx="1721">40.600569999999706</cx:pt>
          <cx:pt idx="1722">13.1242499999999</cx:pt>
          <cx:pt idx="1723">18.148399999999899</cx:pt>
          <cx:pt idx="1724">10.973099999999999</cx:pt>
          <cx:pt idx="1725">11.611199999999899</cx:pt>
          <cx:pt idx="1726">38.692799999999998</cx:pt>
          <cx:pt idx="1727">14.0406599999999</cx:pt>
          <cx:pt idx="1728">9.8619000000000003</cx:pt>
          <cx:pt idx="1729">6.03059999999999</cx:pt>
          <cx:pt idx="1730">13.1242499999999</cx:pt>
          <cx:pt idx="1731">35.737099999999998</cx:pt>
          <cx:pt idx="1732">35.737099999999998</cx:pt>
          <cx:pt idx="1733">15.329599999999999</cx:pt>
          <cx:pt idx="1734">36.005800000000001</cx:pt>
          <cx:pt idx="1735">40.573700000000002</cx:pt>
          <cx:pt idx="1736">10.848089999999901</cx:pt>
          <cx:pt idx="1737">14.0406599999999</cx:pt>
          <cx:pt idx="1738">5.7683999999999997</cx:pt>
          <cx:pt idx="1739">36.838769999999997</cx:pt>
          <cx:pt idx="1740">8.9232000000000014</cx:pt>
          <cx:pt idx="1741">5.89949999999999</cx:pt>
          <cx:pt idx="1742">12.0117799999999</cx:pt>
          <cx:pt idx="1743">17.24098</cx:pt>
          <cx:pt idx="1744">11.4696</cx:pt>
          <cx:pt idx="1745">8.3823999999999987</cx:pt>
          <cx:pt idx="1746">9.8619000000000003</cx:pt>
          <cx:pt idx="1747">13.1242499999999</cx:pt>
          <cx:pt idx="1748">13.1242499999999</cx:pt>
          <cx:pt idx="1749">19.547980000000003</cx:pt>
          <cx:pt idx="1750">10.01469</cx:pt>
          <cx:pt idx="1751">18.009979999999899</cx:pt>
          <cx:pt idx="1752">10.4175</cx:pt>
          <cx:pt idx="1753">15.668620000000001</cx:pt>
          <cx:pt idx="1754">10.7091899999999</cx:pt>
          <cx:pt idx="1755">18.917400000000001</cx:pt>
          <cx:pt idx="1756">40.86927</cx:pt>
          <cx:pt idx="1757">4.3588000000000005</cx:pt>
          <cx:pt idx="1758">10.7091899999999</cx:pt>
          <cx:pt idx="1759">56.722569999999692</cx:pt>
          <cx:pt idx="1760">35.468400000000003</cx:pt>
          <cx:pt idx="1761">43.798099999999998</cx:pt>
          <cx:pt idx="1762">11.328000000000001</cx:pt>
          <cx:pt idx="1763">14.607339999999899</cx:pt>
          <cx:pt idx="1764">19.071199999999997</cx:pt>
          <cx:pt idx="1765">18.917400000000001</cx:pt>
          <cx:pt idx="1766">52.127799999999901</cx:pt>
          <cx:pt idx="1767">15.786539999999999</cx:pt>
          <cx:pt idx="1768">46.243269999999995</cx:pt>
          <cx:pt idx="1769">36.838769999999997</cx:pt>
          <cx:pt idx="1770">19.532599999999999</cx:pt>
          <cx:pt idx="1771">6.2927999999999997</cx:pt>
          <cx:pt idx="1772">11.328000000000001</cx:pt>
          <cx:pt idx="1773">8.2472000000000012</cx:pt>
          <cx:pt idx="1774">18.148399999999899</cx:pt>
          <cx:pt idx="1775">16.625780000000002</cx:pt>
          <cx:pt idx="1776">35.763969999999901</cx:pt>
          <cx:pt idx="1777">3.4742199999999896</cx:pt>
          <cx:pt idx="1778">16.625780000000002</cx:pt>
          <cx:pt idx="1779">15.491739999999901</cx:pt>
          <cx:pt idx="1780">16.93338</cx:pt>
          <cx:pt idx="1781">14.0406599999999</cx:pt>
          <cx:pt idx="1782">11.625359999999899</cx:pt>
          <cx:pt idx="1783">13.751459999999899</cx:pt>
          <cx:pt idx="1784">54.841670000000001</cx:pt>
          <cx:pt idx="1785">11.3421599999999</cx:pt>
          <cx:pt idx="1786">15.786539999999999</cx:pt>
          <cx:pt idx="1787">15.491739999999901</cx:pt>
          <cx:pt idx="1788">14.75474</cx:pt>
          <cx:pt idx="1789">19.547980000000003</cx:pt>
          <cx:pt idx="1790">41.675370000000001</cx:pt>
          <cx:pt idx="1791">17.687000000000001</cx:pt>
          <cx:pt idx="1792">37.644870000000004</cx:pt>
          <cx:pt idx="1793">16.93338</cx:pt>
          <cx:pt idx="1794">17.702379999999902</cx:pt>
          <cx:pt idx="1795">36.892509999999902</cx:pt>
          <cx:pt idx="1796">6.6860999999999908</cx:pt>
          <cx:pt idx="1797">14.0406599999999</cx:pt>
          <cx:pt idx="1798">10.431389999999901</cx:pt>
          <cx:pt idx="1799">11.625359999999899</cx:pt>
          <cx:pt idx="1800">5.89949999999999</cx:pt>
          <cx:pt idx="1801">3.8460000000000001</cx:pt>
          <cx:pt idx="1802">5.89949999999999</cx:pt>
          <cx:pt idx="1803">10.5564</cx:pt>
          <cx:pt idx="1804">6.03059999999999</cx:pt>
          <cx:pt idx="1805">17.856179999999998</cx:pt>
          <cx:pt idx="1806">48.93027</cx:pt>
          <cx:pt idx="1807">18.456</cx:pt>
          <cx:pt idx="1808">15.476999999999999</cx:pt>
          <cx:pt idx="1809">18.3175799999999</cx:pt>
          <cx:pt idx="1810">40.86927</cx:pt>
          <cx:pt idx="1811">35.1997</cx:pt>
          <cx:pt idx="1812">39.525770000000001</cx:pt>
          <cx:pt idx="1813">11.752799999999999</cx:pt>
          <cx:pt idx="1814">11.48376</cx:pt>
          <cx:pt idx="1815">8.1120000000000001</cx:pt>
          <cx:pt idx="1816">5.89949999999999</cx:pt>
          <cx:pt idx="1817">12.319199999999899</cx:pt>
          <cx:pt idx="1818">38.692799999999998</cx:pt>
          <cx:pt idx="1819">16.764200000000002</cx:pt>
          <cx:pt idx="1820">15.786539999999999</cx:pt>
          <cx:pt idx="1821">10.986989999999899</cx:pt>
          <cx:pt idx="1822">44.631069999999703</cx:pt>
        </cx:lvl>
      </cx:numDim>
    </cx:data>
    <cx:data id="9">
      <cx:numDim type="val">
        <cx:f>US_Region_Box_Plots!$M$2:$M$6755</cx:f>
        <cx:lvl ptCount="6754" formatCode="_(* #,##0_);_(* \(#,##0\);_(* &quot;-&quot;??_);_(@_)">
          <cx:pt idx="0">5.6781600000000001</cx:pt>
          <cx:pt idx="1">12.319199999999899</cx:pt>
          <cx:pt idx="2">37.1074699999999</cx:pt>
          <cx:pt idx="3">5.8197600000000005</cx:pt>
          <cx:pt idx="4">12.319199999999899</cx:pt>
          <cx:pt idx="5">10.92234</cx:pt>
          <cx:pt idx="6">18.009979999999899</cx:pt>
          <cx:pt idx="7">4.2434199999999995</cx:pt>
          <cx:pt idx="8">9.1535399999999907</cx:pt>
          <cx:pt idx="9">5.63729999999999</cx:pt>
          <cx:pt idx="10">18.009979999999899</cx:pt>
          <cx:pt idx="11">9.30093999999999</cx:pt>
          <cx:pt idx="12">39.042110000000001</cx:pt>
          <cx:pt idx="13">3.08962</cx:pt>
          <cx:pt idx="14">26.359469999999902</cx:pt>
          <cx:pt idx="15">10.037939999999999</cx:pt>
          <cx:pt idx="16">6.8171999999999997</cx:pt>
          <cx:pt idx="17">9.44834</cx:pt>
          <cx:pt idx="18">39.498899999999999</cx:pt>
          <cx:pt idx="19">6.6860999999999908</cx:pt>
          <cx:pt idx="20">12.01178</cx:pt>
          <cx:pt idx="21">12.4731799999999</cx:pt>
          <cx:pt idx="22">5.9613599999999902</cx:pt>
          <cx:pt idx="23">13.39598</cx:pt>
          <cx:pt idx="24">3.42171</cx:pt>
          <cx:pt idx="25">9.44834</cx:pt>
          <cx:pt idx="26">48.097299999999699</cx:pt>
          <cx:pt idx="27">18.009979999999899</cx:pt>
          <cx:pt idx="28">17.08718</cx:pt>
          <cx:pt idx="29">4.6151999999999997</cx:pt>
          <cx:pt idx="30">4.6103199999999998</cx:pt>
          <cx:pt idx="31">32.808269999999901</cx:pt>
          <cx:pt idx="32">26.090769999999903</cx:pt>
          <cx:pt idx="33">9.7431400000000004</cx:pt>
          <cx:pt idx="34">12.934579999999901</cx:pt>
          <cx:pt idx="35">10.834199999999999</cx:pt>
          <cx:pt idx="36">5.5061999999999998</cx:pt>
          <cx:pt idx="37">4.3399200000000002</cx:pt>
          <cx:pt idx="38">38.450969999999899</cx:pt>
          <cx:pt idx="39">18.009979999999899</cx:pt>
          <cx:pt idx="40">43.824969999999901</cx:pt>
          <cx:pt idx="41">3.81501</cx:pt>
          <cx:pt idx="42">3.2178199999999997</cx:pt>
          <cx:pt idx="43">3.81501</cx:pt>
          <cx:pt idx="44">5.6781600000000001</cx:pt>
          <cx:pt idx="45">26.090769999999903</cx:pt>
          <cx:pt idx="46">46.243269999999995</cx:pt>
          <cx:pt idx="47">10.5564</cx:pt>
          <cx:pt idx="48">17.24098</cx:pt>
          <cx:pt idx="49">4.07721</cx:pt>
          <cx:pt idx="50">43.556269999999905</cx:pt>
          <cx:pt idx="51">18.778979999999901</cx:pt>
          <cx:pt idx="52">15.786539999999999</cx:pt>
          <cx:pt idx="53">5.1511199999999997</cx:pt>
          <cx:pt idx="54">12.93458</cx:pt>
          <cx:pt idx="55">16.779579999999999</cx:pt>
          <cx:pt idx="56">15.786539999999999</cx:pt>
          <cx:pt idx="57">45.9745699999999</cx:pt>
          <cx:pt idx="58">12.3333599999999</cx:pt>
          <cx:pt idx="59">6.4239000000000006</cx:pt>
          <cx:pt idx="60">11.894399999999999</cx:pt>
          <cx:pt idx="61">4.07721</cx:pt>
          <cx:pt idx="62">4.8715999999999999</cx:pt>
          <cx:pt idx="63">16.779579999999999</cx:pt>
          <cx:pt idx="64">5.9613599999999902</cx:pt>
          <cx:pt idx="65">12.934579999999901</cx:pt>
          <cx:pt idx="66">27.97167</cx:pt>
          <cx:pt idx="67">4.9998000000000005</cx:pt>
          <cx:pt idx="68">34.420469999999895</cx:pt>
          <cx:pt idx="69">5.8197600000000005</cx:pt>
          <cx:pt idx="70">26.090769999999903</cx:pt>
          <cx:pt idx="71">9.4451999999999998</cx:pt>
          <cx:pt idx="72">3.08962</cx:pt>
          <cx:pt idx="73">9.7431400000000004</cx:pt>
          <cx:pt idx="74">5.6781600000000001</cx:pt>
          <cx:pt idx="75">40.331869999999896</cx:pt>
          <cx:pt idx="76">9.7431400000000004</cx:pt>
          <cx:pt idx="77">31.196069999999899</cx:pt>
          <cx:pt idx="78">5.4309900000000004</cx:pt>
          <cx:pt idx="79">9.5957399999999993</cx:pt>
          <cx:pt idx="80">18.625179999999901</cx:pt>
          <cx:pt idx="81">5.8197600000000005</cx:pt>
          <cx:pt idx="82">5.6781600000000001</cx:pt>
          <cx:pt idx="83">26.090769999999903</cx:pt>
          <cx:pt idx="84">8.4165399999999995</cx:pt>
          <cx:pt idx="85">26.359469999999902</cx:pt>
          <cx:pt idx="86">3.08962</cx:pt>
          <cx:pt idx="87">46.5119699999997</cx:pt>
          <cx:pt idx="88">4.20472</cx:pt>
          <cx:pt idx="89">12.93458</cx:pt>
          <cx:pt idx="90">10.92234</cx:pt>
          <cx:pt idx="91">10.62754</cx:pt>
          <cx:pt idx="92">6.14175</cx:pt>
          <cx:pt idx="93">7.9767999999999892</cx:pt>
          <cx:pt idx="94">5.4309900000000004</cx:pt>
          <cx:pt idx="95">6.5549999999999997</cx:pt>
          <cx:pt idx="96">2.6922000000000001</cx:pt>
          <cx:pt idx="97">4.8844199999999995</cx:pt>
          <cx:pt idx="98">3.5895999999999999</cx:pt>
          <cx:pt idx="99">6.14175</cx:pt>
          <cx:pt idx="100">3.08962</cx:pt>
          <cx:pt idx="101">3.68391</cx:pt>
          <cx:pt idx="102">5.7683999999999997</cx:pt>
          <cx:pt idx="103">2.3204199999999999</cx:pt>
          <cx:pt idx="104">5.8197600000000005</cx:pt>
          <cx:pt idx="105">3.7178000000000004</cx:pt>
          <cx:pt idx="106">7.4359999999999999</cx:pt>
          <cx:pt idx="107">38.719669999999901</cx:pt>
          <cx:pt idx="108">28.777769999999904</cx:pt>
          <cx:pt idx="109">28.777769999999904</cx:pt>
          <cx:pt idx="110">4.6151999999999997</cx:pt>
          <cx:pt idx="111">36.032670000000003</cx:pt>
          <cx:pt idx="112">10.48014</cx:pt>
          <cx:pt idx="113">14.164979999999899</cx:pt>
          <cx:pt idx="114">4.7433999999999994</cx:pt>
          <cx:pt idx="115">15.329599999999999</cx:pt>
          <cx:pt idx="116">7.1655999999999995</cx:pt>
          <cx:pt idx="117">26.359469999999902</cx:pt>
          <cx:pt idx="118">17.994599999999998</cx:pt>
          <cx:pt idx="119">1.16662</cx:pt>
          <cx:pt idx="120">35.495269999999898</cx:pt>
          <cx:pt idx="121">12.177599999999899</cx:pt>
          <cx:pt idx="122">9.7431400000000004</cx:pt>
          <cx:pt idx="123">2.1922199999999998</cx:pt>
          <cx:pt idx="124">5.1511199999999997</cx:pt>
          <cx:pt idx="125">27.702969999999898</cx:pt>
          <cx:pt idx="126">5.9613599999999902</cx:pt>
          <cx:pt idx="127">2.0640200000000002</cx:pt>
          <cx:pt idx="128">26.359469999999902</cx:pt>
          <cx:pt idx="129">35.763969999999901</cx:pt>
          <cx:pt idx="130">7.2444600000000001</cx:pt>
          <cx:pt idx="131">6.8171999999999997</cx:pt>
          <cx:pt idx="132">5.4309900000000004</cx:pt>
          <cx:pt idx="133">16.764200000000002</cx:pt>
          <cx:pt idx="134">33.345669999999899</cx:pt>
          <cx:pt idx="135">10.431389999999901</cx:pt>
          <cx:pt idx="136">1.42301999999999</cx:pt>
          <cx:pt idx="137">27.702970000000001</cx:pt>
          <cx:pt idx="138">29.046469999999903</cx:pt>
          <cx:pt idx="139">17.24098</cx:pt>
          <cx:pt idx="140">17.856179999999998</cx:pt>
          <cx:pt idx="141">17.08718</cx:pt>
          <cx:pt idx="142">9.890539999999989</cx:pt>
          <cx:pt idx="143">14.164979999999899</cx:pt>
          <cx:pt idx="144">42.212769999999999</cx:pt>
          <cx:pt idx="145">10.48014</cx:pt>
          <cx:pt idx="146">5.1279999999999903</cx:pt>
          <cx:pt idx="147">13.549779999999901</cx:pt>
          <cx:pt idx="148">7.3890599999999997</cx:pt>
          <cx:pt idx="149">12.4731799999999</cx:pt>
          <cx:pt idx="150">32.808269999999901</cx:pt>
          <cx:pt idx="151">10.18534</cx:pt>
          <cx:pt idx="152">14.164979999999899</cx:pt>
          <cx:pt idx="153">38.719669999999901</cx:pt>
          <cx:pt idx="154">31.464769999999898</cx:pt>
        </cx:lvl>
      </cx:numDim>
    </cx:data>
    <cx:data id="10">
      <cx:numDim type="val">
        <cx:f>US_Region_Box_Plots!$N$2:$N$6755</cx:f>
        <cx:lvl ptCount="6754" formatCode="_(* #,##0_);_(* \(#,##0\);_(* &quot;-&quot;??_);_(@_)">
          <cx:pt idx="0">5.9613599999999902</cx:pt>
          <cx:pt idx="1">12.3333599999999</cx:pt>
          <cx:pt idx="2">15.04954</cx:pt>
          <cx:pt idx="3">11.704180000000001</cx:pt>
          <cx:pt idx="4">13.1242499999999</cx:pt>
          <cx:pt idx="5">11.625359999999899</cx:pt>
          <cx:pt idx="6">13.1242499999999</cx:pt>
          <cx:pt idx="7">1.42302</cx:pt>
          <cx:pt idx="8">13.1242499999999</cx:pt>
          <cx:pt idx="9">11.625359999999899</cx:pt>
          <cx:pt idx="10">11.625359999999899</cx:pt>
          <cx:pt idx="11">15.04954</cx:pt>
          <cx:pt idx="12">13.1242499999999</cx:pt>
          <cx:pt idx="13">6.6660599999999999</cx:pt>
          <cx:pt idx="14">15.04954</cx:pt>
          <cx:pt idx="15">5.1511199999999997</cx:pt>
          <cx:pt idx="16">9.3201899999999789</cx:pt>
          <cx:pt idx="17">5.1511199999999997</cx:pt>
          <cx:pt idx="18">37.913569999999702</cx:pt>
          <cx:pt idx="19">35.495269999999898</cx:pt>
          <cx:pt idx="20">13.1242499999999</cx:pt>
          <cx:pt idx="21">18.778979999999901</cx:pt>
          <cx:pt idx="22">13.1242499999999</cx:pt>
          <cx:pt idx="23">40.600569999999706</cx:pt>
          <cx:pt idx="24">13.1242499999999</cx:pt>
          <cx:pt idx="25">15.04954</cx:pt>
          <cx:pt idx="26">12.3333599999999</cx:pt>
          <cx:pt idx="27">13.1242499999999</cx:pt>
          <cx:pt idx="28">13.1242499999999</cx:pt>
          <cx:pt idx="29">13.1242499999999</cx:pt>
          <cx:pt idx="30">4.2434199999999995</cx:pt>
          <cx:pt idx="31">5.4309900000000004</cx:pt>
          <cx:pt idx="32">6.9552600000000009</cx:pt>
          <cx:pt idx="33">11.625359999999899</cx:pt>
          <cx:pt idx="34">12.839249999999899</cx:pt>
          <cx:pt idx="35">13.1242499999999</cx:pt>
          <cx:pt idx="36">17.24098</cx:pt>
          <cx:pt idx="37">10.7091899999999</cx:pt>
          <cx:pt idx="38">13.1242499999999</cx:pt>
          <cx:pt idx="39">13.1242499999999</cx:pt>
          <cx:pt idx="40">13.1242499999999</cx:pt>
          <cx:pt idx="41">13.1242499999999</cx:pt>
          <cx:pt idx="42">15.04954</cx:pt>
          <cx:pt idx="43">11.625359999999899</cx:pt>
          <cx:pt idx="44">11.625359999999899</cx:pt>
          <cx:pt idx="45">12.839249999999899</cx:pt>
          <cx:pt idx="46">13.1242499999999</cx:pt>
          <cx:pt idx="47">11.3421599999999</cx:pt>
          <cx:pt idx="48">18.778979999999901</cx:pt>
          <cx:pt idx="49">11.3421599999999</cx:pt>
          <cx:pt idx="50">13.1242499999999</cx:pt>
          <cx:pt idx="51">13.1242499999999</cx:pt>
          <cx:pt idx="52">13.1242499999999</cx:pt>
          <cx:pt idx="53">11.625359999999899</cx:pt>
          <cx:pt idx="54">11.625359999999899</cx:pt>
          <cx:pt idx="55">13.1242499999999</cx:pt>
          <cx:pt idx="56">11.625359999999899</cx:pt>
          <cx:pt idx="57">13.1242499999999</cx:pt>
          <cx:pt idx="58">13.8573799999999</cx:pt>
          <cx:pt idx="59">13.1242499999999</cx:pt>
          <cx:pt idx="60">13.1242499999999</cx:pt>
          <cx:pt idx="61">11.625359999999899</cx:pt>
          <cx:pt idx="62">13.1242499999999</cx:pt>
          <cx:pt idx="63">11.625359999999899</cx:pt>
          <cx:pt idx="64">13.1242499999999</cx:pt>
          <cx:pt idx="65">18.778979999999901</cx:pt>
          <cx:pt idx="66">6.8171999999999997</cx:pt>
          <cx:pt idx="67">11.625359999999899</cx:pt>
          <cx:pt idx="68">5.8197600000000005</cx:pt>
          <cx:pt idx="69">13.1242499999999</cx:pt>
          <cx:pt idx="70">35.763969999999901</cx:pt>
          <cx:pt idx="71">13.1242499999999</cx:pt>
          <cx:pt idx="72">13.1242499999999</cx:pt>
          <cx:pt idx="73">13.1242499999999</cx:pt>
          <cx:pt idx="74">4.8807200000000002</cx:pt>
          <cx:pt idx="75">25.822069999999904</cx:pt>
          <cx:pt idx="76">15.786539999999999</cx:pt>
          <cx:pt idx="77">14.164979999999899</cx:pt>
          <cx:pt idx="78">9.44834</cx:pt>
          <cx:pt idx="79">15.491739999999901</cx:pt>
          <cx:pt idx="80">13.1242499999999</cx:pt>
          <cx:pt idx="81">18.778979999999901</cx:pt>
          <cx:pt idx="82">13.1242499999999</cx:pt>
          <cx:pt idx="83">15.786539999999999</cx:pt>
          <cx:pt idx="84">5.1511199999999997</cx:pt>
          <cx:pt idx="85">13.1242499999999</cx:pt>
          <cx:pt idx="86">13.1242499999999</cx:pt>
          <cx:pt idx="87">11.625359999999899</cx:pt>
          <cx:pt idx="88">15.04954</cx:pt>
          <cx:pt idx="89">11.625359999999899</cx:pt>
          <cx:pt idx="90">13.1242499999999</cx:pt>
          <cx:pt idx="91">13.1242499999999</cx:pt>
          <cx:pt idx="92">13.1242499999999</cx:pt>
          <cx:pt idx="93">34.689169999999905</cx:pt>
          <cx:pt idx="94">12.626979999999898</cx:pt>
          <cx:pt idx="95">19.547980000000003</cx:pt>
          <cx:pt idx="96">13.1242499999999</cx:pt>
          <cx:pt idx="97">3.68391</cx:pt>
          <cx:pt idx="98">13.1242499999999</cx:pt>
          <cx:pt idx="99">17.24098</cx:pt>
          <cx:pt idx="100">4.1408600000000195</cx:pt>
          <cx:pt idx="101">12.93458</cx:pt>
          <cx:pt idx="102">11.625359999999899</cx:pt>
          <cx:pt idx="103">18.778979999999901</cx:pt>
          <cx:pt idx="104">13.1242499999999</cx:pt>
          <cx:pt idx="105">5.8197600000000005</cx:pt>
          <cx:pt idx="106">13.1242499999999</cx:pt>
          <cx:pt idx="107">5.4309900000000004</cx:pt>
          <cx:pt idx="108">28.240369999999999</cx:pt>
          <cx:pt idx="109">11.625359999999899</cx:pt>
          <cx:pt idx="110">13.1242499999999</cx:pt>
          <cx:pt idx="111">11.625359999999899</cx:pt>
          <cx:pt idx="112">13.1242499999999</cx:pt>
          <cx:pt idx="113">13.1242499999999</cx:pt>
          <cx:pt idx="114">13.1242499999999</cx:pt>
          <cx:pt idx="115">13.1242499999999</cx:pt>
          <cx:pt idx="116">13.1242499999999</cx:pt>
          <cx:pt idx="117">13.1242499999999</cx:pt>
          <cx:pt idx="118">13.1242499999999</cx:pt>
          <cx:pt idx="119">9.0583999999999989</cx:pt>
          <cx:pt idx="120">17.24098</cx:pt>
          <cx:pt idx="121">16.625780000000002</cx:pt>
          <cx:pt idx="122">13.1242499999999</cx:pt>
          <cx:pt idx="123">13.1242499999999</cx:pt>
          <cx:pt idx="124">15.04954</cx:pt>
          <cx:pt idx="125">13.1242499999999</cx:pt>
          <cx:pt idx="126">13.1242499999999</cx:pt>
          <cx:pt idx="127">13.1242499999999</cx:pt>
          <cx:pt idx="128">15.04954</cx:pt>
          <cx:pt idx="129">13.1242499999999</cx:pt>
          <cx:pt idx="130">11.704180000000001</cx:pt>
          <cx:pt idx="131">3.8460000000000001</cx:pt>
          <cx:pt idx="132">3.9741999999999997</cx:pt>
          <cx:pt idx="133">3.81501</cx:pt>
          <cx:pt idx="134">6.5549999999999997</cx:pt>
          <cx:pt idx="135">15.786539999999999</cx:pt>
          <cx:pt idx="136">13.1242499999999</cx:pt>
          <cx:pt idx="137">9.7431400000000004</cx:pt>
          <cx:pt idx="138">13.1242499999999</cx:pt>
          <cx:pt idx="139">13.1242499999999</cx:pt>
          <cx:pt idx="140">15.04954</cx:pt>
          <cx:pt idx="141">5.8197600000000005</cx:pt>
          <cx:pt idx="142">13.1242499999999</cx:pt>
          <cx:pt idx="143">11.625359999999899</cx:pt>
          <cx:pt idx="144">13.1242499999999</cx:pt>
          <cx:pt idx="145">13.1242499999999</cx:pt>
          <cx:pt idx="146">8.9367199999999993</cx:pt>
          <cx:pt idx="147">13.1242499999999</cx:pt>
          <cx:pt idx="148">13.1242499999999</cx:pt>
          <cx:pt idx="149">13.1242499999999</cx:pt>
          <cx:pt idx="150">13.1242499999999</cx:pt>
          <cx:pt idx="151">13.1242499999999</cx:pt>
          <cx:pt idx="152">13.1242499999999</cx:pt>
          <cx:pt idx="153">18.148399999999899</cx:pt>
          <cx:pt idx="154">11.625359999999899</cx:pt>
          <cx:pt idx="155">15.04954</cx:pt>
          <cx:pt idx="156">13.1242499999999</cx:pt>
          <cx:pt idx="157">26.090769999999903</cx:pt>
          <cx:pt idx="158">10.5564</cx:pt>
          <cx:pt idx="159">5.4309900000000004</cx:pt>
          <cx:pt idx="160">13.1242499999999</cx:pt>
          <cx:pt idx="161">4.8715999999999999</cx:pt>
          <cx:pt idx="162">13.1242499999999</cx:pt>
          <cx:pt idx="163">11.625359999999899</cx:pt>
          <cx:pt idx="164">13.1242499999999</cx:pt>
          <cx:pt idx="165">11.625359999999899</cx:pt>
          <cx:pt idx="166">15.04954</cx:pt>
          <cx:pt idx="167">15.04954</cx:pt>
          <cx:pt idx="168">13.1242499999999</cx:pt>
          <cx:pt idx="169">13.1242499999999</cx:pt>
          <cx:pt idx="170">42.481469999999696</cx:pt>
          <cx:pt idx="171">13.1242499999999</cx:pt>
          <cx:pt idx="172">35.495269999999898</cx:pt>
          <cx:pt idx="173">13.1242499999999</cx:pt>
          <cx:pt idx="174">13.1242499999999</cx:pt>
          <cx:pt idx="175">13.1242499999999</cx:pt>
          <cx:pt idx="176">13.1242499999999</cx:pt>
          <cx:pt idx="177">11.625359999999899</cx:pt>
          <cx:pt idx="178">17.24098</cx:pt>
          <cx:pt idx="179">13.1242499999999</cx:pt>
          <cx:pt idx="180">13.736999999999998</cx:pt>
          <cx:pt idx="181">13.1242499999999</cx:pt>
          <cx:pt idx="182">13.1242499999999</cx:pt>
          <cx:pt idx="183">11.625359999999899</cx:pt>
          <cx:pt idx="184">13.1242499999999</cx:pt>
          <cx:pt idx="185">13.1242499999999</cx:pt>
          <cx:pt idx="186">17.2256</cx:pt>
          <cx:pt idx="187">13.1242499999999</cx:pt>
          <cx:pt idx="188">11.625359999999899</cx:pt>
          <cx:pt idx="189">13.1242499999999</cx:pt>
          <cx:pt idx="190">13.1242499999999</cx:pt>
          <cx:pt idx="191">13.1242499999999</cx:pt>
          <cx:pt idx="192">5.4309900000000004</cx:pt>
          <cx:pt idx="193">12.3333599999999</cx:pt>
          <cx:pt idx="194">15.04954</cx:pt>
          <cx:pt idx="195">11.625359999999899</cx:pt>
          <cx:pt idx="196">13.1242499999999</cx:pt>
          <cx:pt idx="197">13.1242499999999</cx:pt>
          <cx:pt idx="198">11.625359999999899</cx:pt>
          <cx:pt idx="199">11.625359999999899</cx:pt>
          <cx:pt idx="200">13.1242499999999</cx:pt>
          <cx:pt idx="201">13.1242499999999</cx:pt>
          <cx:pt idx="202">13.1242499999999</cx:pt>
          <cx:pt idx="203">13.1242499999999</cx:pt>
          <cx:pt idx="204">6.1748099999999999</cx:pt>
          <cx:pt idx="205">15.04954</cx:pt>
          <cx:pt idx="206">6.03059999999999</cx:pt>
          <cx:pt idx="207">5.1511199999999997</cx:pt>
          <cx:pt idx="208">13.1242499999999</cx:pt>
          <cx:pt idx="209">13.1242499999999</cx:pt>
          <cx:pt idx="210">36.543199999999999</cx:pt>
          <cx:pt idx="211">11.625359999999899</cx:pt>
          <cx:pt idx="212">13.1242499999999</cx:pt>
          <cx:pt idx="213">15.04954</cx:pt>
          <cx:pt idx="214">13.1242499999999</cx:pt>
          <cx:pt idx="215">13.1242499999999</cx:pt>
          <cx:pt idx="216">13.1242499999999</cx:pt>
          <cx:pt idx="217">13.1242499999999</cx:pt>
          <cx:pt idx="218">13.1242499999999</cx:pt>
          <cx:pt idx="219">13.1242499999999</cx:pt>
          <cx:pt idx="220">3.68391</cx:pt>
          <cx:pt idx="221">13.1242499999999</cx:pt>
          <cx:pt idx="222">13.1242499999999</cx:pt>
          <cx:pt idx="223">11.625359999999899</cx:pt>
          <cx:pt idx="224">11.625359999999899</cx:pt>
          <cx:pt idx="225">13.1242499999999</cx:pt>
          <cx:pt idx="226">11.625359999999899</cx:pt>
          <cx:pt idx="227">16.93338</cx:pt>
          <cx:pt idx="228">13.1242499999999</cx:pt>
          <cx:pt idx="229">13.1242499999999</cx:pt>
          <cx:pt idx="230">13.1242499999999</cx:pt>
          <cx:pt idx="231">9.30093999999999</cx:pt>
          <cx:pt idx="232">18.778979999999901</cx:pt>
          <cx:pt idx="233">15.04954</cx:pt>
          <cx:pt idx="234">13.1242499999999</cx:pt>
          <cx:pt idx="235">13.1242499999999</cx:pt>
          <cx:pt idx="236">5.4309900000000004</cx:pt>
          <cx:pt idx="237">5.2818400000000203</cx:pt>
          <cx:pt idx="238">1.16662</cx:pt>
          <cx:pt idx="239">13.1242499999999</cx:pt>
          <cx:pt idx="240">11.85798</cx:pt>
          <cx:pt idx="241">11.625359999999899</cx:pt>
          <cx:pt idx="242">13.1242499999999</cx:pt>
          <cx:pt idx="243">18.778979999999901</cx:pt>
          <cx:pt idx="244">13.1242499999999</cx:pt>
          <cx:pt idx="245">15.786539999999999</cx:pt>
          <cx:pt idx="246">40.600569999999706</cx:pt>
          <cx:pt idx="247">13.1242499999999</cx:pt>
          <cx:pt idx="248">33.076969999999903</cx:pt>
          <cx:pt idx="249">10.92234</cx:pt>
          <cx:pt idx="250">17.24098</cx:pt>
          <cx:pt idx="251">10.62754</cx:pt>
          <cx:pt idx="252">11.625359999999899</cx:pt>
          <cx:pt idx="253">25.822069999999904</cx:pt>
          <cx:pt idx="254">5.1511199999999997</cx:pt>
          <cx:pt idx="255">13.1242499999999</cx:pt>
          <cx:pt idx="256">17.548580000000001</cx:pt>
          <cx:pt idx="257">36.570069999999902</cx:pt>
          <cx:pt idx="258">13.1242499999999</cx:pt>
          <cx:pt idx="259">39.794469999999997</cx:pt>
          <cx:pt idx="260">3.4742199999999896</cx:pt>
          <cx:pt idx="261">8.8587399999999992</cx:pt>
          <cx:pt idx="262">13.1242499999999</cx:pt>
          <cx:pt idx="263">11.704180000000001</cx:pt>
          <cx:pt idx="264">13.1242499999999</cx:pt>
          <cx:pt idx="265">13.1242499999999</cx:pt>
          <cx:pt idx="266">11.625359999999899</cx:pt>
          <cx:pt idx="267">13.1242499999999</cx:pt>
          <cx:pt idx="268">13.1242499999999</cx:pt>
          <cx:pt idx="269">13.1242499999999</cx:pt>
          <cx:pt idx="270">13.1242499999999</cx:pt>
          <cx:pt idx="271">11.625359999999899</cx:pt>
          <cx:pt idx="272">13.1242499999999</cx:pt>
          <cx:pt idx="273">13.1242499999999</cx:pt>
          <cx:pt idx="274">11.625359999999899</cx:pt>
          <cx:pt idx="275">13.1242499999999</cx:pt>
          <cx:pt idx="276">13.1242499999999</cx:pt>
          <cx:pt idx="277">13.1242499999999</cx:pt>
          <cx:pt idx="278">3.94611</cx:pt>
          <cx:pt idx="279">4.4998199999999899</cx:pt>
          <cx:pt idx="280">18.009979999999899</cx:pt>
          <cx:pt idx="281">43.018869999999595</cx:pt>
          <cx:pt idx="282">13.1242499999999</cx:pt>
          <cx:pt idx="283">13.1242499999999</cx:pt>
          <cx:pt idx="284">13.1242499999999</cx:pt>
          <cx:pt idx="285">15.04954</cx:pt>
          <cx:pt idx="286">9.3201899999999789</cx:pt>
          <cx:pt idx="287">13.1242499999999</cx:pt>
          <cx:pt idx="288">13.1242499999999</cx:pt>
          <cx:pt idx="289">4.2305999999999999</cx:pt>
          <cx:pt idx="290">11.625359999999899</cx:pt>
          <cx:pt idx="291">13.1242499999999</cx:pt>
          <cx:pt idx="292">13.1242499999999</cx:pt>
          <cx:pt idx="293">13.1242499999999</cx:pt>
          <cx:pt idx="294">13.1242499999999</cx:pt>
          <cx:pt idx="295">15.04954</cx:pt>
          <cx:pt idx="296">12.319379999999901</cx:pt>
          <cx:pt idx="297">13.1242499999999</cx:pt>
          <cx:pt idx="298">26.090769999999903</cx:pt>
          <cx:pt idx="299">18.778979999999901</cx:pt>
          <cx:pt idx="300">34.662300000000002</cx:pt>
          <cx:pt idx="301">11.625359999999899</cx:pt>
          <cx:pt idx="302">3.08962</cx:pt>
          <cx:pt idx="303">13.1242499999999</cx:pt>
          <cx:pt idx="304">13.1242499999999</cx:pt>
          <cx:pt idx="305">17.24098</cx:pt>
          <cx:pt idx="306">5.4309900000000004</cx:pt>
          <cx:pt idx="307">11.625359999999899</cx:pt>
          <cx:pt idx="308">10.332739999999999</cx:pt>
          <cx:pt idx="309">37.913569999999702</cx:pt>
          <cx:pt idx="310">13.1242499999999</cx:pt>
          <cx:pt idx="311">12.839249999999899</cx:pt>
          <cx:pt idx="312">11.3421599999999</cx:pt>
          <cx:pt idx="313">13.1242499999999</cx:pt>
          <cx:pt idx="314">13.1242499999999</cx:pt>
          <cx:pt idx="315">11.625359999999899</cx:pt>
          <cx:pt idx="316">9.3201899999999789</cx:pt>
          <cx:pt idx="317">11.625359999999899</cx:pt>
          <cx:pt idx="318">13.1242499999999</cx:pt>
          <cx:pt idx="319">15.04954</cx:pt>
          <cx:pt idx="320">13.751459999999899</cx:pt>
          <cx:pt idx="321">13.1242499999999</cx:pt>
          <cx:pt idx="322">13.1242499999999</cx:pt>
          <cx:pt idx="323">36.838769999999997</cx:pt>
          <cx:pt idx="324">17.24098</cx:pt>
          <cx:pt idx="325">12.839249999999899</cx:pt>
          <cx:pt idx="326">9.3201899999999789</cx:pt>
          <cx:pt idx="327">11.625359999999899</cx:pt>
          <cx:pt idx="328">12.839249999999899</cx:pt>
          <cx:pt idx="329">11.625359999999899</cx:pt>
          <cx:pt idx="330">13.1242499999999</cx:pt>
          <cx:pt idx="331">13.1242499999999</cx:pt>
          <cx:pt idx="332">12.050159999999901</cx:pt>
          <cx:pt idx="333">17.24098</cx:pt>
          <cx:pt idx="334">13.1242499999999</cx:pt>
          <cx:pt idx="335">11.625359999999899</cx:pt>
          <cx:pt idx="336">13.1242499999999</cx:pt>
          <cx:pt idx="337">17.24098</cx:pt>
          <cx:pt idx="338">11.625359999999899</cx:pt>
          <cx:pt idx="339">11.625359999999899</cx:pt>
          <cx:pt idx="340">13.1242499999999</cx:pt>
          <cx:pt idx="341">11.625359999999899</cx:pt>
          <cx:pt idx="342">13.1242499999999</cx:pt>
          <cx:pt idx="343">9.3201899999999789</cx:pt>
          <cx:pt idx="344">13.606859999999902</cx:pt>
          <cx:pt idx="345">13.1242499999999</cx:pt>
          <cx:pt idx="346">11.625359999999899</cx:pt>
          <cx:pt idx="347">32.808269999999901</cx:pt>
          <cx:pt idx="348">5.1511199999999997</cx:pt>
          <cx:pt idx="349">11.3421599999999</cx:pt>
          <cx:pt idx="350">13.1242499999999</cx:pt>
          <cx:pt idx="351">11.625359999999899</cx:pt>
          <cx:pt idx="352">11.3421599999999</cx:pt>
          <cx:pt idx="353">11.625359999999899</cx:pt>
          <cx:pt idx="354">10.7091899999999</cx:pt>
          <cx:pt idx="355">13.1242499999999</cx:pt>
          <cx:pt idx="356">9.3201899999999789</cx:pt>
          <cx:pt idx="357">9.3201899999999789</cx:pt>
          <cx:pt idx="358">9.44834</cx:pt>
          <cx:pt idx="359">13.1242499999999</cx:pt>
          <cx:pt idx="360">13.1242499999999</cx:pt>
          <cx:pt idx="361">16.93338</cx:pt>
          <cx:pt idx="362">11.625359999999899</cx:pt>
          <cx:pt idx="363">14.0406599999999</cx:pt>
          <cx:pt idx="364">13.1242499999999</cx:pt>
          <cx:pt idx="365">19.086580000000001</cx:pt>
          <cx:pt idx="366">10.431389999999901</cx:pt>
          <cx:pt idx="367">11.625359999999899</cx:pt>
          <cx:pt idx="368">11.625359999999899</cx:pt>
          <cx:pt idx="369">11.3421599999999</cx:pt>
          <cx:pt idx="370">15.786539999999999</cx:pt>
          <cx:pt idx="371">13.1242499999999</cx:pt>
          <cx:pt idx="372">13.1242499999999</cx:pt>
          <cx:pt idx="373">11.625359999999899</cx:pt>
          <cx:pt idx="374">11.3421599999999</cx:pt>
          <cx:pt idx="375">11.625359999999899</cx:pt>
          <cx:pt idx="376">13.1242499999999</cx:pt>
          <cx:pt idx="377">15.04954</cx:pt>
          <cx:pt idx="378">10.7091899999999</cx:pt>
          <cx:pt idx="379">11.625359999999899</cx:pt>
          <cx:pt idx="380">11.625359999999899</cx:pt>
          <cx:pt idx="381">11.625359999999899</cx:pt>
          <cx:pt idx="382">11.625359999999899</cx:pt>
          <cx:pt idx="383">13.1242499999999</cx:pt>
          <cx:pt idx="384">14.75474</cx:pt>
          <cx:pt idx="385">13.1242499999999</cx:pt>
          <cx:pt idx="386">11.625359999999899</cx:pt>
          <cx:pt idx="387">11.3421599999999</cx:pt>
          <cx:pt idx="388">15.04954</cx:pt>
          <cx:pt idx="389">11.625359999999899</cx:pt>
          <cx:pt idx="390">1.42302</cx:pt>
          <cx:pt idx="391">11.625359999999899</cx:pt>
          <cx:pt idx="392">11.625359999999899</cx:pt>
          <cx:pt idx="393">15.04954</cx:pt>
          <cx:pt idx="394">11.625359999999899</cx:pt>
          <cx:pt idx="395">13.1242499999999</cx:pt>
          <cx:pt idx="396">11.3421599999999</cx:pt>
          <cx:pt idx="397">11.625359999999899</cx:pt>
          <cx:pt idx="398">18.778979999999901</cx:pt>
          <cx:pt idx="399">11.3421599999999</cx:pt>
          <cx:pt idx="400">11.625359999999899</cx:pt>
          <cx:pt idx="401">14.0406599999999</cx:pt>
          <cx:pt idx="402">11.625359999999899</cx:pt>
          <cx:pt idx="403">13.1242499999999</cx:pt>
          <cx:pt idx="404">11.625359999999899</cx:pt>
          <cx:pt idx="405">13.1242499999999</cx:pt>
          <cx:pt idx="406">13.1242499999999</cx:pt>
          <cx:pt idx="407">13.1242499999999</cx:pt>
          <cx:pt idx="408">15.04954</cx:pt>
          <cx:pt idx="409">13.1242499999999</cx:pt>
          <cx:pt idx="410">13.1242499999999</cx:pt>
          <cx:pt idx="411">11.625359999999899</cx:pt>
          <cx:pt idx="412">11.625359999999899</cx:pt>
          <cx:pt idx="413">11.625359999999899</cx:pt>
          <cx:pt idx="414">13.1242499999999</cx:pt>
          <cx:pt idx="415">15.786539999999999</cx:pt>
          <cx:pt idx="416">11.625359999999899</cx:pt>
          <cx:pt idx="417">11.625359999999899</cx:pt>
          <cx:pt idx="418">13.1242499999999</cx:pt>
          <cx:pt idx="419">11.625359999999899</cx:pt>
          <cx:pt idx="420">13.1242499999999</cx:pt>
          <cx:pt idx="421">11.625359999999899</cx:pt>
          <cx:pt idx="422">15.04954</cx:pt>
          <cx:pt idx="423">1.55122</cx:pt>
          <cx:pt idx="424">17.24098</cx:pt>
          <cx:pt idx="425">13.1242499999999</cx:pt>
          <cx:pt idx="426">13.1242499999999</cx:pt>
          <cx:pt idx="427">13.1242499999999</cx:pt>
          <cx:pt idx="428">13.1242499999999</cx:pt>
          <cx:pt idx="429">17.24098</cx:pt>
          <cx:pt idx="430">11.625359999999899</cx:pt>
          <cx:pt idx="431">12.839249999999899</cx:pt>
          <cx:pt idx="432">13.1242499999999</cx:pt>
          <cx:pt idx="433">13.1242499999999</cx:pt>
          <cx:pt idx="434">11.625359999999899</cx:pt>
          <cx:pt idx="435">11.625359999999899</cx:pt>
          <cx:pt idx="436">11.3421599999999</cx:pt>
          <cx:pt idx="437">13.1242499999999</cx:pt>
          <cx:pt idx="438">11.625359999999899</cx:pt>
          <cx:pt idx="439">13.1242499999999</cx:pt>
          <cx:pt idx="440">41.137969999999704</cx:pt>
          <cx:pt idx="441">11.625359999999899</cx:pt>
          <cx:pt idx="442">4.8972400000000205</cx:pt>
          <cx:pt idx="443">13.1242499999999</cx:pt>
          <cx:pt idx="444">13.1242499999999</cx:pt>
          <cx:pt idx="445">13.1242499999999</cx:pt>
          <cx:pt idx="446">11.625359999999899</cx:pt>
          <cx:pt idx="447">13.1242499999999</cx:pt>
          <cx:pt idx="448">10.7091899999999</cx:pt>
          <cx:pt idx="449">13.1242499999999</cx:pt>
          <cx:pt idx="450">11.625359999999899</cx:pt>
          <cx:pt idx="451">15.04954</cx:pt>
          <cx:pt idx="452">13.1242499999999</cx:pt>
          <cx:pt idx="453">18.778979999999901</cx:pt>
          <cx:pt idx="454">13.1242499999999</cx:pt>
          <cx:pt idx="455">12.839249999999899</cx:pt>
          <cx:pt idx="456">18.778979999999901</cx:pt>
          <cx:pt idx="457">3.81501</cx:pt>
          <cx:pt idx="458">13.1242499999999</cx:pt>
          <cx:pt idx="459">13.1242499999999</cx:pt>
          <cx:pt idx="460">11.625359999999899</cx:pt>
          <cx:pt idx="461">13.1242499999999</cx:pt>
          <cx:pt idx="462">13.1242499999999</cx:pt>
          <cx:pt idx="463">13.1242499999999</cx:pt>
          <cx:pt idx="464">13.1242499999999</cx:pt>
          <cx:pt idx="465">11.625359999999899</cx:pt>
          <cx:pt idx="466">35.495269999999898</cx:pt>
          <cx:pt idx="467">11.625359999999899</cx:pt>
          <cx:pt idx="468">17.24098</cx:pt>
          <cx:pt idx="469">13.1242499999999</cx:pt>
          <cx:pt idx="470">11.625359999999899</cx:pt>
          <cx:pt idx="471">13.1242499999999</cx:pt>
          <cx:pt idx="472">11.3421599999999</cx:pt>
          <cx:pt idx="473">13.751459999999899</cx:pt>
          <cx:pt idx="474">13.1242499999999</cx:pt>
          <cx:pt idx="475">9.3201899999999789</cx:pt>
          <cx:pt idx="476">18.778979999999901</cx:pt>
          <cx:pt idx="477">14.0406599999999</cx:pt>
          <cx:pt idx="478">17.24098</cx:pt>
          <cx:pt idx="479">11.625359999999899</cx:pt>
          <cx:pt idx="480">13.1242499999999</cx:pt>
          <cx:pt idx="481">13.1242499999999</cx:pt>
          <cx:pt idx="482">11.625359999999899</cx:pt>
          <cx:pt idx="483">15.04954</cx:pt>
          <cx:pt idx="484">11.3421599999999</cx:pt>
          <cx:pt idx="485">13.1242499999999</cx:pt>
          <cx:pt idx="486">11.625359999999899</cx:pt>
          <cx:pt idx="487">11.3421599999999</cx:pt>
          <cx:pt idx="488">8.7113399999999999</cx:pt>
          <cx:pt idx="489">13.1242499999999</cx:pt>
          <cx:pt idx="490">10.7091899999999</cx:pt>
          <cx:pt idx="491">13.1242499999999</cx:pt>
          <cx:pt idx="492">11.625359999999899</cx:pt>
          <cx:pt idx="493">48.124169999999701</cx:pt>
          <cx:pt idx="494">13.1242499999999</cx:pt>
          <cx:pt idx="495">13.1242499999999</cx:pt>
          <cx:pt idx="496">13.1242499999999</cx:pt>
          <cx:pt idx="497">13.1242499999999</cx:pt>
          <cx:pt idx="498">13.1242499999999</cx:pt>
          <cx:pt idx="499">13.751459999999899</cx:pt>
          <cx:pt idx="500">11.625359999999899</cx:pt>
          <cx:pt idx="501">13.1242499999999</cx:pt>
          <cx:pt idx="502">13.1242499999999</cx:pt>
          <cx:pt idx="503">13.1242499999999</cx:pt>
          <cx:pt idx="504">11.625359999999899</cx:pt>
          <cx:pt idx="505">13.1242499999999</cx:pt>
          <cx:pt idx="506">10.431389999999901</cx:pt>
          <cx:pt idx="507">12.839249999999899</cx:pt>
          <cx:pt idx="508">13.1242499999999</cx:pt>
          <cx:pt idx="509">11.3421599999999</cx:pt>
          <cx:pt idx="510">13.1242499999999</cx:pt>
          <cx:pt idx="511">11.625359999999899</cx:pt>
          <cx:pt idx="512">11.3421599999999</cx:pt>
          <cx:pt idx="513">13.1242499999999</cx:pt>
          <cx:pt idx="514">13.1242499999999</cx:pt>
          <cx:pt idx="515">11.625359999999899</cx:pt>
          <cx:pt idx="516">11.625359999999899</cx:pt>
          <cx:pt idx="517">11.625359999999899</cx:pt>
          <cx:pt idx="518">10.7091899999999</cx:pt>
          <cx:pt idx="519">13.1242499999999</cx:pt>
          <cx:pt idx="520">13.1242499999999</cx:pt>
          <cx:pt idx="521">12.839249999999899</cx:pt>
          <cx:pt idx="522">9.3201899999999789</cx:pt>
          <cx:pt idx="523">13.1242499999999</cx:pt>
          <cx:pt idx="524">13.1242499999999</cx:pt>
          <cx:pt idx="525">13.1242499999999</cx:pt>
          <cx:pt idx="526">13.1242499999999</cx:pt>
          <cx:pt idx="527">9.44834</cx:pt>
          <cx:pt idx="528">10.7091899999999</cx:pt>
          <cx:pt idx="529">13.1242499999999</cx:pt>
          <cx:pt idx="530">11.3421599999999</cx:pt>
          <cx:pt idx="531">13.1242499999999</cx:pt>
          <cx:pt idx="532">13.1242499999999</cx:pt>
          <cx:pt idx="533">12.839249999999899</cx:pt>
          <cx:pt idx="534">15.786539999999999</cx:pt>
          <cx:pt idx="535">13.1242499999999</cx:pt>
          <cx:pt idx="536">13.1242499999999</cx:pt>
          <cx:pt idx="537">11.625359999999899</cx:pt>
          <cx:pt idx="538">15.04954</cx:pt>
          <cx:pt idx="539">15.04954</cx:pt>
          <cx:pt idx="540">13.1242499999999</cx:pt>
          <cx:pt idx="541">13.1242499999999</cx:pt>
          <cx:pt idx="542">11.625359999999899</cx:pt>
          <cx:pt idx="543">11.3421599999999</cx:pt>
          <cx:pt idx="544">15.04954</cx:pt>
          <cx:pt idx="545">11.625359999999899</cx:pt>
          <cx:pt idx="546">11.3421599999999</cx:pt>
          <cx:pt idx="547">18.778979999999901</cx:pt>
          <cx:pt idx="548">13.1242499999999</cx:pt>
          <cx:pt idx="549">14.75474</cx:pt>
          <cx:pt idx="550">13.1242499999999</cx:pt>
          <cx:pt idx="551">11.625359999999899</cx:pt>
          <cx:pt idx="552">15.04954</cx:pt>
          <cx:pt idx="553">15.04954</cx:pt>
          <cx:pt idx="554">11.625359999999899</cx:pt>
          <cx:pt idx="555">13.1242499999999</cx:pt>
          <cx:pt idx="556">13.1242499999999</cx:pt>
          <cx:pt idx="557">12.839249999999899</cx:pt>
          <cx:pt idx="558">8.8015199999999787</cx:pt>
          <cx:pt idx="559">11.625359999999899</cx:pt>
          <cx:pt idx="560">18.778979999999901</cx:pt>
          <cx:pt idx="561">13.1242499999999</cx:pt>
          <cx:pt idx="562">43.556270000000005</cx:pt>
          <cx:pt idx="563">11.625359999999899</cx:pt>
          <cx:pt idx="564">37.913569999999702</cx:pt>
          <cx:pt idx="565">17.24098</cx:pt>
          <cx:pt idx="566">11.3421599999999</cx:pt>
          <cx:pt idx="567">13.1242499999999</cx:pt>
          <cx:pt idx="568">11.3421599999999</cx:pt>
          <cx:pt idx="569">15.491739999999901</cx:pt>
          <cx:pt idx="570">11.625359999999899</cx:pt>
          <cx:pt idx="571">13.1242499999999</cx:pt>
          <cx:pt idx="572">13.1242499999999</cx:pt>
          <cx:pt idx="573">11.625359999999899</cx:pt>
          <cx:pt idx="574">11.3421599999999</cx:pt>
          <cx:pt idx="575">18.778979999999901</cx:pt>
          <cx:pt idx="576">46.5119699999997</cx:pt>
          <cx:pt idx="577">11.625359999999899</cx:pt>
          <cx:pt idx="578">13.1242499999999</cx:pt>
          <cx:pt idx="579">11.9085599999999</cx:pt>
          <cx:pt idx="580">12.3333599999999</cx:pt>
          <cx:pt idx="581">13.1242499999999</cx:pt>
          <cx:pt idx="582">17.24098</cx:pt>
          <cx:pt idx="583">11.625359999999899</cx:pt>
          <cx:pt idx="584">13.1242499999999</cx:pt>
          <cx:pt idx="585">11.625359999999899</cx:pt>
          <cx:pt idx="586">11.625359999999899</cx:pt>
          <cx:pt idx="587">13.1242499999999</cx:pt>
          <cx:pt idx="588">11.625359999999899</cx:pt>
          <cx:pt idx="589">13.1242499999999</cx:pt>
          <cx:pt idx="590">12.839249999999899</cx:pt>
          <cx:pt idx="591">15.04954</cx:pt>
          <cx:pt idx="592">13.1242499999999</cx:pt>
          <cx:pt idx="593">13.1242499999999</cx:pt>
          <cx:pt idx="594">13.1242499999999</cx:pt>
          <cx:pt idx="595">13.1242499999999</cx:pt>
          <cx:pt idx="596">3.68391</cx:pt>
          <cx:pt idx="597">11.3421599999999</cx:pt>
          <cx:pt idx="598">13.1242499999999</cx:pt>
          <cx:pt idx="599">11.625359999999899</cx:pt>
          <cx:pt idx="600">13.1242499999999</cx:pt>
          <cx:pt idx="601">12.839249999999899</cx:pt>
          <cx:pt idx="602">13.1242499999999</cx:pt>
          <cx:pt idx="603">13.1242499999999</cx:pt>
          <cx:pt idx="604">18.4713799999999</cx:pt>
          <cx:pt idx="605">13.1242499999999</cx:pt>
          <cx:pt idx="606">15.786539999999999</cx:pt>
          <cx:pt idx="607">15.04954</cx:pt>
          <cx:pt idx="608">11.625359999999899</cx:pt>
          <cx:pt idx="609">13.1242499999999</cx:pt>
          <cx:pt idx="610">13.1242499999999</cx:pt>
          <cx:pt idx="611">12.616559999999899</cx:pt>
          <cx:pt idx="612">12.839249999999899</cx:pt>
          <cx:pt idx="613">9.3201899999999789</cx:pt>
          <cx:pt idx="614">13.1242499999999</cx:pt>
          <cx:pt idx="615">13.1242499999999</cx:pt>
          <cx:pt idx="616">15.04954</cx:pt>
          <cx:pt idx="617">11.625359999999899</cx:pt>
          <cx:pt idx="618">12.839249999999899</cx:pt>
          <cx:pt idx="619">9.3201899999999789</cx:pt>
          <cx:pt idx="620">11.625359999999899</cx:pt>
          <cx:pt idx="621">13.1242499999999</cx:pt>
          <cx:pt idx="622">16.779579999999999</cx:pt>
          <cx:pt idx="623">15.04954</cx:pt>
          <cx:pt idx="624">13.1242499999999</cx:pt>
          <cx:pt idx="625">11.3421599999999</cx:pt>
          <cx:pt idx="626">15.04954</cx:pt>
          <cx:pt idx="627">11.625359999999899</cx:pt>
          <cx:pt idx="628">19.086580000000001</cx:pt>
          <cx:pt idx="629">13.1242499999999</cx:pt>
          <cx:pt idx="630">12.839249999999899</cx:pt>
          <cx:pt idx="631">13.1242499999999</cx:pt>
          <cx:pt idx="632">15.04954</cx:pt>
          <cx:pt idx="633">15.786539999999999</cx:pt>
          <cx:pt idx="634">13.1242499999999</cx:pt>
          <cx:pt idx="635">13.1242499999999</cx:pt>
          <cx:pt idx="636">13.1242499999999</cx:pt>
          <cx:pt idx="637">11.625359999999899</cx:pt>
          <cx:pt idx="638">13.1242499999999</cx:pt>
          <cx:pt idx="639">13.1242499999999</cx:pt>
          <cx:pt idx="640">12.839249999999899</cx:pt>
          <cx:pt idx="641">10.7091899999999</cx:pt>
          <cx:pt idx="642">9.3201899999999789</cx:pt>
          <cx:pt idx="643">40.600569999999706</cx:pt>
          <cx:pt idx="644">13.1242499999999</cx:pt>
          <cx:pt idx="645">12.839249999999899</cx:pt>
          <cx:pt idx="646">13.1242499999999</cx:pt>
          <cx:pt idx="647">13.1242499999999</cx:pt>
          <cx:pt idx="648">11.625359999999899</cx:pt>
          <cx:pt idx="649">13.1242499999999</cx:pt>
          <cx:pt idx="650">11.3421599999999</cx:pt>
          <cx:pt idx="651">11.625359999999899</cx:pt>
          <cx:pt idx="652">11.625359999999899</cx:pt>
          <cx:pt idx="653">10.92234</cx:pt>
          <cx:pt idx="654">13.1242499999999</cx:pt>
          <cx:pt idx="655">12.839249999999899</cx:pt>
          <cx:pt idx="656">10.92234</cx:pt>
          <cx:pt idx="657">11.625359999999899</cx:pt>
          <cx:pt idx="658">13.1242499999999</cx:pt>
          <cx:pt idx="659">13.1242499999999</cx:pt>
          <cx:pt idx="660">13.1242499999999</cx:pt>
          <cx:pt idx="661">13.1242499999999</cx:pt>
          <cx:pt idx="662">13.1242499999999</cx:pt>
          <cx:pt idx="663">13.1242499999999</cx:pt>
          <cx:pt idx="664">37.913569999999702</cx:pt>
          <cx:pt idx="665">11.625359999999899</cx:pt>
          <cx:pt idx="666">13.1242499999999</cx:pt>
          <cx:pt idx="667">13.1242499999999</cx:pt>
          <cx:pt idx="668">11.625359999999899</cx:pt>
          <cx:pt idx="669">12.3333599999999</cx:pt>
          <cx:pt idx="670">11.3421599999999</cx:pt>
          <cx:pt idx="671">15.04954</cx:pt>
          <cx:pt idx="672">11.625359999999899</cx:pt>
          <cx:pt idx="673">13.1242499999999</cx:pt>
          <cx:pt idx="674">13.1242499999999</cx:pt>
          <cx:pt idx="675">10.037939999999999</cx:pt>
          <cx:pt idx="676">13.1242499999999</cx:pt>
          <cx:pt idx="677">13.1242499999999</cx:pt>
          <cx:pt idx="678">13.1242499999999</cx:pt>
          <cx:pt idx="679">15.04954</cx:pt>
          <cx:pt idx="680">11.625359999999899</cx:pt>
          <cx:pt idx="681">11.625359999999899</cx:pt>
          <cx:pt idx="682">11.625359999999899</cx:pt>
          <cx:pt idx="683">10.848089999999901</cx:pt>
          <cx:pt idx="684">17.24098</cx:pt>
          <cx:pt idx="685">11.3421599999999</cx:pt>
          <cx:pt idx="686">11.625359999999899</cx:pt>
          <cx:pt idx="687">13.1242499999999</cx:pt>
          <cx:pt idx="688">18.778979999999901</cx:pt>
          <cx:pt idx="689">13.1242499999999</cx:pt>
          <cx:pt idx="690">13.1242499999999</cx:pt>
          <cx:pt idx="691">15.04954</cx:pt>
          <cx:pt idx="692">4.8807199999999895</cx:pt>
          <cx:pt idx="693">11.9085599999999</cx:pt>
          <cx:pt idx="694">11.625359999999899</cx:pt>
          <cx:pt idx="695">9.3201899999999789</cx:pt>
          <cx:pt idx="696">10.7091899999999</cx:pt>
          <cx:pt idx="697">18.778979999999901</cx:pt>
          <cx:pt idx="698">15.04954</cx:pt>
          <cx:pt idx="699">13.1242499999999</cx:pt>
          <cx:pt idx="700">11.625359999999899</cx:pt>
          <cx:pt idx="701">12.839249999999899</cx:pt>
          <cx:pt idx="702">13.1242499999999</cx:pt>
          <cx:pt idx="703">2.3204199999999999</cx:pt>
          <cx:pt idx="704">13.1242499999999</cx:pt>
          <cx:pt idx="705">11.3421599999999</cx:pt>
          <cx:pt idx="706">11.611199999999899</cx:pt>
          <cx:pt idx="707">12.050159999999901</cx:pt>
          <cx:pt idx="708">13.1242499999999</cx:pt>
          <cx:pt idx="709">13.1242499999999</cx:pt>
          <cx:pt idx="710">11.625359999999899</cx:pt>
          <cx:pt idx="711">15.04954</cx:pt>
          <cx:pt idx="712">13.1242499999999</cx:pt>
          <cx:pt idx="713">11.625359999999899</cx:pt>
          <cx:pt idx="714">11.625359999999899</cx:pt>
          <cx:pt idx="715">11.3421599999999</cx:pt>
          <cx:pt idx="716">15.04954</cx:pt>
          <cx:pt idx="717">13.606859999999902</cx:pt>
          <cx:pt idx="718">15.04954</cx:pt>
          <cx:pt idx="719">1.42302</cx:pt>
          <cx:pt idx="720">36.838769999999997</cx:pt>
          <cx:pt idx="721">13.1242499999999</cx:pt>
          <cx:pt idx="722">13.1242499999999</cx:pt>
          <cx:pt idx="723">13.1242499999999</cx:pt>
          <cx:pt idx="724">11.625359999999899</cx:pt>
          <cx:pt idx="725">11.3421599999999</cx:pt>
          <cx:pt idx="726">13.1242499999999</cx:pt>
          <cx:pt idx="727">13.1242499999999</cx:pt>
          <cx:pt idx="728">13.1242499999999</cx:pt>
          <cx:pt idx="729">10.431389999999901</cx:pt>
          <cx:pt idx="730">13.1242499999999</cx:pt>
          <cx:pt idx="731">11.625359999999899</cx:pt>
          <cx:pt idx="732">13.1242499999999</cx:pt>
          <cx:pt idx="733">13.1242499999999</cx:pt>
          <cx:pt idx="734">17.24098</cx:pt>
          <cx:pt idx="735">14.75474</cx:pt>
          <cx:pt idx="736">13.1242499999999</cx:pt>
          <cx:pt idx="737">13.1242499999999</cx:pt>
          <cx:pt idx="738">13.1242499999999</cx:pt>
          <cx:pt idx="739">15.04954</cx:pt>
          <cx:pt idx="740">13.1242499999999</cx:pt>
          <cx:pt idx="741">13.1242499999999</cx:pt>
          <cx:pt idx="742">7.0998599999999996</cx:pt>
          <cx:pt idx="743">11.9085599999999</cx:pt>
          <cx:pt idx="744">11.625359999999899</cx:pt>
          <cx:pt idx="745">13.1242499999999</cx:pt>
          <cx:pt idx="746">10.7091899999999</cx:pt>
          <cx:pt idx="747">13.1242499999999</cx:pt>
          <cx:pt idx="748">15.04954</cx:pt>
          <cx:pt idx="749">13.1242499999999</cx:pt>
          <cx:pt idx="750">11.625359999999899</cx:pt>
          <cx:pt idx="751">40.600569999999706</cx:pt>
          <cx:pt idx="752">13.1242499999999</cx:pt>
          <cx:pt idx="753">18.778979999999901</cx:pt>
          <cx:pt idx="754">9.3201899999999789</cx:pt>
          <cx:pt idx="755">13.1242499999999</cx:pt>
          <cx:pt idx="756">2.7050200000000002</cx:pt>
          <cx:pt idx="757">13.1242499999999</cx:pt>
          <cx:pt idx="758">40.86927</cx:pt>
          <cx:pt idx="759">11.625359999999899</cx:pt>
          <cx:pt idx="760">13.1242499999999</cx:pt>
          <cx:pt idx="761">15.04954</cx:pt>
          <cx:pt idx="762">10.7091899999999</cx:pt>
          <cx:pt idx="763">15.04954</cx:pt>
          <cx:pt idx="764">11.625359999999899</cx:pt>
          <cx:pt idx="765">11.625359999999899</cx:pt>
          <cx:pt idx="766">13.1242499999999</cx:pt>
          <cx:pt idx="767">13.1242499999999</cx:pt>
          <cx:pt idx="768">11.625359999999899</cx:pt>
          <cx:pt idx="769">13.1242499999999</cx:pt>
          <cx:pt idx="770">40.600569999999706</cx:pt>
          <cx:pt idx="771">5.4309900000000004</cx:pt>
          <cx:pt idx="772">13.1242499999999</cx:pt>
          <cx:pt idx="773">1.42301999999999</cx:pt>
          <cx:pt idx="774">11.704180000000001</cx:pt>
          <cx:pt idx="775">11.625359999999899</cx:pt>
          <cx:pt idx="776">13.1242499999999</cx:pt>
          <cx:pt idx="777">13.1242499999999</cx:pt>
          <cx:pt idx="778">13.1242499999999</cx:pt>
          <cx:pt idx="779">13.1242499999999</cx:pt>
          <cx:pt idx="780">13.1242499999999</cx:pt>
          <cx:pt idx="781">13.1242499999999</cx:pt>
          <cx:pt idx="782">13.1242499999999</cx:pt>
          <cx:pt idx="783">52.718940000000003</cx:pt>
          <cx:pt idx="784">13.1242499999999</cx:pt>
          <cx:pt idx="785">17.533199999999997</cx:pt>
          <cx:pt idx="786">3.8588200000000001</cx:pt>
          <cx:pt idx="787">13.1242499999999</cx:pt>
          <cx:pt idx="788">12.839249999999899</cx:pt>
          <cx:pt idx="789">13.1242499999999</cx:pt>
          <cx:pt idx="790">13.1242499999999</cx:pt>
          <cx:pt idx="791">13.1242499999999</cx:pt>
          <cx:pt idx="792">11.625359999999899</cx:pt>
          <cx:pt idx="793">13.1242499999999</cx:pt>
          <cx:pt idx="794">8.5639399999999899</cx:pt>
          <cx:pt idx="795">40.600569999999706</cx:pt>
          <cx:pt idx="796">12.839249999999899</cx:pt>
          <cx:pt idx="797">19.547980000000003</cx:pt>
          <cx:pt idx="798">15.04954</cx:pt>
          <cx:pt idx="799">11.625359999999899</cx:pt>
          <cx:pt idx="800">15.04954</cx:pt>
          <cx:pt idx="801">15.786539999999999</cx:pt>
          <cx:pt idx="802">40.600569999999706</cx:pt>
          <cx:pt idx="803">12.839249999999899</cx:pt>
          <cx:pt idx="804">11.625359999999899</cx:pt>
          <cx:pt idx="805">5.89949999999999</cx:pt>
          <cx:pt idx="806">11.625359999999899</cx:pt>
          <cx:pt idx="807">11.625359999999899</cx:pt>
          <cx:pt idx="808">11.3421599999999</cx:pt>
          <cx:pt idx="809">11.625359999999899</cx:pt>
          <cx:pt idx="810">11.625359999999899</cx:pt>
          <cx:pt idx="811">11.625359999999899</cx:pt>
          <cx:pt idx="812">11.625359999999899</cx:pt>
          <cx:pt idx="813">13.1242499999999</cx:pt>
          <cx:pt idx="814">40.600569999999706</cx:pt>
          <cx:pt idx="815">11.625359999999899</cx:pt>
          <cx:pt idx="816">11.625359999999899</cx:pt>
          <cx:pt idx="817">15.786539999999999</cx:pt>
          <cx:pt idx="818">11.3421599999999</cx:pt>
          <cx:pt idx="819">13.1242499999999</cx:pt>
          <cx:pt idx="820">11.625359999999899</cx:pt>
          <cx:pt idx="821">1.16662</cx:pt>
          <cx:pt idx="822">11.3421599999999</cx:pt>
          <cx:pt idx="823">13.1242499999999</cx:pt>
          <cx:pt idx="824">13.1242499999999</cx:pt>
          <cx:pt idx="825">12.839249999999899</cx:pt>
          <cx:pt idx="826">5.6781600000000001</cx:pt>
          <cx:pt idx="827">13.1242499999999</cx:pt>
          <cx:pt idx="828">18.778979999999901</cx:pt>
          <cx:pt idx="829">13.1242499999999</cx:pt>
          <cx:pt idx="830">43.556270000000005</cx:pt>
          <cx:pt idx="831">13.1242499999999</cx:pt>
          <cx:pt idx="832">9.3201899999999789</cx:pt>
          <cx:pt idx="833">5.9126099999999893</cx:pt>
          <cx:pt idx="834">12.177599999999899</cx:pt>
          <cx:pt idx="835">12.839249999999899</cx:pt>
          <cx:pt idx="836">13.1242499999999</cx:pt>
          <cx:pt idx="837">11.625359999999899</cx:pt>
          <cx:pt idx="838">13.1242499999999</cx:pt>
          <cx:pt idx="839">13.1242499999999</cx:pt>
          <cx:pt idx="840">15.04954</cx:pt>
          <cx:pt idx="841">13.1242499999999</cx:pt>
          <cx:pt idx="842">38.182270000000003</cx:pt>
          <cx:pt idx="843">11.625359999999899</cx:pt>
          <cx:pt idx="844">11.625359999999899</cx:pt>
          <cx:pt idx="845">11.3421599999999</cx:pt>
          <cx:pt idx="846">13.1242499999999</cx:pt>
          <cx:pt idx="847">11.625359999999899</cx:pt>
          <cx:pt idx="848">11.625359999999899</cx:pt>
          <cx:pt idx="849">15.04954</cx:pt>
          <cx:pt idx="850">13.1242499999999</cx:pt>
          <cx:pt idx="851">12.3333599999999</cx:pt>
          <cx:pt idx="852">11.625359999999899</cx:pt>
          <cx:pt idx="853">42.454599999999999</cx:pt>
          <cx:pt idx="854">13.1242499999999</cx:pt>
          <cx:pt idx="855">11.625359999999899</cx:pt>
          <cx:pt idx="856">5.8197600000000005</cx:pt>
          <cx:pt idx="857">13.1242499999999</cx:pt>
          <cx:pt idx="858">13.1242499999999</cx:pt>
          <cx:pt idx="859">12.839249999999899</cx:pt>
          <cx:pt idx="860">18.778979999999901</cx:pt>
          <cx:pt idx="861">12.839249999999899</cx:pt>
          <cx:pt idx="862">13.1242499999999</cx:pt>
          <cx:pt idx="863">13.1242499999999</cx:pt>
          <cx:pt idx="864">11.3421599999999</cx:pt>
          <cx:pt idx="865">13.1242499999999</cx:pt>
          <cx:pt idx="866">13.1242499999999</cx:pt>
          <cx:pt idx="867">13.1242499999999</cx:pt>
          <cx:pt idx="868">40.06317</cx:pt>
          <cx:pt idx="869">9.3201899999999789</cx:pt>
          <cx:pt idx="870">13.1242499999999</cx:pt>
          <cx:pt idx="871">13.1242499999999</cx:pt>
          <cx:pt idx="872">13.1242499999999</cx:pt>
          <cx:pt idx="873">13.1242499999999</cx:pt>
          <cx:pt idx="874">11.625359999999899</cx:pt>
          <cx:pt idx="875">13.1242499999999</cx:pt>
          <cx:pt idx="876">28.777769999999904</cx:pt>
          <cx:pt idx="877">13.1242499999999</cx:pt>
          <cx:pt idx="878">11.625359999999899</cx:pt>
          <cx:pt idx="879">8.2472000000000012</cx:pt>
          <cx:pt idx="880">13.1242499999999</cx:pt>
          <cx:pt idx="881">13.1242499999999</cx:pt>
          <cx:pt idx="882">13.1242499999999</cx:pt>
          <cx:pt idx="883">11.625359999999899</cx:pt>
          <cx:pt idx="884">11.625359999999899</cx:pt>
          <cx:pt idx="885">11.625359999999899</cx:pt>
          <cx:pt idx="886">11.625359999999899</cx:pt>
          <cx:pt idx="887">18.778979999999901</cx:pt>
          <cx:pt idx="888">15.04954</cx:pt>
          <cx:pt idx="889">40.600569999999706</cx:pt>
          <cx:pt idx="890">13.1242499999999</cx:pt>
          <cx:pt idx="891">10.7091899999999</cx:pt>
          <cx:pt idx="892">11.625359999999899</cx:pt>
          <cx:pt idx="893">13.1242499999999</cx:pt>
          <cx:pt idx="894">12.839249999999899</cx:pt>
          <cx:pt idx="895">13.1242499999999</cx:pt>
          <cx:pt idx="896">13.1242499999999</cx:pt>
          <cx:pt idx="897">11.3421599999999</cx:pt>
          <cx:pt idx="898">13.1242499999999</cx:pt>
          <cx:pt idx="899">13.1242499999999</cx:pt>
          <cx:pt idx="900">12.839249999999899</cx:pt>
          <cx:pt idx="901">11.625359999999899</cx:pt>
          <cx:pt idx="902">14.0406599999999</cx:pt>
          <cx:pt idx="903">13.1242499999999</cx:pt>
          <cx:pt idx="904">10.18534</cx:pt>
          <cx:pt idx="905">12.839249999999899</cx:pt>
          <cx:pt idx="906">13.1242499999999</cx:pt>
          <cx:pt idx="907">13.1242499999999</cx:pt>
          <cx:pt idx="908">1.42302</cx:pt>
          <cx:pt idx="909">11.625359999999899</cx:pt>
          <cx:pt idx="910">13.1242499999999</cx:pt>
          <cx:pt idx="911">13.1242499999999</cx:pt>
          <cx:pt idx="912">10.7091899999999</cx:pt>
          <cx:pt idx="913">13.1242499999999</cx:pt>
          <cx:pt idx="914">11.625359999999899</cx:pt>
          <cx:pt idx="915">11.3421599999999</cx:pt>
          <cx:pt idx="916">13.1242499999999</cx:pt>
          <cx:pt idx="917">9.3201899999999789</cx:pt>
          <cx:pt idx="918">13.1242499999999</cx:pt>
          <cx:pt idx="919">5.8197600000000005</cx:pt>
          <cx:pt idx="920">13.1242499999999</cx:pt>
          <cx:pt idx="921">13.1242499999999</cx:pt>
          <cx:pt idx="922">11.625359999999899</cx:pt>
          <cx:pt idx="923">11.625359999999899</cx:pt>
          <cx:pt idx="924">13.1242499999999</cx:pt>
          <cx:pt idx="925">13.1242499999999</cx:pt>
          <cx:pt idx="926">13.1242499999999</cx:pt>
          <cx:pt idx="927">13.1242499999999</cx:pt>
          <cx:pt idx="928">10.7091899999999</cx:pt>
          <cx:pt idx="929">12.3333599999999</cx:pt>
          <cx:pt idx="930">13.1242499999999</cx:pt>
          <cx:pt idx="931">13.1242499999999</cx:pt>
          <cx:pt idx="932">13.1242499999999</cx:pt>
          <cx:pt idx="933">11.625359999999899</cx:pt>
          <cx:pt idx="934">11.3421599999999</cx:pt>
          <cx:pt idx="935">13.1242499999999</cx:pt>
          <cx:pt idx="936">13.1242499999999</cx:pt>
          <cx:pt idx="937">13.1242499999999</cx:pt>
          <cx:pt idx="938">13.1242499999999</cx:pt>
          <cx:pt idx="939">13.1242499999999</cx:pt>
          <cx:pt idx="940">11.625359999999899</cx:pt>
          <cx:pt idx="941">13.1242499999999</cx:pt>
          <cx:pt idx="942">10.7091899999999</cx:pt>
          <cx:pt idx="943">13.606859999999902</cx:pt>
          <cx:pt idx="944">15.04954</cx:pt>
          <cx:pt idx="945">13.1242499999999</cx:pt>
          <cx:pt idx="946">14.0406599999999</cx:pt>
          <cx:pt idx="947">11.625359999999899</cx:pt>
          <cx:pt idx="948">13.1242499999999</cx:pt>
          <cx:pt idx="949">11.625359999999899</cx:pt>
          <cx:pt idx="950">15.04954</cx:pt>
          <cx:pt idx="951">3.81501</cx:pt>
          <cx:pt idx="952">5.1511199999999997</cx:pt>
          <cx:pt idx="953">10.7091899999999</cx:pt>
          <cx:pt idx="954">13.1242499999999</cx:pt>
          <cx:pt idx="955">11.625359999999899</cx:pt>
          <cx:pt idx="956">13.1242499999999</cx:pt>
          <cx:pt idx="957">13.1242499999999</cx:pt>
          <cx:pt idx="958">47.318069999999899</cx:pt>
          <cx:pt idx="959">13.1242499999999</cx:pt>
          <cx:pt idx="960">13.1242499999999</cx:pt>
          <cx:pt idx="961">13.1242499999999</cx:pt>
          <cx:pt idx="962">13.1242499999999</cx:pt>
          <cx:pt idx="963">10.6952999999999</cx:pt>
          <cx:pt idx="964">15.786539999999999</cx:pt>
          <cx:pt idx="965">13.1242499999999</cx:pt>
          <cx:pt idx="966">13.1242499999999</cx:pt>
          <cx:pt idx="967">12.3333599999999</cx:pt>
          <cx:pt idx="968">35.737099999999998</cx:pt>
          <cx:pt idx="969">13.1242499999999</cx:pt>
          <cx:pt idx="970">13.1242499999999</cx:pt>
          <cx:pt idx="971">18.778979999999901</cx:pt>
          <cx:pt idx="972">13.1242499999999</cx:pt>
          <cx:pt idx="973">13.1242499999999</cx:pt>
          <cx:pt idx="974">11.704180000000001</cx:pt>
          <cx:pt idx="975">13.1242499999999</cx:pt>
          <cx:pt idx="976">26.090769999999903</cx:pt>
          <cx:pt idx="977">13.1242499999999</cx:pt>
          <cx:pt idx="978">13.1242499999999</cx:pt>
          <cx:pt idx="979">40.86927</cx:pt>
          <cx:pt idx="980">13.896059999999899</cx:pt>
          <cx:pt idx="981">41.406669999999998</cx:pt>
          <cx:pt idx="982">13.1242499999999</cx:pt>
          <cx:pt idx="983">13.1242499999999</cx:pt>
          <cx:pt idx="984">15.786539999999999</cx:pt>
          <cx:pt idx="985">15.04954</cx:pt>
          <cx:pt idx="986">11.625359999999899</cx:pt>
          <cx:pt idx="987">5.6781600000000001</cx:pt>
          <cx:pt idx="988">11.625359999999899</cx:pt>
          <cx:pt idx="989">12.3333599999999</cx:pt>
          <cx:pt idx="990">11.625359999999899</cx:pt>
          <cx:pt idx="991">15.786539999999999</cx:pt>
          <cx:pt idx="992">11.625359999999899</cx:pt>
          <cx:pt idx="993">19.240380000000002</cx:pt>
          <cx:pt idx="994">15.04954</cx:pt>
          <cx:pt idx="995">11.625359999999899</cx:pt>
          <cx:pt idx="996">13.1242499999999</cx:pt>
          <cx:pt idx="997">15.491739999999901</cx:pt>
          <cx:pt idx="998">13.1242499999999</cx:pt>
          <cx:pt idx="999">14.0406599999999</cx:pt>
          <cx:pt idx="1000">11.625359999999899</cx:pt>
          <cx:pt idx="1001">15.04954</cx:pt>
          <cx:pt idx="1002">15.04954</cx:pt>
          <cx:pt idx="1003">13.1242499999999</cx:pt>
          <cx:pt idx="1004">13.1242499999999</cx:pt>
          <cx:pt idx="1005">13.1242499999999</cx:pt>
          <cx:pt idx="1006">43.287569999999697</cx:pt>
          <cx:pt idx="1007">3.68391</cx:pt>
          <cx:pt idx="1008">18.778979999999901</cx:pt>
          <cx:pt idx="1009">15.04954</cx:pt>
          <cx:pt idx="1010">12.839249999999899</cx:pt>
          <cx:pt idx="1011">18.778979999999901</cx:pt>
          <cx:pt idx="1012">13.1242499999999</cx:pt>
          <cx:pt idx="1013">9.44834</cx:pt>
          <cx:pt idx="1014">13.1242499999999</cx:pt>
          <cx:pt idx="1015">13.1242499999999</cx:pt>
          <cx:pt idx="1016">13.1242499999999</cx:pt>
          <cx:pt idx="1017">11.3421599999999</cx:pt>
          <cx:pt idx="1018">13.1242499999999</cx:pt>
          <cx:pt idx="1019">11.625359999999899</cx:pt>
          <cx:pt idx="1020">15.04954</cx:pt>
          <cx:pt idx="1021">3.81501</cx:pt>
          <cx:pt idx="1022">11.625359999999899</cx:pt>
          <cx:pt idx="1023">13.1242499999999</cx:pt>
          <cx:pt idx="1024">36.838769999999997</cx:pt>
          <cx:pt idx="1025">26.090769999999903</cx:pt>
          <cx:pt idx="1026">13.1242499999999</cx:pt>
          <cx:pt idx="1027">13.1242499999999</cx:pt>
          <cx:pt idx="1028">4.7562199999999999</cx:pt>
          <cx:pt idx="1029">12.3333599999999</cx:pt>
          <cx:pt idx="1030">13.1242499999999</cx:pt>
          <cx:pt idx="1031">13.1242499999999</cx:pt>
          <cx:pt idx="1032">13.1242499999999</cx:pt>
          <cx:pt idx="1033">13.1242499999999</cx:pt>
          <cx:pt idx="1034">13.1242499999999</cx:pt>
          <cx:pt idx="1035">17.24098</cx:pt>
          <cx:pt idx="1036">13.1242499999999</cx:pt>
          <cx:pt idx="1037">13.1242499999999</cx:pt>
          <cx:pt idx="1038">13.1242499999999</cx:pt>
          <cx:pt idx="1039">15.04954</cx:pt>
          <cx:pt idx="1040">13.1242499999999</cx:pt>
          <cx:pt idx="1041">13.1242499999999</cx:pt>
          <cx:pt idx="1042">13.1242499999999</cx:pt>
          <cx:pt idx="1043">13.1242499999999</cx:pt>
          <cx:pt idx="1044">9.1535399999999907</cx:pt>
          <cx:pt idx="1045">13.1242499999999</cx:pt>
          <cx:pt idx="1046">18.778979999999901</cx:pt>
          <cx:pt idx="1047">13.1242499999999</cx:pt>
          <cx:pt idx="1048">10.92234</cx:pt>
          <cx:pt idx="1049">15.04954</cx:pt>
          <cx:pt idx="1050">11.625359999999899</cx:pt>
          <cx:pt idx="1051">13.1242499999999</cx:pt>
          <cx:pt idx="1052">13.1242499999999</cx:pt>
          <cx:pt idx="1053">13.1242499999999</cx:pt>
          <cx:pt idx="1054">18.009979999999899</cx:pt>
          <cx:pt idx="1055">12.177599999999899</cx:pt>
          <cx:pt idx="1056">12.3333599999999</cx:pt>
          <cx:pt idx="1057">13.1242499999999</cx:pt>
          <cx:pt idx="1058">3.81501</cx:pt>
          <cx:pt idx="1059">13.1242499999999</cx:pt>
          <cx:pt idx="1060">13.1242499999999</cx:pt>
          <cx:pt idx="1061">10.92234</cx:pt>
          <cx:pt idx="1062">13.1242499999999</cx:pt>
          <cx:pt idx="1063">13.1242499999999</cx:pt>
          <cx:pt idx="1064">35.495269999999898</cx:pt>
          <cx:pt idx="1065">13.1242499999999</cx:pt>
          <cx:pt idx="1066">15.786539999999999</cx:pt>
          <cx:pt idx="1067">13.1242499999999</cx:pt>
          <cx:pt idx="1068">11.625359999999899</cx:pt>
          <cx:pt idx="1069">5.7683999999999997</cx:pt>
          <cx:pt idx="1070">12.839249999999899</cx:pt>
          <cx:pt idx="1071">13.1242499999999</cx:pt>
          <cx:pt idx="1072">13.1242499999999</cx:pt>
          <cx:pt idx="1073">18.778979999999901</cx:pt>
          <cx:pt idx="1074">11.3421599999999</cx:pt>
          <cx:pt idx="1075">13.1242499999999</cx:pt>
          <cx:pt idx="1076">13.1242499999999</cx:pt>
          <cx:pt idx="1077">18.778979999999901</cx:pt>
          <cx:pt idx="1078">13.1242499999999</cx:pt>
          <cx:pt idx="1079">11.3421599999999</cx:pt>
          <cx:pt idx="1080">13.1242499999999</cx:pt>
          <cx:pt idx="1081">11.625359999999899</cx:pt>
          <cx:pt idx="1082">11.625359999999899</cx:pt>
          <cx:pt idx="1083">15.04954</cx:pt>
          <cx:pt idx="1084">18.778979999999901</cx:pt>
          <cx:pt idx="1085">15.786539999999999</cx:pt>
          <cx:pt idx="1086">26.359469999999902</cx:pt>
          <cx:pt idx="1087">15.04954</cx:pt>
          <cx:pt idx="1088">13.1242499999999</cx:pt>
          <cx:pt idx="1089">13.1242499999999</cx:pt>
          <cx:pt idx="1090">11.625359999999899</cx:pt>
          <cx:pt idx="1091">10.7091899999999</cx:pt>
          <cx:pt idx="1092">11.625359999999899</cx:pt>
          <cx:pt idx="1093">3.94611</cx:pt>
          <cx:pt idx="1094">11.625359999999899</cx:pt>
          <cx:pt idx="1095">13.1242499999999</cx:pt>
          <cx:pt idx="1096">13.1242499999999</cx:pt>
          <cx:pt idx="1097">17.24098</cx:pt>
          <cx:pt idx="1098">35.763969999999901</cx:pt>
          <cx:pt idx="1099">13.1242499999999</cx:pt>
          <cx:pt idx="1100">11.3421599999999</cx:pt>
          <cx:pt idx="1101">18.009979999999899</cx:pt>
          <cx:pt idx="1102">37.913569999999702</cx:pt>
          <cx:pt idx="1103">15.04954</cx:pt>
          <cx:pt idx="1104">13.1242499999999</cx:pt>
          <cx:pt idx="1105">13.1242499999999</cx:pt>
          <cx:pt idx="1106">13.1242499999999</cx:pt>
          <cx:pt idx="1107">13.1242499999999</cx:pt>
          <cx:pt idx="1108">13.1242499999999</cx:pt>
          <cx:pt idx="1109">17.24098</cx:pt>
          <cx:pt idx="1110">14.3154</cx:pt>
          <cx:pt idx="1111">13.1242499999999</cx:pt>
          <cx:pt idx="1112">13.1242499999999</cx:pt>
          <cx:pt idx="1113">50.811169999999898</cx:pt>
          <cx:pt idx="1114">13.1242499999999</cx:pt>
          <cx:pt idx="1115">28.777769999999904</cx:pt>
          <cx:pt idx="1116">26.090769999999903</cx:pt>
          <cx:pt idx="1117">13.1242499999999</cx:pt>
          <cx:pt idx="1118">11.625359999999899</cx:pt>
          <cx:pt idx="1119">13.1242499999999</cx:pt>
          <cx:pt idx="1120">11.625359999999899</cx:pt>
          <cx:pt idx="1121">13.1242499999999</cx:pt>
          <cx:pt idx="1122">13.1242499999999</cx:pt>
          <cx:pt idx="1123">13.1242499999999</cx:pt>
          <cx:pt idx="1124">13.1242499999999</cx:pt>
          <cx:pt idx="1125">12.3333599999999</cx:pt>
          <cx:pt idx="1126">13.1242499999999</cx:pt>
          <cx:pt idx="1127">13.1242499999999</cx:pt>
          <cx:pt idx="1128">11.625359999999899</cx:pt>
          <cx:pt idx="1129">11.625359999999899</cx:pt>
          <cx:pt idx="1130">13.1242499999999</cx:pt>
          <cx:pt idx="1131">17.24098</cx:pt>
          <cx:pt idx="1132">11.625359999999899</cx:pt>
          <cx:pt idx="1133">13.1242499999999</cx:pt>
          <cx:pt idx="1134">13.1242499999999</cx:pt>
          <cx:pt idx="1135">11.625359999999899</cx:pt>
          <cx:pt idx="1136">13.1242499999999</cx:pt>
          <cx:pt idx="1137">11.625359999999899</cx:pt>
          <cx:pt idx="1138">11.625359999999899</cx:pt>
          <cx:pt idx="1139">13.1242499999999</cx:pt>
          <cx:pt idx="1140">13.1242499999999</cx:pt>
          <cx:pt idx="1141">15.04954</cx:pt>
          <cx:pt idx="1142">40.600569999999706</cx:pt>
          <cx:pt idx="1143">11.625359999999899</cx:pt>
          <cx:pt idx="1144">36.838769999999997</cx:pt>
          <cx:pt idx="1145">13.1242499999999</cx:pt>
          <cx:pt idx="1146">15.04954</cx:pt>
          <cx:pt idx="1147">7.7199199999999992</cx:pt>
          <cx:pt idx="1148">40.86927</cx:pt>
          <cx:pt idx="1149">9.3201899999999789</cx:pt>
          <cx:pt idx="1150">3.94611</cx:pt>
          <cx:pt idx="1151">17.24098</cx:pt>
          <cx:pt idx="1152">13.1242499999999</cx:pt>
          <cx:pt idx="1153">13.1242499999999</cx:pt>
          <cx:pt idx="1154">13.1242499999999</cx:pt>
          <cx:pt idx="1155">13.1242499999999</cx:pt>
          <cx:pt idx="1156">13.1242499999999</cx:pt>
          <cx:pt idx="1157">11.625359999999899</cx:pt>
          <cx:pt idx="1158">18.778979999999901</cx:pt>
          <cx:pt idx="1159">13.1242499999999</cx:pt>
          <cx:pt idx="1160">9.5957399999999993</cx:pt>
          <cx:pt idx="1161">13.1242499999999</cx:pt>
          <cx:pt idx="1162">13.1242499999999</cx:pt>
          <cx:pt idx="1163">13.1242499999999</cx:pt>
          <cx:pt idx="1164">15.04954</cx:pt>
          <cx:pt idx="1165">13.1242499999999</cx:pt>
          <cx:pt idx="1166">15.786539999999999</cx:pt>
          <cx:pt idx="1167">13.1242499999999</cx:pt>
          <cx:pt idx="1168">8.0173600000000214</cx:pt>
          <cx:pt idx="1169">13.1242499999999</cx:pt>
          <cx:pt idx="1170">3.9741999999999997</cx:pt>
          <cx:pt idx="1171">18.778979999999901</cx:pt>
          <cx:pt idx="1172">13.1242499999999</cx:pt>
          <cx:pt idx="1173">3.68391</cx:pt>
          <cx:pt idx="1174">11.625359999999899</cx:pt>
          <cx:pt idx="1175">13.1242499999999</cx:pt>
          <cx:pt idx="1176">10.18534</cx:pt>
          <cx:pt idx="1177">12.050159999999901</cx:pt>
          <cx:pt idx="1178">13.1242499999999</cx:pt>
          <cx:pt idx="1179">13.1242499999999</cx:pt>
          <cx:pt idx="1180">13.1242499999999</cx:pt>
          <cx:pt idx="1181">13.1242499999999</cx:pt>
          <cx:pt idx="1182">13.1242499999999</cx:pt>
          <cx:pt idx="1183">17.24098</cx:pt>
          <cx:pt idx="1184">11.625359999999899</cx:pt>
          <cx:pt idx="1185">13.1242499999999</cx:pt>
          <cx:pt idx="1186">40.86927</cx:pt>
          <cx:pt idx="1187">13.1242499999999</cx:pt>
          <cx:pt idx="1188">13.1242499999999</cx:pt>
          <cx:pt idx="1189">13.1242499999999</cx:pt>
          <cx:pt idx="1190">13.1242499999999</cx:pt>
          <cx:pt idx="1191">18.778979999999901</cx:pt>
          <cx:pt idx="1192">18.778979999999901</cx:pt>
          <cx:pt idx="1193">13.1242499999999</cx:pt>
          <cx:pt idx="1194">13.1242499999999</cx:pt>
          <cx:pt idx="1195">12.3333599999999</cx:pt>
          <cx:pt idx="1196">13.1242499999999</cx:pt>
          <cx:pt idx="1197">19.686400000000003</cx:pt>
          <cx:pt idx="1198">11.625359999999899</cx:pt>
          <cx:pt idx="1199">15.04954</cx:pt>
          <cx:pt idx="1200">13.1242499999999</cx:pt>
          <cx:pt idx="1201">13.1242499999999</cx:pt>
          <cx:pt idx="1202">40.86927</cx:pt>
          <cx:pt idx="1203">13.1242499999999</cx:pt>
          <cx:pt idx="1204">13.1242499999999</cx:pt>
          <cx:pt idx="1205">13.1242499999999</cx:pt>
          <cx:pt idx="1206">35.468399999999903</cx:pt>
          <cx:pt idx="1207">15.04954</cx:pt>
          <cx:pt idx="1208">13.1242499999999</cx:pt>
          <cx:pt idx="1209">13.1242499999999</cx:pt>
          <cx:pt idx="1210">18.778979999999901</cx:pt>
          <cx:pt idx="1211">13.1242499999999</cx:pt>
          <cx:pt idx="1212">13.1242499999999</cx:pt>
          <cx:pt idx="1213">36.811899999999895</cx:pt>
          <cx:pt idx="1214">13.1242499999999</cx:pt>
          <cx:pt idx="1215">13.1242499999999</cx:pt>
          <cx:pt idx="1216">13.1242499999999</cx:pt>
          <cx:pt idx="1217">11.625359999999899</cx:pt>
          <cx:pt idx="1218">9.3201899999999789</cx:pt>
          <cx:pt idx="1219">13.1242499999999</cx:pt>
          <cx:pt idx="1220">18.009979999999899</cx:pt>
          <cx:pt idx="1221">10.7091899999999</cx:pt>
          <cx:pt idx="1222">17.24098</cx:pt>
          <cx:pt idx="1223">11.625359999999899</cx:pt>
          <cx:pt idx="1224">13.1242499999999</cx:pt>
          <cx:pt idx="1225">13.1242499999999</cx:pt>
          <cx:pt idx="1226">13.1242499999999</cx:pt>
          <cx:pt idx="1227">11.625359999999899</cx:pt>
          <cx:pt idx="1228">13.1242499999999</cx:pt>
          <cx:pt idx="1229">11.625359999999899</cx:pt>
          <cx:pt idx="1230">13.1242499999999</cx:pt>
          <cx:pt idx="1231">13.1242499999999</cx:pt>
          <cx:pt idx="1232">6.5549999999999997</cx:pt>
          <cx:pt idx="1233">10.7091899999999</cx:pt>
          <cx:pt idx="1234">11.625359999999899</cx:pt>
          <cx:pt idx="1235">11.625359999999899</cx:pt>
          <cx:pt idx="1236">10.5564</cx:pt>
          <cx:pt idx="1237">10.92234</cx:pt>
          <cx:pt idx="1238">11.3421599999999</cx:pt>
          <cx:pt idx="1239">13.1242499999999</cx:pt>
          <cx:pt idx="1240">11.625359999999899</cx:pt>
          <cx:pt idx="1241">5.4309900000000004</cx:pt>
          <cx:pt idx="1242">11.704180000000001</cx:pt>
          <cx:pt idx="1243">13.1242499999999</cx:pt>
          <cx:pt idx="1244">13.1242499999999</cx:pt>
          <cx:pt idx="1245">13.1242499999999</cx:pt>
          <cx:pt idx="1246">13.1242499999999</cx:pt>
          <cx:pt idx="1247">8.6527999999999992</cx:pt>
          <cx:pt idx="1248">15.04954</cx:pt>
          <cx:pt idx="1249">11.625359999999899</cx:pt>
          <cx:pt idx="1250">3.68391</cx:pt>
          <cx:pt idx="1251">13.1242499999999</cx:pt>
          <cx:pt idx="1252">11.625359999999899</cx:pt>
          <cx:pt idx="1253">13.606859999999902</cx:pt>
          <cx:pt idx="1254">13.1242499999999</cx:pt>
          <cx:pt idx="1255">11.625359999999899</cx:pt>
          <cx:pt idx="1256">15.04954</cx:pt>
          <cx:pt idx="1257">11.625359999999899</cx:pt>
          <cx:pt idx="1258">13.1242499999999</cx:pt>
          <cx:pt idx="1259">15.04954</cx:pt>
          <cx:pt idx="1260">11.625359999999899</cx:pt>
          <cx:pt idx="1261">13.1242499999999</cx:pt>
          <cx:pt idx="1262">13.1242499999999</cx:pt>
          <cx:pt idx="1263">17.702379999999902</cx:pt>
          <cx:pt idx="1264">13.1242499999999</cx:pt>
          <cx:pt idx="1265">31.733469999999901</cx:pt>
          <cx:pt idx="1266">13.1242499999999</cx:pt>
          <cx:pt idx="1267">15.04954</cx:pt>
          <cx:pt idx="1268">13.1242499999999</cx:pt>
          <cx:pt idx="1269">10.62754</cx:pt>
          <cx:pt idx="1270">28.777769999999904</cx:pt>
          <cx:pt idx="1271">35.495269999999898</cx:pt>
          <cx:pt idx="1272">5.9613599999999902</cx:pt>
          <cx:pt idx="1273">13.1242499999999</cx:pt>
          <cx:pt idx="1274">15.04954</cx:pt>
          <cx:pt idx="1275">13.1242499999999</cx:pt>
          <cx:pt idx="1276">13.1242499999999</cx:pt>
          <cx:pt idx="1277">13.1242499999999</cx:pt>
          <cx:pt idx="1278">15.04954</cx:pt>
          <cx:pt idx="1279">13.1242499999999</cx:pt>
          <cx:pt idx="1280">11.625359999999899</cx:pt>
          <cx:pt idx="1281">13.1242499999999</cx:pt>
          <cx:pt idx="1282">13.1242499999999</cx:pt>
          <cx:pt idx="1283">3.08962</cx:pt>
          <cx:pt idx="1284">13.1242499999999</cx:pt>
          <cx:pt idx="1285">13.1242499999999</cx:pt>
          <cx:pt idx="1286">13.896059999999899</cx:pt>
          <cx:pt idx="1287">11.625359999999899</cx:pt>
          <cx:pt idx="1288">17.24098</cx:pt>
          <cx:pt idx="1289">13.1242499999999</cx:pt>
          <cx:pt idx="1290">13.1242499999999</cx:pt>
          <cx:pt idx="1291">15.04954</cx:pt>
          <cx:pt idx="1292">4.07721</cx:pt>
          <cx:pt idx="1293">11.625359999999899</cx:pt>
          <cx:pt idx="1294">8.9232000000000014</cx:pt>
          <cx:pt idx="1295">13.1242499999999</cx:pt>
          <cx:pt idx="1296">13.1242499999999</cx:pt>
          <cx:pt idx="1297">11.625359999999899</cx:pt>
          <cx:pt idx="1298">13.606859999999902</cx:pt>
          <cx:pt idx="1299">13.1242499999999</cx:pt>
          <cx:pt idx="1300">15.04954</cx:pt>
          <cx:pt idx="1301">13.1242499999999</cx:pt>
          <cx:pt idx="1302">13.1242499999999</cx:pt>
          <cx:pt idx="1303">1.16662</cx:pt>
          <cx:pt idx="1304">13.1242499999999</cx:pt>
          <cx:pt idx="1305">15.786539999999999</cx:pt>
          <cx:pt idx="1306">11.3421599999999</cx:pt>
          <cx:pt idx="1307">48.661569999999699</cx:pt>
          <cx:pt idx="1308">3.81501</cx:pt>
          <cx:pt idx="1309">11.625359999999899</cx:pt>
          <cx:pt idx="1310">12.4731799999999</cx:pt>
          <cx:pt idx="1311">12.3333599999999</cx:pt>
          <cx:pt idx="1312">12.3333599999999</cx:pt>
          <cx:pt idx="1313">15.04954</cx:pt>
          <cx:pt idx="1314">12.839249999999899</cx:pt>
          <cx:pt idx="1315">13.1242499999999</cx:pt>
          <cx:pt idx="1316">13.1242499999999</cx:pt>
          <cx:pt idx="1317">9.3201899999999789</cx:pt>
          <cx:pt idx="1318">18.009979999999899</cx:pt>
          <cx:pt idx="1319">13.1242499999999</cx:pt>
          <cx:pt idx="1320">13.1242499999999</cx:pt>
          <cx:pt idx="1321">15.04954</cx:pt>
          <cx:pt idx="1322">18.778979999999901</cx:pt>
          <cx:pt idx="1323">14.75474</cx:pt>
          <cx:pt idx="1324">40.600569999999706</cx:pt>
          <cx:pt idx="1325">11.3421599999999</cx:pt>
          <cx:pt idx="1326">11.625359999999899</cx:pt>
          <cx:pt idx="1327">13.1242499999999</cx:pt>
          <cx:pt idx="1328">13.1242499999999</cx:pt>
          <cx:pt idx="1329">11.625359999999899</cx:pt>
          <cx:pt idx="1330">11.7669599999999</cx:pt>
          <cx:pt idx="1331">11.625359999999899</cx:pt>
          <cx:pt idx="1332">11.3421599999999</cx:pt>
          <cx:pt idx="1333">11.625359999999899</cx:pt>
          <cx:pt idx="1334">13.1242499999999</cx:pt>
          <cx:pt idx="1335">13.1242499999999</cx:pt>
          <cx:pt idx="1336">8.9232000000000014</cx:pt>
          <cx:pt idx="1337">3.4742199999999896</cx:pt>
          <cx:pt idx="1338">3.08962</cx:pt>
          <cx:pt idx="1339">18.778979999999901</cx:pt>
          <cx:pt idx="1340">13.1242499999999</cx:pt>
          <cx:pt idx="1341">13.1242499999999</cx:pt>
          <cx:pt idx="1342">13.1242499999999</cx:pt>
          <cx:pt idx="1343">13.1242499999999</cx:pt>
          <cx:pt idx="1344">13.1242499999999</cx:pt>
          <cx:pt idx="1345">13.1242499999999</cx:pt>
          <cx:pt idx="1346">13.1242499999999</cx:pt>
          <cx:pt idx="1347">9.3201899999999789</cx:pt>
          <cx:pt idx="1348">13.1242499999999</cx:pt>
          <cx:pt idx="1349">37.91357</cx:pt>
          <cx:pt idx="1350">13.1242499999999</cx:pt>
          <cx:pt idx="1351">13.1242499999999</cx:pt>
          <cx:pt idx="1352">15.04954</cx:pt>
          <cx:pt idx="1353">13.1242499999999</cx:pt>
          <cx:pt idx="1354">13.1242499999999</cx:pt>
          <cx:pt idx="1355">18.778979999999901</cx:pt>
          <cx:pt idx="1356">13.1242499999999</cx:pt>
          <cx:pt idx="1357">13.1242499999999</cx:pt>
          <cx:pt idx="1358">13.1242499999999</cx:pt>
          <cx:pt idx="1359">13.1242499999999</cx:pt>
          <cx:pt idx="1360">13.1242499999999</cx:pt>
          <cx:pt idx="1361">13.1242499999999</cx:pt>
          <cx:pt idx="1362">15.04954</cx:pt>
          <cx:pt idx="1363">17.2256</cx:pt>
          <cx:pt idx="1364">5.1279999999999903</cx:pt>
          <cx:pt idx="1365">8.5639399999999899</cx:pt>
          <cx:pt idx="1366">13.1242499999999</cx:pt>
          <cx:pt idx="1367">11.625359999999899</cx:pt>
          <cx:pt idx="1368">13.1242499999999</cx:pt>
          <cx:pt idx="1369">10.7091899999999</cx:pt>
          <cx:pt idx="1370">39.230199999999897</cx:pt>
          <cx:pt idx="1371">13.1242499999999</cx:pt>
          <cx:pt idx="1372">13.1242499999999</cx:pt>
          <cx:pt idx="1373">13.1242499999999</cx:pt>
          <cx:pt idx="1374">19.547980000000003</cx:pt>
          <cx:pt idx="1375">13.1242499999999</cx:pt>
          <cx:pt idx="1376">15.04954</cx:pt>
          <cx:pt idx="1377">12.3333599999999</cx:pt>
          <cx:pt idx="1378">11.3421599999999</cx:pt>
          <cx:pt idx="1379">37.913569999999702</cx:pt>
          <cx:pt idx="1380">15.786539999999999</cx:pt>
          <cx:pt idx="1381">37.913569999999702</cx:pt>
          <cx:pt idx="1382">11.625359999999899</cx:pt>
          <cx:pt idx="1383">18.009979999999899</cx:pt>
          <cx:pt idx="1384">17.24098</cx:pt>
          <cx:pt idx="1385">13.1242499999999</cx:pt>
          <cx:pt idx="1386">13.1242499999999</cx:pt>
          <cx:pt idx="1387">17.24098</cx:pt>
          <cx:pt idx="1388">11.3421599999999</cx:pt>
          <cx:pt idx="1389">13.1242499999999</cx:pt>
          <cx:pt idx="1390">13.1242499999999</cx:pt>
          <cx:pt idx="1391">13.1242499999999</cx:pt>
          <cx:pt idx="1392">15.04954</cx:pt>
          <cx:pt idx="1393">17.24098</cx:pt>
          <cx:pt idx="1394">13.1242499999999</cx:pt>
          <cx:pt idx="1395">13.1242499999999</cx:pt>
          <cx:pt idx="1396">13.1242499999999</cx:pt>
          <cx:pt idx="1397">15.04954</cx:pt>
          <cx:pt idx="1398">13.1242499999999</cx:pt>
          <cx:pt idx="1399">40.86927</cx:pt>
          <cx:pt idx="1400">11.625359999999899</cx:pt>
          <cx:pt idx="1401">13.1242499999999</cx:pt>
          <cx:pt idx="1402">12.967500000000001</cx:pt>
          <cx:pt idx="1403">17.24098</cx:pt>
          <cx:pt idx="1404">0.91021999999999992</cx:pt>
          <cx:pt idx="1405">18.778979999999901</cx:pt>
          <cx:pt idx="1406">11.625359999999899</cx:pt>
          <cx:pt idx="1407">13.1242499999999</cx:pt>
          <cx:pt idx="1408">11.85798</cx:pt>
          <cx:pt idx="1409">13.1242499999999</cx:pt>
          <cx:pt idx="1410">13.1242499999999</cx:pt>
          <cx:pt idx="1411">15.786539999999999</cx:pt>
          <cx:pt idx="1412">11.625359999999899</cx:pt>
          <cx:pt idx="1413">13.1242499999999</cx:pt>
          <cx:pt idx="1414">5.4309900000000004</cx:pt>
          <cx:pt idx="1415">13.1242499999999</cx:pt>
          <cx:pt idx="1416">17.24098</cx:pt>
          <cx:pt idx="1417">17.24098</cx:pt>
          <cx:pt idx="1418">5.1511199999999997</cx:pt>
          <cx:pt idx="1419">9.3201899999999789</cx:pt>
          <cx:pt idx="1420">5.4309900000000004</cx:pt>
          <cx:pt idx="1421">17.24098</cx:pt>
          <cx:pt idx="1422">13.1242499999999</cx:pt>
          <cx:pt idx="1423">11.625359999999899</cx:pt>
          <cx:pt idx="1424">13.1242499999999</cx:pt>
          <cx:pt idx="1425">14.75474</cx:pt>
          <cx:pt idx="1426">11.3421599999999</cx:pt>
          <cx:pt idx="1427">29.046469999999903</cx:pt>
          <cx:pt idx="1428">15.04954</cx:pt>
          <cx:pt idx="1429">9.722999999999999</cx:pt>
          <cx:pt idx="1430">13.1242499999999</cx:pt>
          <cx:pt idx="1431">13.1242499999999</cx:pt>
          <cx:pt idx="1432">13.1242499999999</cx:pt>
          <cx:pt idx="1433">13.1242499999999</cx:pt>
          <cx:pt idx="1434">40.600569999999706</cx:pt>
          <cx:pt idx="1435">15.04954</cx:pt>
          <cx:pt idx="1436">13.1242499999999</cx:pt>
          <cx:pt idx="1437">15.491739999999901</cx:pt>
          <cx:pt idx="1438">11.625359999999899</cx:pt>
          <cx:pt idx="1439">6.9552600000000009</cx:pt>
          <cx:pt idx="1440">1.42302</cx:pt>
          <cx:pt idx="1441">11.625359999999899</cx:pt>
          <cx:pt idx="1442">15.04954</cx:pt>
          <cx:pt idx="1443">8.3959200000000003</cx:pt>
          <cx:pt idx="1444">13.606860000000001</cx:pt>
          <cx:pt idx="1445">13.1242499999999</cx:pt>
          <cx:pt idx="1446">10.7091899999999</cx:pt>
          <cx:pt idx="1447">17.994599999999998</cx:pt>
          <cx:pt idx="1448">5.7683999999999997</cx:pt>
          <cx:pt idx="1449">13.1242499999999</cx:pt>
          <cx:pt idx="1450">13.1242499999999</cx:pt>
          <cx:pt idx="1451">13.1242499999999</cx:pt>
          <cx:pt idx="1452">2.1922199999999998</cx:pt>
          <cx:pt idx="1453">15.04954</cx:pt>
          <cx:pt idx="1454">13.1242499999999</cx:pt>
          <cx:pt idx="1455">13.1242499999999</cx:pt>
          <cx:pt idx="1456">13.1242499999999</cx:pt>
          <cx:pt idx="1457">13.1242499999999</cx:pt>
          <cx:pt idx="1458">13.1242499999999</cx:pt>
          <cx:pt idx="1459">11.625359999999899</cx:pt>
          <cx:pt idx="1460">9.1535399999999907</cx:pt>
          <cx:pt idx="1461">13.1242499999999</cx:pt>
          <cx:pt idx="1462">13.1242499999999</cx:pt>
          <cx:pt idx="1463">13.1242499999999</cx:pt>
          <cx:pt idx="1464">13.1242499999999</cx:pt>
          <cx:pt idx="1465">15.04954</cx:pt>
          <cx:pt idx="1466">4.9998000000000005</cx:pt>
          <cx:pt idx="1467">15.04954</cx:pt>
          <cx:pt idx="1468">17.24098</cx:pt>
          <cx:pt idx="1469">13.1242499999999</cx:pt>
          <cx:pt idx="1470">13.1242499999999</cx:pt>
          <cx:pt idx="1471">13.1242499999999</cx:pt>
          <cx:pt idx="1472">13.1242499999999</cx:pt>
          <cx:pt idx="1473">18.778979999999901</cx:pt>
          <cx:pt idx="1474">15.04954</cx:pt>
          <cx:pt idx="1475">15.04954</cx:pt>
          <cx:pt idx="1476">11.625359999999899</cx:pt>
          <cx:pt idx="1477">15.04954</cx:pt>
          <cx:pt idx="1478">17.24098</cx:pt>
          <cx:pt idx="1479">16.93338</cx:pt>
          <cx:pt idx="1480">13.1242499999999</cx:pt>
          <cx:pt idx="1481">13.1242499999999</cx:pt>
          <cx:pt idx="1482">13.1242499999999</cx:pt>
          <cx:pt idx="1483">13.1242499999999</cx:pt>
          <cx:pt idx="1484">13.1242499999999</cx:pt>
          <cx:pt idx="1485">13.1242499999999</cx:pt>
          <cx:pt idx="1486">11.625359999999899</cx:pt>
          <cx:pt idx="1487">13.1242499999999</cx:pt>
          <cx:pt idx="1488">11.625359999999899</cx:pt>
          <cx:pt idx="1489">40.600569999999706</cx:pt>
          <cx:pt idx="1490">11.625359999999899</cx:pt>
          <cx:pt idx="1491">45.974569999999702</cx:pt>
          <cx:pt idx="1492">13.1242499999999</cx:pt>
          <cx:pt idx="1493">11.625359999999899</cx:pt>
          <cx:pt idx="1494">13.1242499999999</cx:pt>
          <cx:pt idx="1495">2.5639999999999898</cx:pt>
          <cx:pt idx="1496">15.04954</cx:pt>
          <cx:pt idx="1497">11.625359999999899</cx:pt>
          <cx:pt idx="1498">13.1242499999999</cx:pt>
          <cx:pt idx="1499">17.24098</cx:pt>
          <cx:pt idx="1500">11.625359999999899</cx:pt>
          <cx:pt idx="1501">15.04954</cx:pt>
          <cx:pt idx="1502">13.1242499999999</cx:pt>
          <cx:pt idx="1503">11.704180000000001</cx:pt>
          <cx:pt idx="1504">18.778979999999901</cx:pt>
          <cx:pt idx="1505">15.04954</cx:pt>
          <cx:pt idx="1506">11.625359999999899</cx:pt>
          <cx:pt idx="1507">18.778979999999901</cx:pt>
          <cx:pt idx="1508">13.1242499999999</cx:pt>
          <cx:pt idx="1509">56.722569999999692</cx:pt>
          <cx:pt idx="1510">6.5549999999999997</cx:pt>
          <cx:pt idx="1511">13.1242499999999</cx:pt>
          <cx:pt idx="1512">0.91021999999999992</cx:pt>
          <cx:pt idx="1513">10.037939999999999</cx:pt>
          <cx:pt idx="1514">13.1242499999999</cx:pt>
          <cx:pt idx="1515">11.625359999999899</cx:pt>
          <cx:pt idx="1516">11.625359999999899</cx:pt>
          <cx:pt idx="1517">13.1242499999999</cx:pt>
          <cx:pt idx="1518">13.1242499999999</cx:pt>
          <cx:pt idx="1519">11.625359999999899</cx:pt>
          <cx:pt idx="1520">13.1242499999999</cx:pt>
          <cx:pt idx="1521">8.4165399999999995</cx:pt>
          <cx:pt idx="1522">11.625359999999899</cx:pt>
          <cx:pt idx="1523">13.1242499999999</cx:pt>
          <cx:pt idx="1524">3.81501</cx:pt>
          <cx:pt idx="1525">13.1242499999999</cx:pt>
          <cx:pt idx="1526">13.1242499999999</cx:pt>
          <cx:pt idx="1527">11.625359999999899</cx:pt>
          <cx:pt idx="1528">11.625359999999899</cx:pt>
          <cx:pt idx="1529">11.625359999999899</cx:pt>
          <cx:pt idx="1530">13.1242499999999</cx:pt>
          <cx:pt idx="1531">13.1242499999999</cx:pt>
          <cx:pt idx="1532">13.1242499999999</cx:pt>
          <cx:pt idx="1533">8.6527999999999992</cx:pt>
          <cx:pt idx="1534">13.1242499999999</cx:pt>
          <cx:pt idx="1535">40.86927</cx:pt>
          <cx:pt idx="1536">13.1242499999999</cx:pt>
          <cx:pt idx="1537">13.1242499999999</cx:pt>
          <cx:pt idx="1538">15.04954</cx:pt>
          <cx:pt idx="1539">13.1242499999999</cx:pt>
          <cx:pt idx="1540">27.97167</cx:pt>
          <cx:pt idx="1541">13.1242499999999</cx:pt>
          <cx:pt idx="1542">13.1242499999999</cx:pt>
          <cx:pt idx="1543">13.1242499999999</cx:pt>
          <cx:pt idx="1544">13.1242499999999</cx:pt>
          <cx:pt idx="1545">11.625359999999899</cx:pt>
          <cx:pt idx="1546">13.1242499999999</cx:pt>
          <cx:pt idx="1547">13.1242499999999</cx:pt>
          <cx:pt idx="1548">13.1242499999999</cx:pt>
          <cx:pt idx="1549">13.1242499999999</cx:pt>
          <cx:pt idx="1550">29.046469999999903</cx:pt>
          <cx:pt idx="1551">13.1242499999999</cx:pt>
          <cx:pt idx="1552">13.1242499999999</cx:pt>
          <cx:pt idx="1553">11.625359999999899</cx:pt>
          <cx:pt idx="1554">13.1242499999999</cx:pt>
          <cx:pt idx="1555">13.1242499999999</cx:pt>
          <cx:pt idx="1556">13.1242499999999</cx:pt>
          <cx:pt idx="1557">13.1242499999999</cx:pt>
          <cx:pt idx="1558">13.1242499999999</cx:pt>
          <cx:pt idx="1559">13.1242499999999</cx:pt>
          <cx:pt idx="1560">13.1242499999999</cx:pt>
          <cx:pt idx="1561">13.1242499999999</cx:pt>
          <cx:pt idx="1562">13.1242499999999</cx:pt>
          <cx:pt idx="1563">18.778979999999901</cx:pt>
          <cx:pt idx="1564">13.1242499999999</cx:pt>
          <cx:pt idx="1565">13.1242499999999</cx:pt>
          <cx:pt idx="1566">13.1242499999999</cx:pt>
          <cx:pt idx="1567">13.1242499999999</cx:pt>
          <cx:pt idx="1568">13.1242499999999</cx:pt>
          <cx:pt idx="1569">13.1242499999999</cx:pt>
          <cx:pt idx="1570">13.1242499999999</cx:pt>
          <cx:pt idx="1571">11.625359999999899</cx:pt>
          <cx:pt idx="1572">11.625359999999899</cx:pt>
          <cx:pt idx="1573">13.1242499999999</cx:pt>
          <cx:pt idx="1574">11.625359999999899</cx:pt>
          <cx:pt idx="1575">15.04954</cx:pt>
          <cx:pt idx="1576">11.625359999999899</cx:pt>
          <cx:pt idx="1577">11.625359999999899</cx:pt>
          <cx:pt idx="1578">13.1242499999999</cx:pt>
          <cx:pt idx="1579">18.778979999999901</cx:pt>
          <cx:pt idx="1580">13.1242499999999</cx:pt>
          <cx:pt idx="1581">13.1242499999999</cx:pt>
          <cx:pt idx="1582">5.1511199999999997</cx:pt>
          <cx:pt idx="1583">13.1242499999999</cx:pt>
          <cx:pt idx="1584">13.1242499999999</cx:pt>
          <cx:pt idx="1585">19.378799999999998</cx:pt>
          <cx:pt idx="1586">7.7199199999999992</cx:pt>
          <cx:pt idx="1587">13.1242499999999</cx:pt>
          <cx:pt idx="1588">14.318779999999901</cx:pt>
          <cx:pt idx="1589">13.1242499999999</cx:pt>
          <cx:pt idx="1590">11.625359999999899</cx:pt>
          <cx:pt idx="1591">18.778979999999901</cx:pt>
          <cx:pt idx="1592">16.764200000000002</cx:pt>
          <cx:pt idx="1593">6.1616999999999997</cx:pt>
          <cx:pt idx="1594">13.1242499999999</cx:pt>
          <cx:pt idx="1595">18.778979999999901</cx:pt>
          <cx:pt idx="1596">4.6103199999999998</cx:pt>
          <cx:pt idx="1597">13.1242499999999</cx:pt>
          <cx:pt idx="1598">13.1242499999999</cx:pt>
          <cx:pt idx="1599">13.1242499999999</cx:pt>
          <cx:pt idx="1600">13.1242499999999</cx:pt>
          <cx:pt idx="1601">18.778979999999901</cx:pt>
          <cx:pt idx="1602">11.625359999999899</cx:pt>
          <cx:pt idx="1603">18.778979999999901</cx:pt>
          <cx:pt idx="1604">13.1242499999999</cx:pt>
          <cx:pt idx="1605">13.1242499999999</cx:pt>
          <cx:pt idx="1606">11.625359999999899</cx:pt>
          <cx:pt idx="1607">11.625359999999899</cx:pt>
          <cx:pt idx="1608">13.1242499999999</cx:pt>
          <cx:pt idx="1609">17.24098</cx:pt>
          <cx:pt idx="1610">13.1242499999999</cx:pt>
          <cx:pt idx="1611">13.1242499999999</cx:pt>
          <cx:pt idx="1612">13.1242499999999</cx:pt>
          <cx:pt idx="1613">15.04954</cx:pt>
          <cx:pt idx="1614">18.778979999999901</cx:pt>
          <cx:pt idx="1615">13.1242499999999</cx:pt>
          <cx:pt idx="1616">13.1242499999999</cx:pt>
          <cx:pt idx="1617">11.625359999999899</cx:pt>
          <cx:pt idx="1618">13.1242499999999</cx:pt>
          <cx:pt idx="1619">13.1242499999999</cx:pt>
          <cx:pt idx="1620">15.786539999999999</cx:pt>
          <cx:pt idx="1621">13.1242499999999</cx:pt>
          <cx:pt idx="1622">13.1242499999999</cx:pt>
          <cx:pt idx="1623">15.04954</cx:pt>
          <cx:pt idx="1624">13.1242499999999</cx:pt>
          <cx:pt idx="1625">13.1242499999999</cx:pt>
          <cx:pt idx="1626">13.1242499999999</cx:pt>
          <cx:pt idx="1627">17.24098</cx:pt>
          <cx:pt idx="1628">13.1242499999999</cx:pt>
          <cx:pt idx="1629">13.1242499999999</cx:pt>
          <cx:pt idx="1630">11.625359999999899</cx:pt>
          <cx:pt idx="1631">13.1242499999999</cx:pt>
          <cx:pt idx="1632">6.6860999999999908</cx:pt>
          <cx:pt idx="1633">13.1242499999999</cx:pt>
          <cx:pt idx="1634">13.1242499999999</cx:pt>
          <cx:pt idx="1635">13.1242499999999</cx:pt>
          <cx:pt idx="1636">11.625359999999899</cx:pt>
          <cx:pt idx="1637">4.3588000000000005</cx:pt>
          <cx:pt idx="1638">3.8460000000000001</cx:pt>
          <cx:pt idx="1639">15.04954</cx:pt>
          <cx:pt idx="1640">13.1242499999999</cx:pt>
          <cx:pt idx="1641">4.9998000000000005</cx:pt>
          <cx:pt idx="1642">3.8460000000000001</cx:pt>
          <cx:pt idx="1643">19.547980000000003</cx:pt>
          <cx:pt idx="1644">13.1242499999999</cx:pt>
          <cx:pt idx="1645">5.1511199999999997</cx:pt>
          <cx:pt idx="1646">13.1242499999999</cx:pt>
          <cx:pt idx="1647">11.625359999999899</cx:pt>
          <cx:pt idx="1648">13.1242499999999</cx:pt>
          <cx:pt idx="1649">12.3333599999999</cx:pt>
          <cx:pt idx="1650">7.3008000000000006</cx:pt>
          <cx:pt idx="1651">6.03059999999999</cx:pt>
          <cx:pt idx="1652">13.1242499999999</cx:pt>
          <cx:pt idx="1653">13.1242499999999</cx:pt>
          <cx:pt idx="1654">13.1242499999999</cx:pt>
          <cx:pt idx="1655">13.1242499999999</cx:pt>
          <cx:pt idx="1656">12.3333599999999</cx:pt>
          <cx:pt idx="1657">13.1242499999999</cx:pt>
          <cx:pt idx="1658">15.04954</cx:pt>
          <cx:pt idx="1659">13.1242499999999</cx:pt>
          <cx:pt idx="1660">13.1242499999999</cx:pt>
          <cx:pt idx="1661">5.1279999999999903</cx:pt>
          <cx:pt idx="1662">13.1242499999999</cx:pt>
          <cx:pt idx="1663">13.1242499999999</cx:pt>
          <cx:pt idx="1664">8.8150400000000193</cx:pt>
          <cx:pt idx="1665">13.1242499999999</cx:pt>
          <cx:pt idx="1666">13.1242499999999</cx:pt>
          <cx:pt idx="1667">13.1242499999999</cx:pt>
          <cx:pt idx="1668">13.1242499999999</cx:pt>
          <cx:pt idx="1669">13.1242499999999</cx:pt>
          <cx:pt idx="1670">13.1242499999999</cx:pt>
          <cx:pt idx="1671">13.1242499999999</cx:pt>
          <cx:pt idx="1672">17.24098</cx:pt>
          <cx:pt idx="1673">4.1152199999999999</cx:pt>
          <cx:pt idx="1674">13.1242499999999</cx:pt>
          <cx:pt idx="1675">13.1242499999999</cx:pt>
          <cx:pt idx="1676">13.1242499999999</cx:pt>
          <cx:pt idx="1677">13.1242499999999</cx:pt>
          <cx:pt idx="1678">13.1242499999999</cx:pt>
          <cx:pt idx="1679">18.778979999999901</cx:pt>
          <cx:pt idx="1680">43.287569999999697</cx:pt>
          <cx:pt idx="1681">27.702969999999898</cx:pt>
          <cx:pt idx="1682">13.1242499999999</cx:pt>
          <cx:pt idx="1683">2.9614199999999999</cx:pt>
          <cx:pt idx="1684">11.625359999999899</cx:pt>
          <cx:pt idx="1685">11.625359999999899</cx:pt>
          <cx:pt idx="1686">3.8460000000000001</cx:pt>
          <cx:pt idx="1687">11.625359999999899</cx:pt>
          <cx:pt idx="1688">13.1242499999999</cx:pt>
          <cx:pt idx="1689">15.04954</cx:pt>
          <cx:pt idx="1690">8.1120000000000001</cx:pt>
          <cx:pt idx="1691">15.04954</cx:pt>
          <cx:pt idx="1692">13.1242499999999</cx:pt>
          <cx:pt idx="1693">3.81501</cx:pt>
          <cx:pt idx="1694">17.24098</cx:pt>
          <cx:pt idx="1695">13.1242499999999</cx:pt>
          <cx:pt idx="1696">43.287569999999697</cx:pt>
          <cx:pt idx="1697">26.090769999999903</cx:pt>
          <cx:pt idx="1698">13.1242499999999</cx:pt>
          <cx:pt idx="1699">11.625359999999899</cx:pt>
          <cx:pt idx="1700">13.1242499999999</cx:pt>
          <cx:pt idx="1701">48.661569999999699</cx:pt>
          <cx:pt idx="1702">13.1242499999999</cx:pt>
          <cx:pt idx="1703">13.1242499999999</cx:pt>
          <cx:pt idx="1704">13.1242499999999</cx:pt>
          <cx:pt idx="1705">18.778979999999901</cx:pt>
          <cx:pt idx="1706">13.1242499999999</cx:pt>
          <cx:pt idx="1707">13.1242499999999</cx:pt>
          <cx:pt idx="1708">13.1242499999999</cx:pt>
          <cx:pt idx="1709">11.625359999999899</cx:pt>
          <cx:pt idx="1710">15.04954</cx:pt>
          <cx:pt idx="1711">13.1242499999999</cx:pt>
          <cx:pt idx="1712">13.1242499999999</cx:pt>
          <cx:pt idx="1713">15.04954</cx:pt>
          <cx:pt idx="1714">13.1242499999999</cx:pt>
          <cx:pt idx="1715">4.2305999999999999</cx:pt>
          <cx:pt idx="1716">18.778979999999901</cx:pt>
          <cx:pt idx="1717">13.1242499999999</cx:pt>
          <cx:pt idx="1718">13.1242499999999</cx:pt>
          <cx:pt idx="1719">13.1242499999999</cx:pt>
          <cx:pt idx="1720">13.1242499999999</cx:pt>
          <cx:pt idx="1721">15.786539999999999</cx:pt>
          <cx:pt idx="1722">13.1242499999999</cx:pt>
          <cx:pt idx="1723">13.1242499999999</cx:pt>
          <cx:pt idx="1724">56.722569999999692</cx:pt>
          <cx:pt idx="1725">13.462260000000001</cx:pt>
          <cx:pt idx="1726">4.7433999999999994</cx:pt>
          <cx:pt idx="1727">2.8332199999999998</cx:pt>
          <cx:pt idx="1728">13.1242499999999</cx:pt>
          <cx:pt idx="1729">40.600569999999706</cx:pt>
          <cx:pt idx="1730">13.1242499999999</cx:pt>
          <cx:pt idx="1731">6.1616999999999997</cx:pt>
          <cx:pt idx="1732">4.3588000000000005</cx:pt>
          <cx:pt idx="1733">35.1997</cx:pt>
          <cx:pt idx="1734">41.137969999999704</cx:pt>
          <cx:pt idx="1735">13.1242499999999</cx:pt>
          <cx:pt idx="1736">11.625359999999899</cx:pt>
          <cx:pt idx="1737">7.0439199999999991</cx:pt>
          <cx:pt idx="1738">13.1242499999999</cx:pt>
          <cx:pt idx="1739">13.1242499999999</cx:pt>
          <cx:pt idx="1740">13.1242499999999</cx:pt>
          <cx:pt idx="1741">13.1242499999999</cx:pt>
          <cx:pt idx="1742">13.1242499999999</cx:pt>
          <cx:pt idx="1743">3.4742199999999896</cx:pt>
          <cx:pt idx="1744">15.04954</cx:pt>
          <cx:pt idx="1745">9.30093999999999</cx:pt>
          <cx:pt idx="1746">17.24098</cx:pt>
          <cx:pt idx="1747">13.1242499999999</cx:pt>
          <cx:pt idx="1748">13.1242499999999</cx:pt>
          <cx:pt idx="1749">13.1242499999999</cx:pt>
          <cx:pt idx="1750">40.600569999999706</cx:pt>
          <cx:pt idx="1751">13.1242499999999</cx:pt>
          <cx:pt idx="1752">3.68391</cx:pt>
          <cx:pt idx="1753">11.894399999999999</cx:pt>
          <cx:pt idx="1754">18.917400000000001</cx:pt>
          <cx:pt idx="1755">9.4451999999999998</cx:pt>
          <cx:pt idx="1756">13.1242499999999</cx:pt>
          <cx:pt idx="1757">15.04954</cx:pt>
          <cx:pt idx="1758">13.1242499999999</cx:pt>
          <cx:pt idx="1759">13.1242499999999</cx:pt>
          <cx:pt idx="1760">40.600569999999706</cx:pt>
          <cx:pt idx="1761">15.04954</cx:pt>
          <cx:pt idx="1762">15.04954</cx:pt>
          <cx:pt idx="1763">13.1242499999999</cx:pt>
          <cx:pt idx="1764">13.1242499999999</cx:pt>
          <cx:pt idx="1765">15.04954</cx:pt>
          <cx:pt idx="1766">12.3333599999999</cx:pt>
          <cx:pt idx="1767">13.1242499999999</cx:pt>
          <cx:pt idx="1768">18.778979999999901</cx:pt>
          <cx:pt idx="1769">13.1242499999999</cx:pt>
          <cx:pt idx="1770">32.808269999999901</cx:pt>
          <cx:pt idx="1771">13.1242499999999</cx:pt>
          <cx:pt idx="1772">13.1242499999999</cx:pt>
          <cx:pt idx="1773">17.994599999999998</cx:pt>
          <cx:pt idx="1774">11.625359999999899</cx:pt>
          <cx:pt idx="1775">13.1242499999999</cx:pt>
          <cx:pt idx="1776">17.994599999999998</cx:pt>
          <cx:pt idx="1777">44.631069999999703</cx:pt>
          <cx:pt idx="1778">5.89949999999999</cx:pt>
          <cx:pt idx="1779">13.1242499999999</cx:pt>
          <cx:pt idx="1780">11.625359999999899</cx:pt>
          <cx:pt idx="1781">4.7818600000000195</cx:pt>
          <cx:pt idx="1782">13.1242499999999</cx:pt>
          <cx:pt idx="1783">13.1242499999999</cx:pt>
          <cx:pt idx="1784">13.1242499999999</cx:pt>
          <cx:pt idx="1785">13.1242499999999</cx:pt>
          <cx:pt idx="1786">13.1242499999999</cx:pt>
          <cx:pt idx="1787">13.1242499999999</cx:pt>
          <cx:pt idx="1788">13.1242499999999</cx:pt>
          <cx:pt idx="1789">13.1242499999999</cx:pt>
          <cx:pt idx="1790">11.894399999999999</cx:pt>
          <cx:pt idx="1791">40.869269999999901</cx:pt>
          <cx:pt idx="1792">15.04954</cx:pt>
          <cx:pt idx="1793">7.4359999999999999</cx:pt>
          <cx:pt idx="1794">11.625359999999899</cx:pt>
          <cx:pt idx="1795">10.7091899999999</cx:pt>
          <cx:pt idx="1796">6.4239000000000006</cx:pt>
          <cx:pt idx="1797">1.42302</cx:pt>
          <cx:pt idx="1798">9.890539999999989</cx:pt>
          <cx:pt idx="1799">9.3201899999999789</cx:pt>
          <cx:pt idx="1800">18.009979999999899</cx:pt>
          <cx:pt idx="1801">5.1511199999999997</cx:pt>
          <cx:pt idx="1802">2.44862</cx:pt>
          <cx:pt idx="1803">8.7880000000000003</cx:pt>
          <cx:pt idx="1804">3.8460000000000001</cx:pt>
          <cx:pt idx="1805">4.9998000000000005</cx:pt>
          <cx:pt idx="1806">11.328000000000001</cx:pt>
          <cx:pt idx="1807">35.495269999999898</cx:pt>
          <cx:pt idx="1808">13.1242499999999</cx:pt>
          <cx:pt idx="1809">13.1242499999999</cx:pt>
          <cx:pt idx="1810">13.1242499999999</cx:pt>
          <cx:pt idx="1811">13.1242499999999</cx:pt>
          <cx:pt idx="1812">13.1242499999999</cx:pt>
          <cx:pt idx="1813">17.840799999999902</cx:pt>
          <cx:pt idx="1814">3.8460000000000001</cx:pt>
          <cx:pt idx="1815">13.1242499999999</cx:pt>
          <cx:pt idx="1816">35.226569999999903</cx:pt>
          <cx:pt idx="1817">13.1242499999999</cx:pt>
          <cx:pt idx="1818">41.4066699999997</cx:pt>
          <cx:pt idx="1819">13.1242499999999</cx:pt>
          <cx:pt idx="1820">6.14175</cx:pt>
          <cx:pt idx="1821">6.6992099999999999</cx:pt>
          <cx:pt idx="1822">45.947700000000005</cx:pt>
          <cx:pt idx="1823">15.04954</cx:pt>
          <cx:pt idx="1824">12.333360000000001</cx:pt>
          <cx:pt idx="1825">11.625359999999899</cx:pt>
          <cx:pt idx="1826">18.778979999999901</cx:pt>
          <cx:pt idx="1827">13.736999999999998</cx:pt>
          <cx:pt idx="1828">13.1242499999999</cx:pt>
          <cx:pt idx="1829">13.606859999999902</cx:pt>
          <cx:pt idx="1830">13.1242499999999</cx:pt>
          <cx:pt idx="1831">3.08962</cx:pt>
          <cx:pt idx="1832">10.774939999999999</cx:pt>
          <cx:pt idx="1833">43.824969999999603</cx:pt>
          <cx:pt idx="1834">17.548580000000001</cx:pt>
          <cx:pt idx="1835">0.91021999999999992</cx:pt>
          <cx:pt idx="1836">15.786539999999999</cx:pt>
          <cx:pt idx="1837">4.7433999999999994</cx:pt>
          <cx:pt idx="1838">6.03059999999999</cx:pt>
          <cx:pt idx="1839">14.31878</cx:pt>
          <cx:pt idx="1840">5.2690199999999905</cx:pt>
          <cx:pt idx="1841">11.625359999999899</cx:pt>
          <cx:pt idx="1842">18.009979999999899</cx:pt>
          <cx:pt idx="1843">1.42302</cx:pt>
          <cx:pt idx="1844">11.625359999999899</cx:pt>
          <cx:pt idx="1845">30.927369999999897</cx:pt>
          <cx:pt idx="1846">46.511970000000005</cx:pt>
          <cx:pt idx="1847">17.24098</cx:pt>
          <cx:pt idx="1848">13.1242499999999</cx:pt>
          <cx:pt idx="1849">13.1242499999999</cx:pt>
          <cx:pt idx="1850">12.3333599999999</cx:pt>
          <cx:pt idx="1851">10.92234</cx:pt>
          <cx:pt idx="1852">28.777769999999904</cx:pt>
          <cx:pt idx="1853">15.04954</cx:pt>
          <cx:pt idx="1854">15.04954</cx:pt>
          <cx:pt idx="1855">13.1242499999999</cx:pt>
          <cx:pt idx="1856">9.5979899999999798</cx:pt>
          <cx:pt idx="1857">13.1242499999999</cx:pt>
          <cx:pt idx="1858">1.42302</cx:pt>
          <cx:pt idx="1859">11.625359999999899</cx:pt>
          <cx:pt idx="1860">13.1242499999999</cx:pt>
          <cx:pt idx="1861">15.04954</cx:pt>
          <cx:pt idx="1862">37.913569999999702</cx:pt>
          <cx:pt idx="1863">13.1242499999999</cx:pt>
          <cx:pt idx="1864">4.3588000000000005</cx:pt>
          <cx:pt idx="1865">40.600569999999706</cx:pt>
          <cx:pt idx="1866">8.4165399999999995</cx:pt>
          <cx:pt idx="1867">3.81501</cx:pt>
          <cx:pt idx="1868">10.92234</cx:pt>
          <cx:pt idx="1869">2.1922199999999998</cx:pt>
          <cx:pt idx="1870">18.778979999999901</cx:pt>
          <cx:pt idx="1871">43.824969999999702</cx:pt>
          <cx:pt idx="1872">13.1242499999999</cx:pt>
          <cx:pt idx="1873">13.1242499999999</cx:pt>
          <cx:pt idx="1874">52.154669999999705</cx:pt>
          <cx:pt idx="1875">12.3333599999999</cx:pt>
          <cx:pt idx="1876">13.1242499999999</cx:pt>
          <cx:pt idx="1877">49.2258399999997</cx:pt>
          <cx:pt idx="1878">3.8460000000000001</cx:pt>
          <cx:pt idx="1879">13.5924</cx:pt>
          <cx:pt idx="1880">8.3823999999999987</cx:pt>
          <cx:pt idx="1881">13.1242499999999</cx:pt>
          <cx:pt idx="1882">13.1242499999999</cx:pt>
          <cx:pt idx="1883">11.625359999999899</cx:pt>
          <cx:pt idx="1884">13.1242499999999</cx:pt>
          <cx:pt idx="1885">13.1242499999999</cx:pt>
          <cx:pt idx="1886">12.19176</cx:pt>
          <cx:pt idx="1887">8.9367199999999993</cx:pt>
          <cx:pt idx="1888">2.1922199999999998</cx:pt>
          <cx:pt idx="1889">12.3333599999999</cx:pt>
          <cx:pt idx="1890">13.1242499999999</cx:pt>
          <cx:pt idx="1891">3.4742199999999896</cx:pt>
          <cx:pt idx="1892">2.7050200000000002</cx:pt>
          <cx:pt idx="1893">13.1242499999999</cx:pt>
          <cx:pt idx="1894">13.1242499999999</cx:pt>
          <cx:pt idx="1895">4.7562199999999999</cx:pt>
          <cx:pt idx="1896">2.1922199999999998</cx:pt>
          <cx:pt idx="1897">4.4998199999999899</cx:pt>
          <cx:pt idx="1898">13.1242499999999</cx:pt>
          <cx:pt idx="1899">40.600569999999706</cx:pt>
          <cx:pt idx="1900">2.7050200000000002</cx:pt>
          <cx:pt idx="1901">11.625359999999899</cx:pt>
          <cx:pt idx="1902">17.24098</cx:pt>
          <cx:pt idx="1903">15.04954</cx:pt>
          <cx:pt idx="1904">11.625359999999899</cx:pt>
          <cx:pt idx="1905">2.1922199999999998</cx:pt>
          <cx:pt idx="1906">13.1242499999999</cx:pt>
          <cx:pt idx="1907">12.3333599999999</cx:pt>
          <cx:pt idx="1908">4.7562199999999999</cx:pt>
          <cx:pt idx="1909">5.1279999999999903</cx:pt>
          <cx:pt idx="1910">5.1279999999999903</cx:pt>
          <cx:pt idx="1911">5.1279999999999903</cx:pt>
          <cx:pt idx="1912">5.1279999999999903</cx:pt>
          <cx:pt idx="1913">3.08962</cx:pt>
          <cx:pt idx="1914">11.625359999999899</cx:pt>
          <cx:pt idx="1915">7.1655999999999995</cx:pt>
          <cx:pt idx="1916">4.4870000000000001</cx:pt>
          <cx:pt idx="1917">13.1242499999999</cx:pt>
          <cx:pt idx="1918">15.04954</cx:pt>
          <cx:pt idx="1919">7.4359999999999999</cx:pt>
          <cx:pt idx="1920">15.04954</cx:pt>
          <cx:pt idx="1921">13.1242499999999</cx:pt>
          <cx:pt idx="1922">7.1655999999999995</cx:pt>
          <cx:pt idx="1923">15.04954</cx:pt>
          <cx:pt idx="1924">15.04954</cx:pt>
          <cx:pt idx="1925">11.625359999999899</cx:pt>
          <cx:pt idx="1926">3.9870200000000002</cx:pt>
          <cx:pt idx="1927">2.8332199999999998</cx:pt>
          <cx:pt idx="1928">4.7433999999999994</cx:pt>
          <cx:pt idx="1929">15.04954</cx:pt>
          <cx:pt idx="1930">13.1242499999999</cx:pt>
          <cx:pt idx="1931">18.148399999999899</cx:pt>
          <cx:pt idx="1932">19.086580000000001</cx:pt>
          <cx:pt idx="1933">14.0406599999999</cx:pt>
          <cx:pt idx="1934">3.9870200000000002</cx:pt>
          <cx:pt idx="1935">7.7199199999999992</cx:pt>
          <cx:pt idx="1936">15.04954</cx:pt>
          <cx:pt idx="1937">3.49986000000002</cx:pt>
          <cx:pt idx="1938">7.3008000000000006</cx:pt>
          <cx:pt idx="1939">1.6794199999999999</cx:pt>
          <cx:pt idx="1940">9.0583999999999989</cx:pt>
          <cx:pt idx="1941">11.625359999999899</cx:pt>
          <cx:pt idx="1942">10.7091899999999</cx:pt>
          <cx:pt idx="1943">37.913569999999702</cx:pt>
          <cx:pt idx="1944">38.4509699999997</cx:pt>
          <cx:pt idx="1945">18.778979999999901</cx:pt>
          <cx:pt idx="1946">3.4613999999999998</cx:pt>
          <cx:pt idx="1947">5.2690199999999905</cx:pt>
          <cx:pt idx="1948">3.9741999999999997</cx:pt>
          <cx:pt idx="1949">3.08962</cx:pt>
          <cx:pt idx="1950">40.600569999999706</cx:pt>
          <cx:pt idx="1951">11.625359999999899</cx:pt>
          <cx:pt idx="1952">3.4742199999999896</cx:pt>
          <cx:pt idx="1953">3.2306400000000202</cx:pt>
          <cx:pt idx="1954">2.5639999999999898</cx:pt>
          <cx:pt idx="1955">13.1242499999999</cx:pt>
          <cx:pt idx="1956">12.3333599999999</cx:pt>
          <cx:pt idx="1957">11.625359999999899</cx:pt>
          <cx:pt idx="1958">13.1242499999999</cx:pt>
          <cx:pt idx="1959">11.625359999999899</cx:pt>
          <cx:pt idx="1960">4.8715999999999999</cx:pt>
          <cx:pt idx="1961">4.1152199999999999</cx:pt>
          <cx:pt idx="1962">12.3333599999999</cx:pt>
          <cx:pt idx="1963">4.7433999999999994</cx:pt>
          <cx:pt idx="1964">3.4613999999999998</cx:pt>
          <cx:pt idx="1965">3.2434600000000202</cx:pt>
          <cx:pt idx="1966">2.1922199999999998</cx:pt>
          <cx:pt idx="1967">52.477109999999705</cx:pt>
          <cx:pt idx="1968">11.625359999999899</cx:pt>
          <cx:pt idx="1969">14.0406599999999</cx:pt>
          <cx:pt idx="1970">2.1922199999999998</cx:pt>
          <cx:pt idx="1971">2.1922199999999998</cx:pt>
          <cx:pt idx="1972">7.1655999999999995</cx:pt>
          <cx:pt idx="1973">11.625359999999899</cx:pt>
          <cx:pt idx="1974">4.2434199999999995</cx:pt>
          <cx:pt idx="1975">7.7063999999999995</cx:pt>
          <cx:pt idx="1976">2.1922199999999998</cx:pt>
          <cx:pt idx="1977">46.485100000000003</cx:pt>
          <cx:pt idx="1978">3.9870200000000002</cx:pt>
          <cx:pt idx="1979">13.1242499999999</cx:pt>
          <cx:pt idx="1980">2.0640200000000002</cx:pt>
          <cx:pt idx="1981">9.0583999999999989</cx:pt>
          <cx:pt idx="1982">3.34601999999999</cx:pt>
          <cx:pt idx="1983">2.7050200000000002</cx:pt>
          <cx:pt idx="1984">15.04954</cx:pt>
          <cx:pt idx="1985">13.1242499999999</cx:pt>
          <cx:pt idx="1986">6.5214599999999994</cx:pt>
          <cx:pt idx="1987">3.9870200000000002</cx:pt>
          <cx:pt idx="1988">3.9870200000000002</cx:pt>
          <cx:pt idx="1989">7.3008000000000006</cx:pt>
          <cx:pt idx="1990">3.9870200000000002</cx:pt>
          <cx:pt idx="1991">9.6118800000000206</cx:pt>
          <cx:pt idx="1992">3.34601999999999</cx:pt>
          <cx:pt idx="1993">4.7433999999999994</cx:pt>
          <cx:pt idx="1994">4.4870000000000001</cx:pt>
          <cx:pt idx="1995">3.2050000000000001</cx:pt>
          <cx:pt idx="1996">12.3333599999999</cx:pt>
          <cx:pt idx="1997">3.4742199999999896</cx:pt>
          <cx:pt idx="1998">4.4870000000000001</cx:pt>
          <cx:pt idx="1999">12.3333599999999</cx:pt>
          <cx:pt idx="2000">13.606859999999902</cx:pt>
          <cx:pt idx="2001">13.1242499999999</cx:pt>
          <cx:pt idx="2002">51.348569999999704</cx:pt>
          <cx:pt idx="2003">1.6794199999999999</cx:pt>
          <cx:pt idx="2004">1.42302</cx:pt>
          <cx:pt idx="2005">13.1242499999999</cx:pt>
          <cx:pt idx="2006">6.1616999999999997</cx:pt>
          <cx:pt idx="2007">1.42302</cx:pt>
          <cx:pt idx="2008">2.7050200000000002</cx:pt>
          <cx:pt idx="2009">2.1922199999999998</cx:pt>
          <cx:pt idx="2010">11.625359999999899</cx:pt>
          <cx:pt idx="2011">13.1242499999999</cx:pt>
          <cx:pt idx="2012">5.89949999999999</cx:pt>
          <cx:pt idx="2013">8.3823999999999987</cx:pt>
          <cx:pt idx="2014">3.9870200000000002</cx:pt>
          <cx:pt idx="2015">1.42302</cx:pt>
          <cx:pt idx="2016">3.9870200000000002</cx:pt>
          <cx:pt idx="2017">5.0126199999999894</cx:pt>
          <cx:pt idx="2018">3.3588400000000198</cx:pt>
          <cx:pt idx="2019">4.3716200000000001</cx:pt>
          <cx:pt idx="2020">13.1242499999999</cx:pt>
          <cx:pt idx="2021">7.7063999999999995</cx:pt>
          <cx:pt idx="2022">4.3716200000000001</cx:pt>
          <cx:pt idx="2023">8.3823999999999987</cx:pt>
          <cx:pt idx="2024">4.6151999999999997</cx:pt>
          <cx:pt idx="2025">5.7815099999999902</cx:pt>
          <cx:pt idx="2026">3.8460000000000001</cx:pt>
          <cx:pt idx="2027">5.5061999999999998</cx:pt>
          <cx:pt idx="2028">40.600569999999706</cx:pt>
          <cx:pt idx="2029">5.89949999999999</cx:pt>
          <cx:pt idx="2030">8.260720000000001</cx:pt>
          <cx:pt idx="2031">43.287569999999697</cx:pt>
          <cx:pt idx="2032">40.600569999999706</cx:pt>
          <cx:pt idx="2033">2.6024600000000198</cx:pt>
          <cx:pt idx="2034">3.4742199999999896</cx:pt>
          <cx:pt idx="2035">3.4742199999999896</cx:pt>
          <cx:pt idx="2036">5.5061999999999998</cx:pt>
          <cx:pt idx="2037">3.4742199999999896</cx:pt>
          <cx:pt idx="2038">3.9870200000000002</cx:pt>
          <cx:pt idx="2039">3.4742199999999896</cx:pt>
          <cx:pt idx="2040">4.3716200000000001</cx:pt>
          <cx:pt idx="2041">3.4742199999999896</cx:pt>
          <cx:pt idx="2042">3.4742199999999896</cx:pt>
          <cx:pt idx="2043">4.6280199999999905</cx:pt>
          <cx:pt idx="2044">3.9870200000000002</cx:pt>
          <cx:pt idx="2045">40.600569999999706</cx:pt>
          <cx:pt idx="2046">7.0439199999999991</cx:pt>
          <cx:pt idx="2047">1.42302</cx:pt>
          <cx:pt idx="2048">40.600569999999706</cx:pt>
          <cx:pt idx="2049">2.7050200000000002</cx:pt>
          <cx:pt idx="2050">2.5768200000000001</cx:pt>
          <cx:pt idx="2051">3.34601999999999</cx:pt>
          <cx:pt idx="2052">37.913569999999702</cx:pt>
          <cx:pt idx="2053">12.19176</cx:pt>
          <cx:pt idx="2054">9.3201899999999789</cx:pt>
          <cx:pt idx="2055">37.913569999999702</cx:pt>
          <cx:pt idx="2056">2.34606000000002</cx:pt>
          <cx:pt idx="2057">1.16662</cx:pt>
          <cx:pt idx="2058">39.042110000000001</cx:pt>
          <cx:pt idx="2059">13.1242499999999</cx:pt>
          <cx:pt idx="2060">9.0061399999999896</cx:pt>
          <cx:pt idx="2061">7.5336600000000002</cx:pt>
          <cx:pt idx="2062">13.1242499999999</cx:pt>
          <cx:pt idx="2063">45.974569999999702</cx:pt>
          <cx:pt idx="2064">10.153589999999999</cx:pt>
          <cx:pt idx="2065">4.7455199999999902</cx:pt>
          <cx:pt idx="2066">4.6103199999999998</cx:pt>
          <cx:pt idx="2067">5.5324200000000197</cx:pt>
          <cx:pt idx="2068">4.3399200000000002</cx:pt>
          <cx:pt idx="2069">12.319380000000001</cx:pt>
          <cx:pt idx="2070">5.8197600000000005</cx:pt>
          <cx:pt idx="2071">13.1242499999999</cx:pt>
          <cx:pt idx="2072">4.3399200000000002</cx:pt>
          <cx:pt idx="2073">18.778979999999901</cx:pt>
          <cx:pt idx="2074">13.1242499999999</cx:pt>
          <cx:pt idx="2075">15.786539999999999</cx:pt>
          <cx:pt idx="2076">13.1242499999999</cx:pt>
          <cx:pt idx="2077">4.3399200000000002</cx:pt>
          <cx:pt idx="2078">13.1242499999999</cx:pt>
          <cx:pt idx="2079">13.1242499999999</cx:pt>
          <cx:pt idx="2080">9.8619000000000003</cx:pt>
          <cx:pt idx="2081">13.1242499999999</cx:pt>
          <cx:pt idx="2082">13.1242499999999</cx:pt>
          <cx:pt idx="2083">13.1242499999999</cx:pt>
          <cx:pt idx="2084">5.1511199999999997</cx:pt>
          <cx:pt idx="2085">13.1242499999999</cx:pt>
          <cx:pt idx="2086">13.1242499999999</cx:pt>
          <cx:pt idx="2087">13.1242499999999</cx:pt>
          <cx:pt idx="2088">18.778979999999901</cx:pt>
          <cx:pt idx="2089">5.9613599999999902</cx:pt>
          <cx:pt idx="2090">5.1511199999999997</cx:pt>
          <cx:pt idx="2091">5.4309900000000004</cx:pt>
          <cx:pt idx="2092">3.81501</cx:pt>
          <cx:pt idx="2093">13.1242499999999</cx:pt>
          <cx:pt idx="2094">16.93338</cx:pt>
          <cx:pt idx="2095">13.1242499999999</cx:pt>
          <cx:pt idx="2096">10.332739999999999</cx:pt>
          <cx:pt idx="2097">13.1242499999999</cx:pt>
          <cx:pt idx="2098">5.8197600000000005</cx:pt>
          <cx:pt idx="2099">11.85798</cx:pt>
          <cx:pt idx="2100">13.1242499999999</cx:pt>
          <cx:pt idx="2101">15.04954</cx:pt>
          <cx:pt idx="2102">13.1242499999999</cx:pt>
          <cx:pt idx="2103">9.30093999999999</cx:pt>
          <cx:pt idx="2104">13.1242499999999</cx:pt>
          <cx:pt idx="2105">13.1242499999999</cx:pt>
          <cx:pt idx="2106">13.1242499999999</cx:pt>
          <cx:pt idx="2107">13.1242499999999</cx:pt>
          <cx:pt idx="2108">15.786539999999999</cx:pt>
          <cx:pt idx="2109">31.464769999999898</cx:pt>
          <cx:pt idx="2110">13.1242499999999</cx:pt>
          <cx:pt idx="2111">13.1242499999999</cx:pt>
          <cx:pt idx="2112">13.1242499999999</cx:pt>
          <cx:pt idx="2113">2.9614199999999999</cx:pt>
          <cx:pt idx="2114">11.625359999999899</cx:pt>
          <cx:pt idx="2115">17.24098</cx:pt>
          <cx:pt idx="2116">8.8015199999999787</cx:pt>
          <cx:pt idx="2117">11.625359999999899</cx:pt>
          <cx:pt idx="2118">13.1242499999999</cx:pt>
          <cx:pt idx="2119">13.1242499999999</cx:pt>
          <cx:pt idx="2120">11.625359999999899</cx:pt>
          <cx:pt idx="2121">13.1242499999999</cx:pt>
          <cx:pt idx="2122">41.7291099999997</cx:pt>
          <cx:pt idx="2123">13.1242499999999</cx:pt>
          <cx:pt idx="2124">10.7091899999999</cx:pt>
          <cx:pt idx="2125">17.24098</cx:pt>
          <cx:pt idx="2126">17.24098</cx:pt>
          <cx:pt idx="2127">13.1242499999999</cx:pt>
          <cx:pt idx="2128">13.2421799999999</cx:pt>
          <cx:pt idx="2129">15.04954</cx:pt>
          <cx:pt idx="2130">11.625359999999899</cx:pt>
          <cx:pt idx="2131">13.1242499999999</cx:pt>
          <cx:pt idx="2132">5.2561999999999998</cx:pt>
          <cx:pt idx="2133">9.890539999999989</cx:pt>
          <cx:pt idx="2134">13.1242499999999</cx:pt>
          <cx:pt idx="2135">15.04954</cx:pt>
          <cx:pt idx="2136">13.1242499999999</cx:pt>
          <cx:pt idx="2137">13.1242499999999</cx:pt>
          <cx:pt idx="2138">13.1242499999999</cx:pt>
          <cx:pt idx="2139">15.786539999999999</cx:pt>
          <cx:pt idx="2140">18.778979999999901</cx:pt>
          <cx:pt idx="2141">13.1242499999999</cx:pt>
          <cx:pt idx="2142">2.8332199999999998</cx:pt>
          <cx:pt idx="2143">4.3399200000000002</cx:pt>
          <cx:pt idx="2144">11.625359999999899</cx:pt>
          <cx:pt idx="2145">13.1242499999999</cx:pt>
          <cx:pt idx="2146">17.24098</cx:pt>
          <cx:pt idx="2147">13.1242499999999</cx:pt>
          <cx:pt idx="2148">15.786539999999999</cx:pt>
          <cx:pt idx="2149">13.1242499999999</cx:pt>
          <cx:pt idx="2150">13.1242499999999</cx:pt>
          <cx:pt idx="2151">13.1242499999999</cx:pt>
          <cx:pt idx="2152">11.85798</cx:pt>
          <cx:pt idx="2153">15.04954</cx:pt>
          <cx:pt idx="2154">13.1242499999999</cx:pt>
          <cx:pt idx="2155">10.037939999999999</cx:pt>
          <cx:pt idx="2156">9.0583999999999989</cx:pt>
          <cx:pt idx="2157">13.1242499999999</cx:pt>
          <cx:pt idx="2158">18.778979999999901</cx:pt>
          <cx:pt idx="2159">27.97167</cx:pt>
          <cx:pt idx="2160">18.302199999999999</cx:pt>
          <cx:pt idx="2161">5.5061999999999998</cx:pt>
          <cx:pt idx="2162">6.14175</cx:pt>
          <cx:pt idx="2163">13.1242499999999</cx:pt>
          <cx:pt idx="2164">37.376169999999895</cx:pt>
          <cx:pt idx="2165">9.30093999999999</cx:pt>
          <cx:pt idx="2166">12.319380000000001</cx:pt>
          <cx:pt idx="2167">10.92234</cx:pt>
          <cx:pt idx="2168">13.1242499999999</cx:pt>
          <cx:pt idx="2169">13.1242499999999</cx:pt>
          <cx:pt idx="2170">17.24098</cx:pt>
          <cx:pt idx="2171">11.894399999999999</cx:pt>
          <cx:pt idx="2172">9.44834</cx:pt>
          <cx:pt idx="2173">13.1242499999999</cx:pt>
          <cx:pt idx="2174">7.0998599999999996</cx:pt>
          <cx:pt idx="2175">16.779579999999999</cx:pt>
          <cx:pt idx="2176">26.628169999999901</cx:pt>
          <cx:pt idx="2177">9.7431400000000004</cx:pt>
          <cx:pt idx="2178">5.99925</cx:pt>
          <cx:pt idx="2179">38.450969999999899</cx:pt>
          <cx:pt idx="2180">52.127799999999901</cx:pt>
          <cx:pt idx="2181">5.6781600000000001</cx:pt>
          <cx:pt idx="2182">13.1242499999999</cx:pt>
          <cx:pt idx="2183">13.1242499999999</cx:pt>
          <cx:pt idx="2184">5.9613599999999902</cx:pt>
          <cx:pt idx="2185">18.917400000000001</cx:pt>
          <cx:pt idx="2186">38.182269999999903</cx:pt>
          <cx:pt idx="2187">11.625360000000001</cx:pt>
          <cx:pt idx="2188">17.24098</cx:pt>
          <cx:pt idx="2189">43.798099999999998</cx:pt>
          <cx:pt idx="2190">12.4731799999999</cx:pt>
          <cx:pt idx="2191">28.777770000000004</cx:pt>
          <cx:pt idx="2192">13.1242499999999</cx:pt>
          <cx:pt idx="2193">36.032670000000003</cx:pt>
          <cx:pt idx="2194">13.1242499999999</cx:pt>
          <cx:pt idx="2195">15.04954</cx:pt>
          <cx:pt idx="2196">13.1242499999999</cx:pt>
          <cx:pt idx="2197">31.733469999999901</cx:pt>
          <cx:pt idx="2198">10.18534</cx:pt>
          <cx:pt idx="2199">11.625359999999899</cx:pt>
          <cx:pt idx="2200">19.547980000000003</cx:pt>
          <cx:pt idx="2201">1.80762</cx:pt>
          <cx:pt idx="2202">14.75474</cx:pt>
          <cx:pt idx="2203">15.04954</cx:pt>
          <cx:pt idx="2204">13.1242499999999</cx:pt>
          <cx:pt idx="2205">4.07721</cx:pt>
          <cx:pt idx="2206">11.625359999999899</cx:pt>
          <cx:pt idx="2207">8.5639399999999899</cx:pt>
          <cx:pt idx="2208">31.464769999999898</cx:pt>
          <cx:pt idx="2209">12.839249999999899</cx:pt>
          <cx:pt idx="2210">15.04954</cx:pt>
          <cx:pt idx="2211">13.1242499999999</cx:pt>
          <cx:pt idx="2212">11.85798</cx:pt>
          <cx:pt idx="2213">2.1922199999999998</cx:pt>
          <cx:pt idx="2214">18.456</cx:pt>
          <cx:pt idx="2215">15.04954</cx:pt>
          <cx:pt idx="2216">15.04954</cx:pt>
          <cx:pt idx="2217">17.24098</cx:pt>
          <cx:pt idx="2218">17.24098</cx:pt>
          <cx:pt idx="2219">17.24098</cx:pt>
          <cx:pt idx="2220">18.4713799999999</cx:pt>
          <cx:pt idx="2221">10.973099999999999</cx:pt>
          <cx:pt idx="2222">10.48014</cx:pt>
          <cx:pt idx="2223">10.973099999999999</cx:pt>
          <cx:pt idx="2224">13.1242499999999</cx:pt>
          <cx:pt idx="2225">29.046469999999903</cx:pt>
          <cx:pt idx="2226">13.1242499999999</cx:pt>
          <cx:pt idx="2227">13.1242499999999</cx:pt>
          <cx:pt idx="2228">13.1242499999999</cx:pt>
          <cx:pt idx="2229">11.625359999999899</cx:pt>
          <cx:pt idx="2230">17.548580000000001</cx:pt>
          <cx:pt idx="2231">10.62754</cx:pt>
          <cx:pt idx="2232">29.046470000000003</cx:pt>
          <cx:pt idx="2233">49.198969999999697</cx:pt>
          <cx:pt idx="2234">13.1242499999999</cx:pt>
          <cx:pt idx="2235">5.1511199999999997</cx:pt>
          <cx:pt idx="2236">6.5214599999999994</cx:pt>
          <cx:pt idx="2237">13.1242499999999</cx:pt>
          <cx:pt idx="2238">10.774939999999999</cx:pt>
          <cx:pt idx="2239">12.3333599999999</cx:pt>
          <cx:pt idx="2240">15.786539999999999</cx:pt>
          <cx:pt idx="2241">11.625359999999899</cx:pt>
          <cx:pt idx="2242">6.5503800000000192</cx:pt>
          <cx:pt idx="2243">13.1242499999999</cx:pt>
          <cx:pt idx="2244">13.1242499999999</cx:pt>
          <cx:pt idx="2245">15.786539999999999</cx:pt>
          <cx:pt idx="2246">13.1242499999999</cx:pt>
          <cx:pt idx="2247">13.1242499999999</cx:pt>
          <cx:pt idx="2248">15.04954</cx:pt>
          <cx:pt idx="2249">13.1242499999999</cx:pt>
          <cx:pt idx="2250">13.1242499999999</cx:pt>
          <cx:pt idx="2251">13.1242499999999</cx:pt>
          <cx:pt idx="2252">13.1242499999999</cx:pt>
          <cx:pt idx="2253">13.1242499999999</cx:pt>
          <cx:pt idx="2254">15.04954</cx:pt>
          <cx:pt idx="2255">13.1242499999999</cx:pt>
          <cx:pt idx="2256">13.1242499999999</cx:pt>
          <cx:pt idx="2257">3.60242</cx:pt>
          <cx:pt idx="2258">17.24098</cx:pt>
          <cx:pt idx="2259">11.328000000000001</cx:pt>
          <cx:pt idx="2260">13.1242499999999</cx:pt>
          <cx:pt idx="2261">13.1242499999999</cx:pt>
          <cx:pt idx="2262">13.1242499999999</cx:pt>
          <cx:pt idx="2263">13.1242499999999</cx:pt>
          <cx:pt idx="2264">13.1242499999999</cx:pt>
          <cx:pt idx="2265">13.1242499999999</cx:pt>
          <cx:pt idx="2266">12.460799999999999</cx:pt>
          <cx:pt idx="2267">4.4751199999999898</cx:pt>
          <cx:pt idx="2268">14.75474</cx:pt>
          <cx:pt idx="2269">8.1217399999999991</cx:pt>
          <cx:pt idx="2270">13.1242499999999</cx:pt>
          <cx:pt idx="2271">13.1242499999999</cx:pt>
          <cx:pt idx="2272">13.1242499999999</cx:pt>
          <cx:pt idx="2273">13.1242499999999</cx:pt>
          <cx:pt idx="2274">15.786539999999999</cx:pt>
          <cx:pt idx="2275">11.752799999999999</cx:pt>
          <cx:pt idx="2276">17.24098</cx:pt>
          <cx:pt idx="2277">15.04954</cx:pt>
          <cx:pt idx="2278">15.04954</cx:pt>
          <cx:pt idx="2279">13.1242499999999</cx:pt>
          <cx:pt idx="2280">27.97167</cx:pt>
          <cx:pt idx="2281">13.1242499999999</cx:pt>
          <cx:pt idx="2282">13.1242499999999</cx:pt>
          <cx:pt idx="2283">13.1242499999999</cx:pt>
          <cx:pt idx="2284">4.3399200000000002</cx:pt>
          <cx:pt idx="2285">13.1242499999999</cx:pt>
          <cx:pt idx="2286">34.420469999999895</cx:pt>
          <cx:pt idx="2287">5.6781600000000001</cx:pt>
          <cx:pt idx="2288">5.5061999999999998</cx:pt>
          <cx:pt idx="2289">13.1242499999999</cx:pt>
          <cx:pt idx="2290">7.0998599999999996</cx:pt>
          <cx:pt idx="2291">10.92234</cx:pt>
          <cx:pt idx="2292">13.1242499999999</cx:pt>
          <cx:pt idx="2293">13.1242499999999</cx:pt>
          <cx:pt idx="2294">16.917999999999999</cx:pt>
          <cx:pt idx="2295">13.1242499999999</cx:pt>
          <cx:pt idx="2296">14.75474</cx:pt>
          <cx:pt idx="2297">15.04954</cx:pt>
          <cx:pt idx="2298">17.24098</cx:pt>
          <cx:pt idx="2299">13.109999999999999</cx:pt>
          <cx:pt idx="2300">13.1242499999999</cx:pt>
          <cx:pt idx="2301">55.352199999999996</cx:pt>
          <cx:pt idx="2302">15.786539999999999</cx:pt>
          <cx:pt idx="2303">15.786539999999999</cx:pt>
          <cx:pt idx="2304">27.97167</cx:pt>
          <cx:pt idx="2305">13.1242499999999</cx:pt>
          <cx:pt idx="2306">13.1242499999999</cx:pt>
          <cx:pt idx="2307">13.1242499999999</cx:pt>
          <cx:pt idx="2308">13.1242499999999</cx:pt>
          <cx:pt idx="2309">15.04954</cx:pt>
          <cx:pt idx="2310">5.9613599999999902</cx:pt>
          <cx:pt idx="2311">12.78078</cx:pt>
          <cx:pt idx="2312">3.68391</cx:pt>
          <cx:pt idx="2313">11.625359999999899</cx:pt>
          <cx:pt idx="2314">5.4309900000000004</cx:pt>
          <cx:pt idx="2315">13.1242499999999</cx:pt>
          <cx:pt idx="2316">5.5061999999999998</cx:pt>
          <cx:pt idx="2317">13.1242499999999</cx:pt>
          <cx:pt idx="2318">5.1511199999999997</cx:pt>
          <cx:pt idx="2319">6.6660599999999999</cx:pt>
          <cx:pt idx="2320">9.30093999999999</cx:pt>
          <cx:pt idx="2321">8.8587399999999992</cx:pt>
          <cx:pt idx="2322">13.1242499999999</cx:pt>
          <cx:pt idx="2323">35.495269999999898</cx:pt>
          <cx:pt idx="2324">17.24098</cx:pt>
          <cx:pt idx="2325">13.1242499999999</cx:pt>
          <cx:pt idx="2326">11.704180000000001</cx:pt>
          <cx:pt idx="2327">10.6952999999999</cx:pt>
          <cx:pt idx="2328">15.786539999999999</cx:pt>
          <cx:pt idx="2329">10.4175</cx:pt>
          <cx:pt idx="2330">13.1242499999999</cx:pt>
          <cx:pt idx="2331">6.8171999999999997</cx:pt>
          <cx:pt idx="2332">11.85798</cx:pt>
          <cx:pt idx="2333">17.24098</cx:pt>
          <cx:pt idx="2334">13.1242499999999</cx:pt>
          <cx:pt idx="2335">13.1242499999999</cx:pt>
          <cx:pt idx="2336">9.44834</cx:pt>
          <cx:pt idx="2337">15.786539999999999</cx:pt>
          <cx:pt idx="2338">11.704180000000001</cx:pt>
          <cx:pt idx="2339">15.04954</cx:pt>
          <cx:pt idx="2340">13.1242499999999</cx:pt>
          <cx:pt idx="2341">12.93458</cx:pt>
          <cx:pt idx="2342">18.009979999999899</cx:pt>
          <cx:pt idx="2343">17.24098</cx:pt>
          <cx:pt idx="2344">26.359469999999902</cx:pt>
          <cx:pt idx="2345">11.85798</cx:pt>
          <cx:pt idx="2346">17.24098</cx:pt>
          <cx:pt idx="2347">13.1242499999999</cx:pt>
          <cx:pt idx="2348">10.62754</cx:pt>
          <cx:pt idx="2349">17.24098</cx:pt>
          <cx:pt idx="2350">13.1242499999999</cx:pt>
          <cx:pt idx="2351">11.85798</cx:pt>
          <cx:pt idx="2352">13.1242499999999</cx:pt>
          <cx:pt idx="2353">4.2434199999999995</cx:pt>
          <cx:pt idx="2354">13.1242499999999</cx:pt>
          <cx:pt idx="2355">3.34601999999999</cx:pt>
          <cx:pt idx="2356">10.5564</cx:pt>
          <cx:pt idx="2357">13.606860000000001</cx:pt>
          <cx:pt idx="2358">6.14175</cx:pt>
          <cx:pt idx="2359">10.139699999999999</cx:pt>
          <cx:pt idx="2360">10.18534</cx:pt>
          <cx:pt idx="2361">13.1242499999999</cx:pt>
          <cx:pt idx="2362">13.1242499999999</cx:pt>
          <cx:pt idx="2363">12.780779999999901</cx:pt>
          <cx:pt idx="2364">15.786539999999999</cx:pt>
          <cx:pt idx="2365">15.04954</cx:pt>
          <cx:pt idx="2366">5.4309900000000004</cx:pt>
          <cx:pt idx="2367">17.24098</cx:pt>
          <cx:pt idx="2368">5.1511199999999997</cx:pt>
          <cx:pt idx="2369">13.1242499999999</cx:pt>
          <cx:pt idx="2370">15.04954</cx:pt>
          <cx:pt idx="2371">15.04954</cx:pt>
          <cx:pt idx="2372">13.1242499999999</cx:pt>
          <cx:pt idx="2373">13.1242499999999</cx:pt>
          <cx:pt idx="2374">13.1242499999999</cx:pt>
          <cx:pt idx="2375">13.1242499999999</cx:pt>
          <cx:pt idx="2376">4.1023999999999994</cx:pt>
          <cx:pt idx="2377">13.1242499999999</cx:pt>
          <cx:pt idx="2378">13.1242499999999</cx:pt>
          <cx:pt idx="2379">13.1242499999999</cx:pt>
          <cx:pt idx="2380">17.24098</cx:pt>
          <cx:pt idx="2381">17.24098</cx:pt>
          <cx:pt idx="2382">17.24098</cx:pt>
          <cx:pt idx="2383">4.74552</cx:pt>
          <cx:pt idx="2384">18.778979999999901</cx:pt>
          <cx:pt idx="2385">13.1242499999999</cx:pt>
          <cx:pt idx="2386">15.04954</cx:pt>
          <cx:pt idx="2387">5.7683999999999997</cx:pt>
          <cx:pt idx="2388">13.1242499999999</cx:pt>
          <cx:pt idx="2389">15.786539999999999</cx:pt>
          <cx:pt idx="2390">15.786539999999999</cx:pt>
          <cx:pt idx="2391">11.704180000000001</cx:pt>
          <cx:pt idx="2392">13.1242499999999</cx:pt>
          <cx:pt idx="2393">13.1242499999999</cx:pt>
          <cx:pt idx="2394">15.04954</cx:pt>
          <cx:pt idx="2395">13.1242499999999</cx:pt>
          <cx:pt idx="2396">13.1242499999999</cx:pt>
          <cx:pt idx="2397">13.1242499999999</cx:pt>
          <cx:pt idx="2398">13.1242499999999</cx:pt>
          <cx:pt idx="2399">13.1242499999999</cx:pt>
          <cx:pt idx="2400">12.3333599999999</cx:pt>
          <cx:pt idx="2401">9.5957399999999993</cx:pt>
          <cx:pt idx="2402">13.1242499999999</cx:pt>
          <cx:pt idx="2403">13.1242499999999</cx:pt>
          <cx:pt idx="2404">13.1242499999999</cx:pt>
          <cx:pt idx="2405">13.1242499999999</cx:pt>
          <cx:pt idx="2406">35.763969999999901</cx:pt>
          <cx:pt idx="2407">13.1242499999999</cx:pt>
          <cx:pt idx="2408">13.1242499999999</cx:pt>
          <cx:pt idx="2409">18.778979999999901</cx:pt>
          <cx:pt idx="2410">11.625359999999899</cx:pt>
          <cx:pt idx="2411">10.332739999999999</cx:pt>
          <cx:pt idx="2412">13.1242499999999</cx:pt>
          <cx:pt idx="2413">26.359470000000002</cx:pt>
          <cx:pt idx="2414">13.1242499999999</cx:pt>
          <cx:pt idx="2415">13.1242499999999</cx:pt>
          <cx:pt idx="2416">13.1242499999999</cx:pt>
          <cx:pt idx="2417">13.1242499999999</cx:pt>
          <cx:pt idx="2418">11.625359999999899</cx:pt>
          <cx:pt idx="2419">11.3421599999999</cx:pt>
          <cx:pt idx="2420">4.4751199999999898</cx:pt>
          <cx:pt idx="2421">6.2927999999999997</cx:pt>
          <cx:pt idx="2422">12.01178</cx:pt>
          <cx:pt idx="2423">9.1535399999999907</cx:pt>
          <cx:pt idx="2424">3.4742199999999896</cx:pt>
          <cx:pt idx="2425">13.1242499999999</cx:pt>
          <cx:pt idx="2426">5.1408199999999997</cx:pt>
          <cx:pt idx="2427">18.917400000000001</cx:pt>
          <cx:pt idx="2428">8.8587399999999992</cx:pt>
          <cx:pt idx="2429">17.24098</cx:pt>
          <cx:pt idx="2430">13.1242499999999</cx:pt>
          <cx:pt idx="2431">15.04954</cx:pt>
          <cx:pt idx="2432">11.704180000000001</cx:pt>
          <cx:pt idx="2433">13.1242499999999</cx:pt>
          <cx:pt idx="2434">13.1242499999999</cx:pt>
          <cx:pt idx="2435">15.04954</cx:pt>
          <cx:pt idx="2436">13.1242499999999</cx:pt>
          <cx:pt idx="2437">15.786539999999999</cx:pt>
          <cx:pt idx="2438">17.24098</cx:pt>
          <cx:pt idx="2439">12.3333599999999</cx:pt>
          <cx:pt idx="2440">17.08718</cx:pt>
          <cx:pt idx="2441">31.464769999999898</cx:pt>
          <cx:pt idx="2442">13.1242499999999</cx:pt>
          <cx:pt idx="2443">13.1242499999999</cx:pt>
          <cx:pt idx="2444">13.1242499999999</cx:pt>
          <cx:pt idx="2445">5.4309900000000004</cx:pt>
          <cx:pt idx="2446">13.1242499999999</cx:pt>
          <cx:pt idx="2447">13.1242499999999</cx:pt>
          <cx:pt idx="2448">9.5957399999999993</cx:pt>
          <cx:pt idx="2449">13.1242499999999</cx:pt>
          <cx:pt idx="2450">15.04954</cx:pt>
          <cx:pt idx="2451">17.24098</cx:pt>
          <cx:pt idx="2452">13.1242499999999</cx:pt>
          <cx:pt idx="2453">13.1242499999999</cx:pt>
          <cx:pt idx="2454">18.009979999999899</cx:pt>
          <cx:pt idx="2455">17.24098</cx:pt>
          <cx:pt idx="2456">17.24098</cx:pt>
          <cx:pt idx="2457">9.5840999999999994</cx:pt>
          <cx:pt idx="2458">6.14175</cx:pt>
          <cx:pt idx="2459">26.359469999999902</cx:pt>
          <cx:pt idx="2460">13.1242499999999</cx:pt>
          <cx:pt idx="2461">40.86927</cx:pt>
          <cx:pt idx="2462">5.8197600000000005</cx:pt>
          <cx:pt idx="2463">13.1242499999999</cx:pt>
          <cx:pt idx="2464">18.778979999999901</cx:pt>
          <cx:pt idx="2465">46.780669999999702</cx:pt>
          <cx:pt idx="2466">18.778979999999901</cx:pt>
          <cx:pt idx="2467">5.99925</cx:pt>
          <cx:pt idx="2468">9.30093999999999</cx:pt>
          <cx:pt idx="2469">17.24098</cx:pt>
          <cx:pt idx="2470">17.24098</cx:pt>
          <cx:pt idx="2471">13.1242499999999</cx:pt>
          <cx:pt idx="2472">5.4309900000000004</cx:pt>
          <cx:pt idx="2473">32.539569999999898</cx:pt>
          <cx:pt idx="2474">9.7431400000000004</cx:pt>
          <cx:pt idx="2475">10.031840000000001</cx:pt>
          <cx:pt idx="2476">19.547980000000003</cx:pt>
          <cx:pt idx="2477">13.1242499999999</cx:pt>
          <cx:pt idx="2478">32.270869999999903</cx:pt>
          <cx:pt idx="2479">18.7636</cx:pt>
          <cx:pt idx="2480">15.04954</cx:pt>
          <cx:pt idx="2481">15.786539999999999</cx:pt>
          <cx:pt idx="2482">15.04954</cx:pt>
          <cx:pt idx="2483">13.1242499999999</cx:pt>
          <cx:pt idx="2484">12.01178</cx:pt>
          <cx:pt idx="2485">5.9613599999999902</cx:pt>
          <cx:pt idx="2486">13.1242499999999</cx:pt>
          <cx:pt idx="2487">13.1242499999999</cx:pt>
          <cx:pt idx="2488">17.24098</cx:pt>
          <cx:pt idx="2489">15.04954</cx:pt>
          <cx:pt idx="2490">13.1242499999999</cx:pt>
          <cx:pt idx="2491">5.6781600000000001</cx:pt>
          <cx:pt idx="2492">5.9613599999999902</cx:pt>
          <cx:pt idx="2493">13.1242499999999</cx:pt>
          <cx:pt idx="2494">13.1242499999999</cx:pt>
          <cx:pt idx="2495">15.329599999999999</cx:pt>
          <cx:pt idx="2496">17.24098</cx:pt>
          <cx:pt idx="2497">13.1242499999999</cx:pt>
          <cx:pt idx="2498">13.1242499999999</cx:pt>
          <cx:pt idx="2499">5.89949999999999</cx:pt>
          <cx:pt idx="2500">15.786539999999999</cx:pt>
          <cx:pt idx="2501">17.24098</cx:pt>
          <cx:pt idx="2502">13.1242499999999</cx:pt>
          <cx:pt idx="2503">18.778979999999901</cx:pt>
          <cx:pt idx="2504">15.04954</cx:pt>
          <cx:pt idx="2505">13.1242499999999</cx:pt>
          <cx:pt idx="2506">26.090769999999903</cx:pt>
          <cx:pt idx="2507">38.182270000000003</cx:pt>
          <cx:pt idx="2508">6.5549999999999997</cx:pt>
          <cx:pt idx="2509">9.5957399999999993</cx:pt>
          <cx:pt idx="2510">13.1242499999999</cx:pt>
          <cx:pt idx="2511">10.037939999999999</cx:pt>
          <cx:pt idx="2512">10.4175</cx:pt>
          <cx:pt idx="2513">41.137969999999903</cx:pt>
          <cx:pt idx="2514">13.1242499999999</cx:pt>
          <cx:pt idx="2515">17.0718</cx:pt>
          <cx:pt idx="2516">5.1511199999999997</cx:pt>
          <cx:pt idx="2517">10.62754</cx:pt>
          <cx:pt idx="2518">11.625359999999899</cx:pt>
          <cx:pt idx="2519">5.4309900000000004</cx:pt>
          <cx:pt idx="2520">6.9552600000000009</cx:pt>
          <cx:pt idx="2521">5.6781600000000001</cx:pt>
          <cx:pt idx="2522">15.04954</cx:pt>
          <cx:pt idx="2523">13.1242499999999</cx:pt>
          <cx:pt idx="2524">4.7562199999999999</cx:pt>
          <cx:pt idx="2525">11.704180000000001</cx:pt>
          <cx:pt idx="2526">7.0998599999999996</cx:pt>
          <cx:pt idx="2527">15.04954</cx:pt>
          <cx:pt idx="2528">13.1242499999999</cx:pt>
          <cx:pt idx="2529">13.1242499999999</cx:pt>
          <cx:pt idx="2530">13.1242499999999</cx:pt>
          <cx:pt idx="2531">13.1242499999999</cx:pt>
          <cx:pt idx="2532">10.774939999999999</cx:pt>
          <cx:pt idx="2533">5.9613599999999902</cx:pt>
          <cx:pt idx="2534">6.6660599999999999</cx:pt>
          <cx:pt idx="2535">5.9613599999999902</cx:pt>
          <cx:pt idx="2536">13.1242499999999</cx:pt>
          <cx:pt idx="2537">26.628169999999901</cx:pt>
          <cx:pt idx="2538">18.009979999999899</cx:pt>
          <cx:pt idx="2539">3.68391</cx:pt>
          <cx:pt idx="2540">13.1242499999999</cx:pt>
          <cx:pt idx="2541">11.550380000000001</cx:pt>
          <cx:pt idx="2542">18.009979999999899</cx:pt>
          <cx:pt idx="2543">15.04954</cx:pt>
          <cx:pt idx="2544">15.04954</cx:pt>
          <cx:pt idx="2545">11.625359999999899</cx:pt>
          <cx:pt idx="2546">18.009979999999899</cx:pt>
          <cx:pt idx="2547">10.774939999999999</cx:pt>
          <cx:pt idx="2548">13.1242499999999</cx:pt>
          <cx:pt idx="2549">2.5768200000000001</cx:pt>
          <cx:pt idx="2550">5.4309900000000004</cx:pt>
          <cx:pt idx="2551">5.4309900000000004</cx:pt>
          <cx:pt idx="2552">9.5957399999999993</cx:pt>
          <cx:pt idx="2553">26.89687</cx:pt>
          <cx:pt idx="2554">13.1242499999999</cx:pt>
          <cx:pt idx="2555">15.04954</cx:pt>
          <cx:pt idx="2556">9.890539999999989</cx:pt>
          <cx:pt idx="2557">13.1242499999999</cx:pt>
          <cx:pt idx="2558">13.1242499999999</cx:pt>
          <cx:pt idx="2559">13.1242499999999</cx:pt>
          <cx:pt idx="2560">13.1242499999999</cx:pt>
          <cx:pt idx="2561">11.625359999999899</cx:pt>
          <cx:pt idx="2562">5.4309900000000004</cx:pt>
          <cx:pt idx="2563">13.1242499999999</cx:pt>
          <cx:pt idx="2564">13.1242499999999</cx:pt>
          <cx:pt idx="2565">18.778979999999901</cx:pt>
          <cx:pt idx="2566">15.786539999999999</cx:pt>
          <cx:pt idx="2567">5.8197600000000005</cx:pt>
          <cx:pt idx="2568">15.786539999999999</cx:pt>
          <cx:pt idx="2569">4.20472</cx:pt>
          <cx:pt idx="2570">13.1242499999999</cx:pt>
          <cx:pt idx="2571">13.1242499999999</cx:pt>
          <cx:pt idx="2572">19.086580000000001</cx:pt>
          <cx:pt idx="2573">13.1242499999999</cx:pt>
          <cx:pt idx="2574">18.148399999999899</cx:pt>
          <cx:pt idx="2575">15.04954</cx:pt>
          <cx:pt idx="2576">13.1242499999999</cx:pt>
          <cx:pt idx="2577">13.1242499999999</cx:pt>
          <cx:pt idx="2578">10.7091899999999</cx:pt>
          <cx:pt idx="2579">16.917999999999999</cx:pt>
          <cx:pt idx="2580">10.48014</cx:pt>
          <cx:pt idx="2581">13.1242499999999</cx:pt>
          <cx:pt idx="2582">13.1242499999999</cx:pt>
          <cx:pt idx="2583">17.548580000000001</cx:pt>
          <cx:pt idx="2584">13.1242499999999</cx:pt>
          <cx:pt idx="2585">13.1242499999999</cx:pt>
          <cx:pt idx="2586">5.8197600000000005</cx:pt>
          <cx:pt idx="2587">13.1242499999999</cx:pt>
          <cx:pt idx="2588">13.1242499999999</cx:pt>
          <cx:pt idx="2589">15.04954</cx:pt>
          <cx:pt idx="2590">13.1242499999999</cx:pt>
          <cx:pt idx="2591">13.1242499999999</cx:pt>
          <cx:pt idx="2592">5.9613599999999902</cx:pt>
          <cx:pt idx="2593">15.04954</cx:pt>
          <cx:pt idx="2594">5.4309900000000004</cx:pt>
          <cx:pt idx="2595">12.839249999999899</cx:pt>
          <cx:pt idx="2596">17.24098</cx:pt>
          <cx:pt idx="2597">10.18534</cx:pt>
          <cx:pt idx="2598">15.786539999999999</cx:pt>
          <cx:pt idx="2599">3.81501</cx:pt>
          <cx:pt idx="2600">18.778979999999901</cx:pt>
          <cx:pt idx="2601">7.5336600000000002</cx:pt>
          <cx:pt idx="2602">11.625359999999899</cx:pt>
          <cx:pt idx="2603">28.777769999999904</cx:pt>
          <cx:pt idx="2604">12.01178</cx:pt>
          <cx:pt idx="2605">15.04954</cx:pt>
          <cx:pt idx="2606">13.1242499999999</cx:pt>
          <cx:pt idx="2607">10.92234</cx:pt>
          <cx:pt idx="2608">7.3008000000000006</cx:pt>
          <cx:pt idx="2609">13.1242499999999</cx:pt>
          <cx:pt idx="2610">13.1242499999999</cx:pt>
          <cx:pt idx="2611">13.1242499999999</cx:pt>
          <cx:pt idx="2612">11.85798</cx:pt>
          <cx:pt idx="2613">13.1242499999999</cx:pt>
          <cx:pt idx="2614">15.04954</cx:pt>
          <cx:pt idx="2615">13.1242499999999</cx:pt>
          <cx:pt idx="2616">5.4309900000000004</cx:pt>
          <cx:pt idx="2617">41.191709999999695</cx:pt>
          <cx:pt idx="2618">15.786539999999999</cx:pt>
          <cx:pt idx="2619">41.406669999999899</cx:pt>
          <cx:pt idx="2620">3.08962</cx:pt>
          <cx:pt idx="2621">13.1242499999999</cx:pt>
          <cx:pt idx="2622">15.04954</cx:pt>
          <cx:pt idx="2623">10.18534</cx:pt>
          <cx:pt idx="2624">13.1242499999999</cx:pt>
          <cx:pt idx="2625">26.359469999999902</cx:pt>
          <cx:pt idx="2626">18.778979999999901</cx:pt>
          <cx:pt idx="2627">13.1242499999999</cx:pt>
          <cx:pt idx="2628">13.1242499999999</cx:pt>
          <cx:pt idx="2629">15.04954</cx:pt>
          <cx:pt idx="2630">5.4309900000000004</cx:pt>
          <cx:pt idx="2631">15.04954</cx:pt>
          <cx:pt idx="2632">13.1242499999999</cx:pt>
          <cx:pt idx="2633">13.1242499999999</cx:pt>
          <cx:pt idx="2634">28.509069999999998</cx:pt>
          <cx:pt idx="2635">40.86927</cx:pt>
          <cx:pt idx="2636">7.5336600000000002</cx:pt>
          <cx:pt idx="2637">13.1242499999999</cx:pt>
          <cx:pt idx="2638">17.717759999999998</cx:pt>
          <cx:pt idx="2639">13.1242499999999</cx:pt>
          <cx:pt idx="2640">13.1242499999999</cx:pt>
          <cx:pt idx="2641">12.839249999999899</cx:pt>
          <cx:pt idx="2642">3.8460000000000001</cx:pt>
          <cx:pt idx="2643">17.24098</cx:pt>
          <cx:pt idx="2644">26.359469999999902</cx:pt>
          <cx:pt idx="2645">11.625359999999899</cx:pt>
          <cx:pt idx="2646">13.1242499999999</cx:pt>
          <cx:pt idx="2647">13.1242499999999</cx:pt>
          <cx:pt idx="2648">13.1242499999999</cx:pt>
          <cx:pt idx="2649">17.548580000000001</cx:pt>
          <cx:pt idx="2650">13.1242499999999</cx:pt>
          <cx:pt idx="2651">19.378799999999998</cx:pt>
          <cx:pt idx="2652">17.24098</cx:pt>
          <cx:pt idx="2653">13.1242499999999</cx:pt>
          <cx:pt idx="2654">28.777769999999904</cx:pt>
          <cx:pt idx="2655">13.1242499999999</cx:pt>
          <cx:pt idx="2656">13.1242499999999</cx:pt>
          <cx:pt idx="2657">13.1242499999999</cx:pt>
          <cx:pt idx="2658">13.1242499999999</cx:pt>
          <cx:pt idx="2659">15.04954</cx:pt>
          <cx:pt idx="2660">13.1242499999999</cx:pt>
          <cx:pt idx="2661">13.1242499999999</cx:pt>
          <cx:pt idx="2662">9.30093999999999</cx:pt>
          <cx:pt idx="2663">17.24098</cx:pt>
          <cx:pt idx="2664">13.1242499999999</cx:pt>
          <cx:pt idx="2665">13.1242499999999</cx:pt>
          <cx:pt idx="2666">13.1242499999999</cx:pt>
          <cx:pt idx="2667">15.786539999999999</cx:pt>
          <cx:pt idx="2668">13.1242499999999</cx:pt>
          <cx:pt idx="2669">11.625359999999899</cx:pt>
          <cx:pt idx="2670">13.1242499999999</cx:pt>
          <cx:pt idx="2671">17.24098</cx:pt>
          <cx:pt idx="2672">11.625359999999899</cx:pt>
          <cx:pt idx="2673">15.04954</cx:pt>
          <cx:pt idx="2674">18.778979999999901</cx:pt>
          <cx:pt idx="2675">13.1242499999999</cx:pt>
          <cx:pt idx="2676">13.1242499999999</cx:pt>
          <cx:pt idx="2677">11.625359999999899</cx:pt>
          <cx:pt idx="2678">13.1242499999999</cx:pt>
          <cx:pt idx="2679">13.1242499999999</cx:pt>
          <cx:pt idx="2680">13.1242499999999</cx:pt>
          <cx:pt idx="2681">18.778979999999901</cx:pt>
          <cx:pt idx="2682">13.1242499999999</cx:pt>
          <cx:pt idx="2683">4.20472</cx:pt>
          <cx:pt idx="2684">13.1242499999999</cx:pt>
          <cx:pt idx="2685">13.1242499999999</cx:pt>
          <cx:pt idx="2686">13.1242499999999</cx:pt>
          <cx:pt idx="2687">18.778979999999901</cx:pt>
          <cx:pt idx="2688">18.778979999999901</cx:pt>
          <cx:pt idx="2689">13.1242499999999</cx:pt>
          <cx:pt idx="2690">15.04954</cx:pt>
          <cx:pt idx="2691">3.5895999999999999</cx:pt>
          <cx:pt idx="2692">13.1242499999999</cx:pt>
          <cx:pt idx="2693">13.1242499999999</cx:pt>
          <cx:pt idx="2694">13.1242499999999</cx:pt>
          <cx:pt idx="2695">13.1242499999999</cx:pt>
          <cx:pt idx="2696">9.0583999999999989</cx:pt>
          <cx:pt idx="2697">13.1242499999999</cx:pt>
          <cx:pt idx="2698">13.1242499999999</cx:pt>
          <cx:pt idx="2699">13.1242499999999</cx:pt>
          <cx:pt idx="2700">17.24098</cx:pt>
          <cx:pt idx="2701">13.1242499999999</cx:pt>
          <cx:pt idx="2702">17.24098</cx:pt>
          <cx:pt idx="2703">13.1242499999999</cx:pt>
          <cx:pt idx="2704">13.606859999999902</cx:pt>
          <cx:pt idx="2705">13.1242499999999</cx:pt>
          <cx:pt idx="2706">13.1242499999999</cx:pt>
          <cx:pt idx="2707">13.1242499999999</cx:pt>
          <cx:pt idx="2708">13.1242499999999</cx:pt>
          <cx:pt idx="2709">13.1242499999999</cx:pt>
          <cx:pt idx="2710">13.1242499999999</cx:pt>
          <cx:pt idx="2711">40.600569999999706</cx:pt>
          <cx:pt idx="2712">13.1242499999999</cx:pt>
          <cx:pt idx="2713">11.625359999999899</cx:pt>
          <cx:pt idx="2714">11.625359999999899</cx:pt>
          <cx:pt idx="2715">13.1242499999999</cx:pt>
          <cx:pt idx="2716">13.1242499999999</cx:pt>
          <cx:pt idx="2717">13.1242499999999</cx:pt>
          <cx:pt idx="2718">13.1242499999999</cx:pt>
          <cx:pt idx="2719">13.1242499999999</cx:pt>
          <cx:pt idx="2720">13.1242499999999</cx:pt>
          <cx:pt idx="2721">15.04954</cx:pt>
          <cx:pt idx="2722">3.68391</cx:pt>
          <cx:pt idx="2723">13.1242499999999</cx:pt>
          <cx:pt idx="2724">13.1242499999999</cx:pt>
          <cx:pt idx="2725">12.839249999999899</cx:pt>
          <cx:pt idx="2726">13.1242499999999</cx:pt>
          <cx:pt idx="2727">13.1242499999999</cx:pt>
          <cx:pt idx="2728">13.1242499999999</cx:pt>
          <cx:pt idx="2729">13.1242499999999</cx:pt>
          <cx:pt idx="2730">13.1242499999999</cx:pt>
          <cx:pt idx="2731">18.778979999999901</cx:pt>
          <cx:pt idx="2732">13.1242499999999</cx:pt>
          <cx:pt idx="2733">26.090769999999903</cx:pt>
          <cx:pt idx="2734">40.86927</cx:pt>
          <cx:pt idx="2735">14.607339999999999</cx:pt>
          <cx:pt idx="2736">11.625359999999899</cx:pt>
          <cx:pt idx="2737">13.1242499999999</cx:pt>
          <cx:pt idx="2738">12.165579999999899</cx:pt>
          <cx:pt idx="2739">15.786539999999999</cx:pt>
          <cx:pt idx="2740">13.1242499999999</cx:pt>
          <cx:pt idx="2741">15.04954</cx:pt>
          <cx:pt idx="2742">15.786539999999999</cx:pt>
          <cx:pt idx="2743">13.1242499999999</cx:pt>
          <cx:pt idx="2744">17.24098</cx:pt>
          <cx:pt idx="2745">13.1242499999999</cx:pt>
          <cx:pt idx="2746">15.786539999999999</cx:pt>
          <cx:pt idx="2747">4.20472</cx:pt>
          <cx:pt idx="2748">13.1242499999999</cx:pt>
          <cx:pt idx="2749">13.1242499999999</cx:pt>
          <cx:pt idx="2750">11.625359999999899</cx:pt>
          <cx:pt idx="2751">13.1242499999999</cx:pt>
          <cx:pt idx="2752">13.1242499999999</cx:pt>
          <cx:pt idx="2753">15.04954</cx:pt>
          <cx:pt idx="2754">11.625359999999899</cx:pt>
          <cx:pt idx="2755">13.1242499999999</cx:pt>
          <cx:pt idx="2756">13.1242499999999</cx:pt>
          <cx:pt idx="2757">35.495269999999898</cx:pt>
          <cx:pt idx="2758">5.8197600000000005</cx:pt>
          <cx:pt idx="2759">15.04954</cx:pt>
          <cx:pt idx="2760">13.1242499999999</cx:pt>
          <cx:pt idx="2761">13.1242499999999</cx:pt>
          <cx:pt idx="2762">13.1242499999999</cx:pt>
          <cx:pt idx="2763">13.1242499999999</cx:pt>
          <cx:pt idx="2764">15.04954</cx:pt>
          <cx:pt idx="2765">13.1242499999999</cx:pt>
          <cx:pt idx="2766">13.1242499999999</cx:pt>
          <cx:pt idx="2767">15.786539999999999</cx:pt>
          <cx:pt idx="2768">13.1242499999999</cx:pt>
          <cx:pt idx="2769">5.4309900000000004</cx:pt>
          <cx:pt idx="2770">4.3399200000000002</cx:pt>
          <cx:pt idx="2771">13.1242499999999</cx:pt>
          <cx:pt idx="2772">13.1242499999999</cx:pt>
          <cx:pt idx="2773">13.1242499999999</cx:pt>
          <cx:pt idx="2774">18.778979999999901</cx:pt>
          <cx:pt idx="2775">13.1242499999999</cx:pt>
          <cx:pt idx="2776">13.1242499999999</cx:pt>
          <cx:pt idx="2777">15.04954</cx:pt>
          <cx:pt idx="2778">13.1242499999999</cx:pt>
          <cx:pt idx="2779">13.1242499999999</cx:pt>
          <cx:pt idx="2780">13.1242499999999</cx:pt>
          <cx:pt idx="2781">13.1242499999999</cx:pt>
          <cx:pt idx="2782">13.1242499999999</cx:pt>
          <cx:pt idx="2783">13.1242499999999</cx:pt>
          <cx:pt idx="2784">13.1242499999999</cx:pt>
          <cx:pt idx="2785">13.1242499999999</cx:pt>
          <cx:pt idx="2786">17.24098</cx:pt>
          <cx:pt idx="2787">13.1242499999999</cx:pt>
          <cx:pt idx="2788">13.1242499999999</cx:pt>
          <cx:pt idx="2789">18.778979999999901</cx:pt>
          <cx:pt idx="2790">13.1242499999999</cx:pt>
          <cx:pt idx="2791">13.1242499999999</cx:pt>
          <cx:pt idx="2792">17.24098</cx:pt>
          <cx:pt idx="2793">13.1242499999999</cx:pt>
          <cx:pt idx="2794">13.1242499999999</cx:pt>
          <cx:pt idx="2795">35.226569999999903</cx:pt>
          <cx:pt idx="2796">13.1242499999999</cx:pt>
          <cx:pt idx="2797">13.1242499999999</cx:pt>
          <cx:pt idx="2798">55.889599999999696</cx:pt>
          <cx:pt idx="2799">17.24098</cx:pt>
          <cx:pt idx="2800">13.1242499999999</cx:pt>
          <cx:pt idx="2801">15.04954</cx:pt>
          <cx:pt idx="2802">12.3333599999999</cx:pt>
          <cx:pt idx="2803">3.81501</cx:pt>
          <cx:pt idx="2804">18.009979999999899</cx:pt>
          <cx:pt idx="2805">15.04954</cx:pt>
          <cx:pt idx="2806">18.778979999999901</cx:pt>
          <cx:pt idx="2807">13.1242499999999</cx:pt>
          <cx:pt idx="2808">15.04954</cx:pt>
          <cx:pt idx="2809">13.1242499999999</cx:pt>
          <cx:pt idx="2810">13.1242499999999</cx:pt>
          <cx:pt idx="2811">13.1242499999999</cx:pt>
          <cx:pt idx="2812">13.1242499999999</cx:pt>
          <cx:pt idx="2813">13.1242499999999</cx:pt>
          <cx:pt idx="2814">13.1242499999999</cx:pt>
          <cx:pt idx="2815">13.1242499999999</cx:pt>
          <cx:pt idx="2816">13.1242499999999</cx:pt>
          <cx:pt idx="2817">13.1242499999999</cx:pt>
          <cx:pt idx="2818">15.04954</cx:pt>
          <cx:pt idx="2819">18.778979999999901</cx:pt>
          <cx:pt idx="2820">11.625359999999899</cx:pt>
          <cx:pt idx="2821">17.24098</cx:pt>
          <cx:pt idx="2822">13.1242499999999</cx:pt>
          <cx:pt idx="2823">13.1242499999999</cx:pt>
          <cx:pt idx="2824">9.3201899999999789</cx:pt>
          <cx:pt idx="2825">9.30093999999999</cx:pt>
          <cx:pt idx="2826">13.1242499999999</cx:pt>
          <cx:pt idx="2827">12.839249999999899</cx:pt>
          <cx:pt idx="2828">11.625359999999899</cx:pt>
          <cx:pt idx="2829">13.1242499999999</cx:pt>
          <cx:pt idx="2830">17.24098</cx:pt>
          <cx:pt idx="2831">15.04954</cx:pt>
          <cx:pt idx="2832">13.1242499999999</cx:pt>
          <cx:pt idx="2833">13.1242499999999</cx:pt>
          <cx:pt idx="2834">13.1242499999999</cx:pt>
          <cx:pt idx="2835">13.1242499999999</cx:pt>
          <cx:pt idx="2836">13.1242499999999</cx:pt>
          <cx:pt idx="2837">17.24098</cx:pt>
          <cx:pt idx="2838">13.1242499999999</cx:pt>
          <cx:pt idx="2839">13.1242499999999</cx:pt>
          <cx:pt idx="2840">5.9613599999999902</cx:pt>
          <cx:pt idx="2841">13.1242499999999</cx:pt>
          <cx:pt idx="2842">13.1242499999999</cx:pt>
          <cx:pt idx="2843">3.7178000000000004</cx:pt>
          <cx:pt idx="2844">13.1242499999999</cx:pt>
          <cx:pt idx="2845">15.04954</cx:pt>
          <cx:pt idx="2846">13.1242499999999</cx:pt>
          <cx:pt idx="2847">15.786539999999999</cx:pt>
          <cx:pt idx="2848">12.839249999999899</cx:pt>
          <cx:pt idx="2849">13.1242499999999</cx:pt>
          <cx:pt idx="2850">13.1242499999999</cx:pt>
          <cx:pt idx="2851">11.625359999999899</cx:pt>
          <cx:pt idx="2852">17.24098</cx:pt>
          <cx:pt idx="2853">11.625359999999899</cx:pt>
          <cx:pt idx="2854">13.1242499999999</cx:pt>
          <cx:pt idx="2855">10.92234</cx:pt>
          <cx:pt idx="2856">13.1242499999999</cx:pt>
          <cx:pt idx="2857">13.1242499999999</cx:pt>
          <cx:pt idx="2858">13.1242499999999</cx:pt>
          <cx:pt idx="2859">11.625359999999899</cx:pt>
          <cx:pt idx="2860">12.3333599999999</cx:pt>
          <cx:pt idx="2861">13.1242499999999</cx:pt>
          <cx:pt idx="2862">40.86927</cx:pt>
          <cx:pt idx="2863">37.1074699999999</cx:pt>
          <cx:pt idx="2864">36.032669999999897</cx:pt>
          <cx:pt idx="2865">17.24098</cx:pt>
          <cx:pt idx="2866">13.1242499999999</cx:pt>
          <cx:pt idx="2867">13.1242499999999</cx:pt>
          <cx:pt idx="2868">13.1242499999999</cx:pt>
          <cx:pt idx="2869">13.1242499999999</cx:pt>
          <cx:pt idx="2870">13.1242499999999</cx:pt>
          <cx:pt idx="2871">13.1242499999999</cx:pt>
          <cx:pt idx="2872">15.04954</cx:pt>
          <cx:pt idx="2873">3.81501</cx:pt>
          <cx:pt idx="2874">13.1242499999999</cx:pt>
          <cx:pt idx="2875">13.1242499999999</cx:pt>
          <cx:pt idx="2876">13.1242499999999</cx:pt>
          <cx:pt idx="2877">9.44834</cx:pt>
          <cx:pt idx="2878">13.1242499999999</cx:pt>
          <cx:pt idx="2879">13.1242499999999</cx:pt>
          <cx:pt idx="2880">15.04954</cx:pt>
          <cx:pt idx="2881">10.278600000000001</cx:pt>
          <cx:pt idx="2882">13.1242499999999</cx:pt>
          <cx:pt idx="2883">13.1242499999999</cx:pt>
          <cx:pt idx="2884">15.04954</cx:pt>
          <cx:pt idx="2885">15.04954</cx:pt>
          <cx:pt idx="2886">11.625359999999899</cx:pt>
          <cx:pt idx="2887">9.7431400000000004</cx:pt>
          <cx:pt idx="2888">6.1616999999999997</cx:pt>
          <cx:pt idx="2889">13.1242499999999</cx:pt>
          <cx:pt idx="2890">13.1242499999999</cx:pt>
          <cx:pt idx="2891">18.778979999999901</cx:pt>
          <cx:pt idx="2892">15.04954</cx:pt>
          <cx:pt idx="2893">13.1242499999999</cx:pt>
          <cx:pt idx="2894">13.1242499999999</cx:pt>
          <cx:pt idx="2895">13.1242499999999</cx:pt>
          <cx:pt idx="2896">13.1242499999999</cx:pt>
          <cx:pt idx="2897">13.1242499999999</cx:pt>
          <cx:pt idx="2898">13.1242499999999</cx:pt>
          <cx:pt idx="2899">13.1242499999999</cx:pt>
          <cx:pt idx="2900">13.1242499999999</cx:pt>
          <cx:pt idx="2901">6.8171999999999997</cx:pt>
          <cx:pt idx="2902">13.1242499999999</cx:pt>
          <cx:pt idx="2903">13.1242499999999</cx:pt>
          <cx:pt idx="2904">13.1242499999999</cx:pt>
          <cx:pt idx="2905">15.04954</cx:pt>
          <cx:pt idx="2906">3.81501</cx:pt>
          <cx:pt idx="2907">19.547980000000003</cx:pt>
          <cx:pt idx="2908">13.1242499999999</cx:pt>
          <cx:pt idx="2909">13.1242499999999</cx:pt>
          <cx:pt idx="2910">15.786539999999999</cx:pt>
          <cx:pt idx="2911">13.1242499999999</cx:pt>
          <cx:pt idx="2912">13.1242499999999</cx:pt>
          <cx:pt idx="2913">15.04954</cx:pt>
          <cx:pt idx="2914">13.1242499999999</cx:pt>
          <cx:pt idx="2915">15.04954</cx:pt>
          <cx:pt idx="2916">13.1242499999999</cx:pt>
          <cx:pt idx="2917">11.625359999999899</cx:pt>
          <cx:pt idx="2918">13.1242499999999</cx:pt>
          <cx:pt idx="2919">13.1242499999999</cx:pt>
          <cx:pt idx="2920">11.625359999999899</cx:pt>
          <cx:pt idx="2921">13.1242499999999</cx:pt>
          <cx:pt idx="2922">13.1242499999999</cx:pt>
          <cx:pt idx="2923">13.1242499999999</cx:pt>
          <cx:pt idx="2924">13.1242499999999</cx:pt>
          <cx:pt idx="2925">13.1242499999999</cx:pt>
          <cx:pt idx="2926">18.778979999999901</cx:pt>
          <cx:pt idx="2927">13.1242499999999</cx:pt>
          <cx:pt idx="2928">38.182270000000003</cx:pt>
          <cx:pt idx="2929">13.1242499999999</cx:pt>
          <cx:pt idx="2930">14.75474</cx:pt>
          <cx:pt idx="2931">13.1242499999999</cx:pt>
          <cx:pt idx="2932">13.1242499999999</cx:pt>
          <cx:pt idx="2933">10.7091899999999</cx:pt>
          <cx:pt idx="2934">13.1242499999999</cx:pt>
          <cx:pt idx="2935">13.1242499999999</cx:pt>
          <cx:pt idx="2936">11.625359999999899</cx:pt>
          <cx:pt idx="2937">13.1242499999999</cx:pt>
          <cx:pt idx="2938">6.1616999999999997</cx:pt>
          <cx:pt idx="2939">13.1242499999999</cx:pt>
          <cx:pt idx="2940">15.04954</cx:pt>
          <cx:pt idx="2941">13.1242499999999</cx:pt>
          <cx:pt idx="2942">13.1242499999999</cx:pt>
          <cx:pt idx="2943">15.04954</cx:pt>
          <cx:pt idx="2944">13.1242499999999</cx:pt>
          <cx:pt idx="2945">3.81501</cx:pt>
          <cx:pt idx="2946">13.1242499999999</cx:pt>
          <cx:pt idx="2947">35.495269999999898</cx:pt>
          <cx:pt idx="2948">13.1242499999999</cx:pt>
          <cx:pt idx="2949">13.1242499999999</cx:pt>
          <cx:pt idx="2950">11.625359999999899</cx:pt>
          <cx:pt idx="2951">2.1922199999999998</cx:pt>
          <cx:pt idx="2952">13.1242499999999</cx:pt>
          <cx:pt idx="2953">13.1242499999999</cx:pt>
          <cx:pt idx="2954">13.1242499999999</cx:pt>
          <cx:pt idx="2955">13.1242499999999</cx:pt>
          <cx:pt idx="2956">17.24098</cx:pt>
          <cx:pt idx="2957">13.1242499999999</cx:pt>
          <cx:pt idx="2958">13.1242499999999</cx:pt>
          <cx:pt idx="2959">15.04954</cx:pt>
          <cx:pt idx="2960">13.1242499999999</cx:pt>
          <cx:pt idx="2961">13.1242499999999</cx:pt>
          <cx:pt idx="2962">13.1242499999999</cx:pt>
          <cx:pt idx="2963">13.1242499999999</cx:pt>
          <cx:pt idx="2964">13.1242499999999</cx:pt>
          <cx:pt idx="2965">7.5712000000000002</cx:pt>
          <cx:pt idx="2966">17.24098</cx:pt>
          <cx:pt idx="2967">13.1242499999999</cx:pt>
          <cx:pt idx="2968">10.037939999999999</cx:pt>
          <cx:pt idx="2969">13.1242499999999</cx:pt>
          <cx:pt idx="2970">13.1242499999999</cx:pt>
          <cx:pt idx="2971">13.1242499999999</cx:pt>
          <cx:pt idx="2972">3.8460000000000001</cx:pt>
          <cx:pt idx="2973">13.1242499999999</cx:pt>
          <cx:pt idx="2974">4.20472</cx:pt>
          <cx:pt idx="2975">13.1242499999999</cx:pt>
          <cx:pt idx="2976">18.009979999999899</cx:pt>
          <cx:pt idx="2977">13.1242499999999</cx:pt>
          <cx:pt idx="2978">13.1242499999999</cx:pt>
          <cx:pt idx="2979">13.1242499999999</cx:pt>
          <cx:pt idx="2980">15.04954</cx:pt>
          <cx:pt idx="2981">13.1242499999999</cx:pt>
          <cx:pt idx="2982">13.1242499999999</cx:pt>
          <cx:pt idx="2983">13.1242499999999</cx:pt>
          <cx:pt idx="2984">13.1242499999999</cx:pt>
          <cx:pt idx="2985">13.1242499999999</cx:pt>
          <cx:pt idx="2986">10.18534</cx:pt>
          <cx:pt idx="2987">15.786539999999999</cx:pt>
          <cx:pt idx="2988">18.778979999999901</cx:pt>
          <cx:pt idx="2989">15.04954</cx:pt>
          <cx:pt idx="2990">11.625359999999899</cx:pt>
          <cx:pt idx="2991">13.1242499999999</cx:pt>
          <cx:pt idx="2992">13.1242499999999</cx:pt>
          <cx:pt idx="2993">27.702970000000001</cx:pt>
          <cx:pt idx="2994">13.1242499999999</cx:pt>
          <cx:pt idx="2995">13.1242499999999</cx:pt>
          <cx:pt idx="2996">13.1242499999999</cx:pt>
          <cx:pt idx="2997">13.1242499999999</cx:pt>
          <cx:pt idx="2998">13.1242499999999</cx:pt>
          <cx:pt idx="2999">13.1242499999999</cx:pt>
          <cx:pt idx="3000">13.1242499999999</cx:pt>
          <cx:pt idx="3001">13.1242499999999</cx:pt>
          <cx:pt idx="3002">13.1242499999999</cx:pt>
          <cx:pt idx="3003">13.1242499999999</cx:pt>
          <cx:pt idx="3004">13.1242499999999</cx:pt>
          <cx:pt idx="3005">13.1242499999999</cx:pt>
          <cx:pt idx="3006">13.1242499999999</cx:pt>
          <cx:pt idx="3007">13.1242499999999</cx:pt>
          <cx:pt idx="3008">19.547980000000003</cx:pt>
          <cx:pt idx="3009">15.04954</cx:pt>
          <cx:pt idx="3010">6.1616999999999997</cx:pt>
          <cx:pt idx="3011">11.625359999999899</cx:pt>
          <cx:pt idx="3012">13.1242499999999</cx:pt>
          <cx:pt idx="3013">15.04954</cx:pt>
          <cx:pt idx="3014">13.1242499999999</cx:pt>
          <cx:pt idx="3015">15.04954</cx:pt>
          <cx:pt idx="3016">13.1242499999999</cx:pt>
          <cx:pt idx="3017">13.1242499999999</cx:pt>
          <cx:pt idx="3018">11.625359999999899</cx:pt>
          <cx:pt idx="3019">35.495269999999898</cx:pt>
          <cx:pt idx="3020">13.1242499999999</cx:pt>
          <cx:pt idx="3021">13.1242499999999</cx:pt>
          <cx:pt idx="3022">10.18534</cx:pt>
          <cx:pt idx="3023">12.967500000000001</cx:pt>
          <cx:pt idx="3024">4.4751199999999898</cx:pt>
          <cx:pt idx="3025">13.1242499999999</cx:pt>
          <cx:pt idx="3026">11.625359999999899</cx:pt>
          <cx:pt idx="3027">15.04954</cx:pt>
          <cx:pt idx="3028">17.24098</cx:pt>
          <cx:pt idx="3029">13.1242499999999</cx:pt>
          <cx:pt idx="3030">13.1242499999999</cx:pt>
          <cx:pt idx="3031">13.1242499999999</cx:pt>
          <cx:pt idx="3032">17.24098</cx:pt>
          <cx:pt idx="3033">13.1242499999999</cx:pt>
          <cx:pt idx="3034">13.1242499999999</cx:pt>
          <cx:pt idx="3035">11.625359999999899</cx:pt>
          <cx:pt idx="3036">15.04954</cx:pt>
          <cx:pt idx="3037">3.81501</cx:pt>
          <cx:pt idx="3038">3.68391</cx:pt>
          <cx:pt idx="3039">13.1242499999999</cx:pt>
          <cx:pt idx="3040">13.1242499999999</cx:pt>
          <cx:pt idx="3041">13.1242499999999</cx:pt>
          <cx:pt idx="3042">13.1242499999999</cx:pt>
          <cx:pt idx="3043">13.1242499999999</cx:pt>
          <cx:pt idx="3044">13.1242499999999</cx:pt>
          <cx:pt idx="3045">13.1242499999999</cx:pt>
          <cx:pt idx="3046">12.3333599999999</cx:pt>
          <cx:pt idx="3047">11.625359999999899</cx:pt>
          <cx:pt idx="3048">5.1511199999999997</cx:pt>
          <cx:pt idx="3049">13.1242499999999</cx:pt>
          <cx:pt idx="3050">15.04954</cx:pt>
          <cx:pt idx="3051">15.04954</cx:pt>
          <cx:pt idx="3052">17.24098</cx:pt>
          <cx:pt idx="3053">13.1242499999999</cx:pt>
          <cx:pt idx="3054">18.778979999999901</cx:pt>
          <cx:pt idx="3055">18.778979999999901</cx:pt>
          <cx:pt idx="3056">13.1242499999999</cx:pt>
          <cx:pt idx="3057">13.1242499999999</cx:pt>
          <cx:pt idx="3058">13.1242499999999</cx:pt>
          <cx:pt idx="3059">3.94611</cx:pt>
          <cx:pt idx="3060">13.1242499999999</cx:pt>
          <cx:pt idx="3061">15.04954</cx:pt>
          <cx:pt idx="3062">11.625359999999899</cx:pt>
          <cx:pt idx="3063">7.5336600000000002</cx:pt>
          <cx:pt idx="3064">2.34606000000002</cx:pt>
          <cx:pt idx="3065">10.774939999999999</cx:pt>
          <cx:pt idx="3066">12.3333599999999</cx:pt>
          <cx:pt idx="3067">13.1242499999999</cx:pt>
          <cx:pt idx="3068">29.046469999999903</cx:pt>
          <cx:pt idx="3069">13.1242499999999</cx:pt>
          <cx:pt idx="3070">17.24098</cx:pt>
          <cx:pt idx="3071">28.777770000000004</cx:pt>
          <cx:pt idx="3072">13.1242499999999</cx:pt>
          <cx:pt idx="3073">13.1242499999999</cx:pt>
          <cx:pt idx="3074">11.625359999999899</cx:pt>
          <cx:pt idx="3075">13.1242499999999</cx:pt>
          <cx:pt idx="3076">17.24098</cx:pt>
          <cx:pt idx="3077">15.04954</cx:pt>
          <cx:pt idx="3078">15.04954</cx:pt>
          <cx:pt idx="3079">17.24098</cx:pt>
          <cx:pt idx="3080">13.1242499999999</cx:pt>
          <cx:pt idx="3081">13.1242499999999</cx:pt>
          <cx:pt idx="3082">15.04954</cx:pt>
          <cx:pt idx="3083">17.24098</cx:pt>
          <cx:pt idx="3084">15.786539999999999</cx:pt>
          <cx:pt idx="3085">13.1242499999999</cx:pt>
          <cx:pt idx="3086">3.8460000000000001</cx:pt>
          <cx:pt idx="3087">15.786539999999999</cx:pt>
          <cx:pt idx="3088">10.62754</cx:pt>
          <cx:pt idx="3089">5.4309900000000004</cx:pt>
          <cx:pt idx="3090">10.278600000000001</cx:pt>
          <cx:pt idx="3091">18.778979999999901</cx:pt>
          <cx:pt idx="3092">44.953509999999703</cx:pt>
          <cx:pt idx="3093">13.1242499999999</cx:pt>
          <cx:pt idx="3094">17.24098</cx:pt>
          <cx:pt idx="3095">15.04954</cx:pt>
          <cx:pt idx="3096">13.1242499999999</cx:pt>
          <cx:pt idx="3097">27.702969999999898</cx:pt>
          <cx:pt idx="3098">18.778979999999901</cx:pt>
          <cx:pt idx="3099">13.1242499999999</cx:pt>
          <cx:pt idx="3100">13.1242499999999</cx:pt>
          <cx:pt idx="3101">13.1242499999999</cx:pt>
          <cx:pt idx="3102">11.625359999999899</cx:pt>
          <cx:pt idx="3103">7.0439199999999991</cx:pt>
          <cx:pt idx="3104">10.834199999999999</cx:pt>
          <cx:pt idx="3105">27.97167</cx:pt>
          <cx:pt idx="3106">17.24098</cx:pt>
          <cx:pt idx="3107">10.7091899999999</cx:pt>
          <cx:pt idx="3108">36.838769999999997</cx:pt>
          <cx:pt idx="3109">13.1242499999999</cx:pt>
          <cx:pt idx="3110">17.24098</cx:pt>
          <cx:pt idx="3111">13.1242499999999</cx:pt>
          <cx:pt idx="3112">13.1242499999999</cx:pt>
          <cx:pt idx="3113">13.1242499999999</cx:pt>
          <cx:pt idx="3114">13.1242499999999</cx:pt>
          <cx:pt idx="3115">5.1511199999999997</cx:pt>
          <cx:pt idx="3116">5.1511199999999997</cx:pt>
          <cx:pt idx="3117">13.1242499999999</cx:pt>
          <cx:pt idx="3118">11.625359999999899</cx:pt>
          <cx:pt idx="3119">13.1242499999999</cx:pt>
          <cx:pt idx="3120">15.04954</cx:pt>
          <cx:pt idx="3121">3.34601999999999</cx:pt>
          <cx:pt idx="3122">12.839249999999899</cx:pt>
          <cx:pt idx="3123">13.1242499999999</cx:pt>
          <cx:pt idx="3124">13.1242499999999</cx:pt>
          <cx:pt idx="3125">13.1242499999999</cx:pt>
          <cx:pt idx="3126">6.5549999999999997</cx:pt>
          <cx:pt idx="3127">10.774939999999999</cx:pt>
          <cx:pt idx="3128">13.1242499999999</cx:pt>
          <cx:pt idx="3129">13.2421799999999</cx:pt>
          <cx:pt idx="3130">17.24098</cx:pt>
          <cx:pt idx="3131">13.1242499999999</cx:pt>
          <cx:pt idx="3132">4.3399200000000002</cx:pt>
          <cx:pt idx="3133">3.42171</cx:pt>
          <cx:pt idx="3134">13.1242499999999</cx:pt>
          <cx:pt idx="3135">18.778979999999901</cx:pt>
          <cx:pt idx="3136">17.24098</cx:pt>
          <cx:pt idx="3137">12.319199999999899</cx:pt>
          <cx:pt idx="3138">15.04954</cx:pt>
          <cx:pt idx="3139">12.3333599999999</cx:pt>
          <cx:pt idx="3140">13.1242499999999</cx:pt>
          <cx:pt idx="3141">11.3421599999999</cx:pt>
          <cx:pt idx="3142">3.42171</cx:pt>
          <cx:pt idx="3143">13.1242499999999</cx:pt>
          <cx:pt idx="3144">13.1242499999999</cx:pt>
          <cx:pt idx="3145">15.786539999999999</cx:pt>
          <cx:pt idx="3146">13.1242499999999</cx:pt>
          <cx:pt idx="3147">13.1242499999999</cx:pt>
          <cx:pt idx="3148">13.1242499999999</cx:pt>
          <cx:pt idx="3149">17.24098</cx:pt>
          <cx:pt idx="3150">13.1242499999999</cx:pt>
          <cx:pt idx="3151">15.04954</cx:pt>
          <cx:pt idx="3152">13.1242499999999</cx:pt>
          <cx:pt idx="3153">13.1242499999999</cx:pt>
          <cx:pt idx="3154">13.1242499999999</cx:pt>
          <cx:pt idx="3155">17.24098</cx:pt>
          <cx:pt idx="3156">9.890539999999989</cx:pt>
          <cx:pt idx="3157">13.1242499999999</cx:pt>
          <cx:pt idx="3158">13.1242499999999</cx:pt>
          <cx:pt idx="3159">13.1242499999999</cx:pt>
          <cx:pt idx="3160">13.1242499999999</cx:pt>
          <cx:pt idx="3161">12.16558</cx:pt>
          <cx:pt idx="3162">11.625359999999899</cx:pt>
          <cx:pt idx="3163">13.1242499999999</cx:pt>
          <cx:pt idx="3164">11.704180000000001</cx:pt>
          <cx:pt idx="3165">15.04954</cx:pt>
          <cx:pt idx="3166">9.7431400000000004</cx:pt>
          <cx:pt idx="3167">13.1242499999999</cx:pt>
          <cx:pt idx="3168">13.1242499999999</cx:pt>
          <cx:pt idx="3169">13.1242499999999</cx:pt>
          <cx:pt idx="3170">13.1242499999999</cx:pt>
          <cx:pt idx="3171">14.75474</cx:pt>
          <cx:pt idx="3172">11.625359999999899</cx:pt>
          <cx:pt idx="3173">13.1242499999999</cx:pt>
          <cx:pt idx="3174">13.1242499999999</cx:pt>
          <cx:pt idx="3175">13.1242499999999</cx:pt>
          <cx:pt idx="3176">13.1242499999999</cx:pt>
          <cx:pt idx="3177">18.778979999999901</cx:pt>
          <cx:pt idx="3178">17.24098</cx:pt>
          <cx:pt idx="3179">11.85798</cx:pt>
          <cx:pt idx="3180">10.62754</cx:pt>
          <cx:pt idx="3181">11.625359999999899</cx:pt>
          <cx:pt idx="3182">15.04954</cx:pt>
          <cx:pt idx="3183">5.4309900000000004</cx:pt>
          <cx:pt idx="3184">5.9613599999999902</cx:pt>
          <cx:pt idx="3185">5.4309900000000004</cx:pt>
          <cx:pt idx="3186">17.24098</cx:pt>
          <cx:pt idx="3187">13.1242499999999</cx:pt>
          <cx:pt idx="3188">13.1242499999999</cx:pt>
          <cx:pt idx="3189">13.1242499999999</cx:pt>
          <cx:pt idx="3190">18.778979999999901</cx:pt>
          <cx:pt idx="3191">13.1242499999999</cx:pt>
          <cx:pt idx="3192">13.1242499999999</cx:pt>
          <cx:pt idx="3193">15.786539999999999</cx:pt>
          <cx:pt idx="3194">15.04954</cx:pt>
          <cx:pt idx="3195">13.1242499999999</cx:pt>
          <cx:pt idx="3196">13.1242499999999</cx:pt>
          <cx:pt idx="3197">13.1242499999999</cx:pt>
          <cx:pt idx="3198">13.1242499999999</cx:pt>
          <cx:pt idx="3199">16.764200000000002</cx:pt>
          <cx:pt idx="3200">13.1242499999999</cx:pt>
          <cx:pt idx="3201">15.04954</cx:pt>
          <cx:pt idx="3202">13.1242499999999</cx:pt>
          <cx:pt idx="3203">3.81501</cx:pt>
          <cx:pt idx="3204">13.1242499999999</cx:pt>
          <cx:pt idx="3205">13.1242499999999</cx:pt>
          <cx:pt idx="3206">13.1242499999999</cx:pt>
          <cx:pt idx="3207">5.5061999999999998</cx:pt>
          <cx:pt idx="3208">17.24098</cx:pt>
          <cx:pt idx="3209">15.04954</cx:pt>
          <cx:pt idx="3210">12.839249999999899</cx:pt>
          <cx:pt idx="3211">13.1242499999999</cx:pt>
          <cx:pt idx="3212">15.04954</cx:pt>
          <cx:pt idx="3213">35.495269999999898</cx:pt>
          <cx:pt idx="3214">13.1242499999999</cx:pt>
          <cx:pt idx="3215">13.1242499999999</cx:pt>
          <cx:pt idx="3216">3.81501</cx:pt>
          <cx:pt idx="3217">13.1242499999999</cx:pt>
          <cx:pt idx="3218">13.1242499999999</cx:pt>
          <cx:pt idx="3219">13.1242499999999</cx:pt>
          <cx:pt idx="3220">10.774939999999999</cx:pt>
          <cx:pt idx="3221">13.1242499999999</cx:pt>
          <cx:pt idx="3222">9.44834</cx:pt>
          <cx:pt idx="3223">11.625359999999899</cx:pt>
          <cx:pt idx="3224">13.1242499999999</cx:pt>
          <cx:pt idx="3225">11.625359999999899</cx:pt>
          <cx:pt idx="3226">13.1242499999999</cx:pt>
          <cx:pt idx="3227">13.1242499999999</cx:pt>
          <cx:pt idx="3228">13.1242499999999</cx:pt>
          <cx:pt idx="3229">11.625359999999899</cx:pt>
          <cx:pt idx="3230">13.1242499999999</cx:pt>
          <cx:pt idx="3231">13.1242499999999</cx:pt>
          <cx:pt idx="3232">11.625359999999899</cx:pt>
          <cx:pt idx="3233">13.1242499999999</cx:pt>
          <cx:pt idx="3234">13.1242499999999</cx:pt>
          <cx:pt idx="3235">14.0406599999999</cx:pt>
          <cx:pt idx="3236">13.1242499999999</cx:pt>
          <cx:pt idx="3237">13.1242499999999</cx:pt>
          <cx:pt idx="3238">13.1242499999999</cx:pt>
          <cx:pt idx="3239">13.1242499999999</cx:pt>
          <cx:pt idx="3240">15.786539999999999</cx:pt>
          <cx:pt idx="3241">17.24098</cx:pt>
          <cx:pt idx="3242">13.1242499999999</cx:pt>
          <cx:pt idx="3243">13.1242499999999</cx:pt>
          <cx:pt idx="3244">9.30093999999999</cx:pt>
          <cx:pt idx="3245">13.1242499999999</cx:pt>
          <cx:pt idx="3246">13.1242499999999</cx:pt>
          <cx:pt idx="3247">13.1242499999999</cx:pt>
          <cx:pt idx="3248">13.1242499999999</cx:pt>
          <cx:pt idx="3249">13.1242499999999</cx:pt>
          <cx:pt idx="3250">13.1242499999999</cx:pt>
          <cx:pt idx="3251">15.04954</cx:pt>
          <cx:pt idx="3252">5.1511199999999997</cx:pt>
          <cx:pt idx="3253">13.1242499999999</cx:pt>
          <cx:pt idx="3254">13.1242499999999</cx:pt>
          <cx:pt idx="3255">13.1242499999999</cx:pt>
          <cx:pt idx="3256">11.625359999999899</cx:pt>
          <cx:pt idx="3257">11.625359999999899</cx:pt>
          <cx:pt idx="3258">17.24098</cx:pt>
          <cx:pt idx="3259">15.04954</cx:pt>
          <cx:pt idx="3260">11.625359999999899</cx:pt>
          <cx:pt idx="3261">13.1242499999999</cx:pt>
          <cx:pt idx="3262">15.786539999999999</cx:pt>
          <cx:pt idx="3263">3.81501</cx:pt>
          <cx:pt idx="3264">19.547980000000003</cx:pt>
          <cx:pt idx="3265">13.1242499999999</cx:pt>
          <cx:pt idx="3266">5.9613599999999902</cx:pt>
          <cx:pt idx="3267">13.1242499999999</cx:pt>
          <cx:pt idx="3268">13.1242499999999</cx:pt>
          <cx:pt idx="3269">13.1242499999999</cx:pt>
          <cx:pt idx="3270">13.1242499999999</cx:pt>
          <cx:pt idx="3271">13.1242499999999</cx:pt>
          <cx:pt idx="3272">13.1242499999999</cx:pt>
          <cx:pt idx="3273">15.182200000000002</cx:pt>
          <cx:pt idx="3274">17.24098</cx:pt>
          <cx:pt idx="3275">15.04954</cx:pt>
          <cx:pt idx="3276">15.04954</cx:pt>
          <cx:pt idx="3277">12.3333599999999</cx:pt>
          <cx:pt idx="3278">4.20472</cx:pt>
          <cx:pt idx="3279">17.24098</cx:pt>
          <cx:pt idx="3280">15.04954</cx:pt>
          <cx:pt idx="3281">13.1242499999999</cx:pt>
          <cx:pt idx="3282">9.44834</cx:pt>
          <cx:pt idx="3283">13.1242499999999</cx:pt>
          <cx:pt idx="3284">3.81501</cx:pt>
          <cx:pt idx="3285">12.3333599999999</cx:pt>
          <cx:pt idx="3286">13.1242499999999</cx:pt>
          <cx:pt idx="3287">13.1242499999999</cx:pt>
          <cx:pt idx="3288">7.3890599999999997</cx:pt>
          <cx:pt idx="3289">15.04954</cx:pt>
          <cx:pt idx="3290">13.1242499999999</cx:pt>
          <cx:pt idx="3291">11.625359999999899</cx:pt>
          <cx:pt idx="3292">12.3333599999999</cx:pt>
          <cx:pt idx="3293">13.1242499999999</cx:pt>
          <cx:pt idx="3294">13.1242499999999</cx:pt>
          <cx:pt idx="3295">13.1242499999999</cx:pt>
          <cx:pt idx="3296">4.2305999999999999</cx:pt>
          <cx:pt idx="3297">3.81501</cx:pt>
          <cx:pt idx="3298">3.81501</cx:pt>
          <cx:pt idx="3299">17.994599999999998</cx:pt>
          <cx:pt idx="3300">13.1242499999999</cx:pt>
          <cx:pt idx="3301">13.1242499999999</cx:pt>
          <cx:pt idx="3302">18.009979999999899</cx:pt>
          <cx:pt idx="3303">17.24098</cx:pt>
          <cx:pt idx="3304">1.42302</cx:pt>
          <cx:pt idx="3305">18.456</cx:pt>
          <cx:pt idx="3306">11.625359999999899</cx:pt>
          <cx:pt idx="3307">13.1242499999999</cx:pt>
          <cx:pt idx="3308">41.137969999999903</cx:pt>
          <cx:pt idx="3309">40.600569999999706</cx:pt>
          <cx:pt idx="3310">13.1242499999999</cx:pt>
          <cx:pt idx="3311">13.1242499999999</cx:pt>
          <cx:pt idx="3312">26.359469999999902</cx:pt>
          <cx:pt idx="3313">13.1242499999999</cx:pt>
          <cx:pt idx="3314">15.786539999999999</cx:pt>
          <cx:pt idx="3315">13.1242499999999</cx:pt>
          <cx:pt idx="3316">13.1242499999999</cx:pt>
          <cx:pt idx="3317">10.62754</cx:pt>
          <cx:pt idx="3318">35.495269999999898</cx:pt>
          <cx:pt idx="3319">13.1242499999999</cx:pt>
          <cx:pt idx="3320">15.04954</cx:pt>
          <cx:pt idx="3321">13.1242499999999</cx:pt>
          <cx:pt idx="3322">30.389969999999899</cx:pt>
          <cx:pt idx="3323">13.1242499999999</cx:pt>
          <cx:pt idx="3324">11.625359999999899</cx:pt>
          <cx:pt idx="3325">13.1242499999999</cx:pt>
          <cx:pt idx="3326">13.1242499999999</cx:pt>
          <cx:pt idx="3327">7.3890599999999997</cx:pt>
          <cx:pt idx="3328">5.4309900000000004</cx:pt>
          <cx:pt idx="3329">11.625359999999899</cx:pt>
          <cx:pt idx="3330">17.24098</cx:pt>
          <cx:pt idx="3331">19.547980000000003</cx:pt>
          <cx:pt idx="3332">3.94611</cx:pt>
          <cx:pt idx="3333">18.778979999999901</cx:pt>
          <cx:pt idx="3334">7.0998599999999996</cx:pt>
          <cx:pt idx="3335">3.94611</cx:pt>
          <cx:pt idx="3336">11.625359999999899</cx:pt>
          <cx:pt idx="3337">15.04954</cx:pt>
          <cx:pt idx="3338">10.973099999999999</cx:pt>
          <cx:pt idx="3339">13.1242499999999</cx:pt>
          <cx:pt idx="3340">15.04954</cx:pt>
          <cx:pt idx="3341">18.778979999999901</cx:pt>
          <cx:pt idx="3342">13.1242499999999</cx:pt>
          <cx:pt idx="3343">5.4309900000000004</cx:pt>
          <cx:pt idx="3344">13.1242499999999</cx:pt>
          <cx:pt idx="3345">13.1242499999999</cx:pt>
          <cx:pt idx="3346">35.495269999999898</cx:pt>
          <cx:pt idx="3347">5.4309900000000004</cx:pt>
          <cx:pt idx="3348">17.24098</cx:pt>
          <cx:pt idx="3349">40.600569999999706</cx:pt>
          <cx:pt idx="3350">13.1242499999999</cx:pt>
          <cx:pt idx="3351">13.1242499999999</cx:pt>
          <cx:pt idx="3352">13.1242499999999</cx:pt>
          <cx:pt idx="3353">13.1242499999999</cx:pt>
          <cx:pt idx="3354">11.625359999999899</cx:pt>
          <cx:pt idx="3355">4.07721</cx:pt>
          <cx:pt idx="3356">11.704180000000001</cx:pt>
          <cx:pt idx="3357">18.778979999999901</cx:pt>
          <cx:pt idx="3358">13.1242499999999</cx:pt>
          <cx:pt idx="3359">5.89949999999999</cx:pt>
          <cx:pt idx="3360">4.3399200000000002</cx:pt>
          <cx:pt idx="3361">9.44834</cx:pt>
          <cx:pt idx="3362">13.1242499999999</cx:pt>
          <cx:pt idx="3363">13.1242499999999</cx:pt>
          <cx:pt idx="3364">13.1242499999999</cx:pt>
          <cx:pt idx="3365">15.04954</cx:pt>
          <cx:pt idx="3366">13.1242499999999</cx:pt>
          <cx:pt idx="3367">18.778979999999901</cx:pt>
          <cx:pt idx="3368">35.495269999999898</cx:pt>
          <cx:pt idx="3369">15.786539999999999</cx:pt>
          <cx:pt idx="3370">13.1242499999999</cx:pt>
          <cx:pt idx="3371">4.6280199999999905</cx:pt>
          <cx:pt idx="3372">19.686400000000003</cx:pt>
          <cx:pt idx="3373">13.751459999999899</cx:pt>
          <cx:pt idx="3374">13.1242499999999</cx:pt>
          <cx:pt idx="3375">17.24098</cx:pt>
          <cx:pt idx="3376">15.04954</cx:pt>
          <cx:pt idx="3377">13.1242499999999</cx:pt>
          <cx:pt idx="3378">8.260720000000001</cx:pt>
          <cx:pt idx="3379">11.625359999999899</cx:pt>
          <cx:pt idx="3380">18.778979999999901</cx:pt>
          <cx:pt idx="3381">13.1242499999999</cx:pt>
          <cx:pt idx="3382">13.1242499999999</cx:pt>
          <cx:pt idx="3383">17.24098</cx:pt>
          <cx:pt idx="3384">13.1242499999999</cx:pt>
          <cx:pt idx="3385">15.04954</cx:pt>
          <cx:pt idx="3386">13.1242499999999</cx:pt>
          <cx:pt idx="3387">13.1242499999999</cx:pt>
          <cx:pt idx="3388">13.1242499999999</cx:pt>
          <cx:pt idx="3389">6.8171999999999997</cx:pt>
          <cx:pt idx="3390">39.525770000000001</cx:pt>
          <cx:pt idx="3391">13.1242499999999</cx:pt>
          <cx:pt idx="3392">15.04954</cx:pt>
          <cx:pt idx="3393">13.1242499999999</cx:pt>
          <cx:pt idx="3394">13.1242499999999</cx:pt>
          <cx:pt idx="3395">13.1242499999999</cx:pt>
          <cx:pt idx="3396">13.1242499999999</cx:pt>
          <cx:pt idx="3397">13.1242499999999</cx:pt>
          <cx:pt idx="3398">13.1242499999999</cx:pt>
          <cx:pt idx="3399">13.1242499999999</cx:pt>
          <cx:pt idx="3400">15.04954</cx:pt>
          <cx:pt idx="3401">4.3399200000000002</cx:pt>
          <cx:pt idx="3402">13.1242499999999</cx:pt>
          <cx:pt idx="3403">15.04954</cx:pt>
          <cx:pt idx="3404">40.86927</cx:pt>
          <cx:pt idx="3405">17.24098</cx:pt>
          <cx:pt idx="3406">13.1242499999999</cx:pt>
          <cx:pt idx="3407">3.81501</cx:pt>
          <cx:pt idx="3408">35.763969999999901</cx:pt>
          <cx:pt idx="3409">15.04954</cx:pt>
          <cx:pt idx="3410">13.1242499999999</cx:pt>
          <cx:pt idx="3411">5.7946200000000196</cx:pt>
          <cx:pt idx="3412">13.1242499999999</cx:pt>
          <cx:pt idx="3413">13.1242499999999</cx:pt>
          <cx:pt idx="3414">13.1242499999999</cx:pt>
          <cx:pt idx="3415">13.1242499999999</cx:pt>
          <cx:pt idx="3416">5.9613599999999902</cx:pt>
          <cx:pt idx="3417">35.495269999999898</cx:pt>
          <cx:pt idx="3418">13.1242499999999</cx:pt>
          <cx:pt idx="3419">4.20472</cx:pt>
          <cx:pt idx="3420">9.7431400000000004</cx:pt>
          <cx:pt idx="3421">4.1023999999999994</cx:pt>
          <cx:pt idx="3422">13.1242499999999</cx:pt>
          <cx:pt idx="3423">15.04954</cx:pt>
          <cx:pt idx="3424">5.6781600000000001</cx:pt>
          <cx:pt idx="3425">3.81501</cx:pt>
          <cx:pt idx="3426">13.1242499999999</cx:pt>
          <cx:pt idx="3427">13.1242499999999</cx:pt>
          <cx:pt idx="3428">13.1242499999999</cx:pt>
          <cx:pt idx="3429">12.780779999999901</cx:pt>
          <cx:pt idx="3430">11.625359999999899</cx:pt>
          <cx:pt idx="3431">13.1242499999999</cx:pt>
          <cx:pt idx="3432">5.4309900000000004</cx:pt>
          <cx:pt idx="3433">13.1242499999999</cx:pt>
          <cx:pt idx="3434">9.0583999999999989</cx:pt>
          <cx:pt idx="3435">18.778979999999901</cx:pt>
          <cx:pt idx="3436">32.862010000000005</cx:pt>
          <cx:pt idx="3437">13.1242499999999</cx:pt>
          <cx:pt idx="3438">13.1242499999999</cx:pt>
          <cx:pt idx="3439">2.7050200000000002</cx:pt>
          <cx:pt idx="3440">3.8460000000000001</cx:pt>
          <cx:pt idx="3441">17.24098</cx:pt>
          <cx:pt idx="3442">7.2444600000000001</cx:pt>
          <cx:pt idx="3443">11.625359999999899</cx:pt>
          <cx:pt idx="3444">13.1242499999999</cx:pt>
          <cx:pt idx="3445">11.704180000000001</cx:pt>
          <cx:pt idx="3446">13.1242499999999</cx:pt>
          <cx:pt idx="3447">15.04954</cx:pt>
          <cx:pt idx="3448">17.24098</cx:pt>
          <cx:pt idx="3449">13.1242499999999</cx:pt>
          <cx:pt idx="3450">17.24098</cx:pt>
          <cx:pt idx="3451">13.1242499999999</cx:pt>
          <cx:pt idx="3452">13.1242499999999</cx:pt>
          <cx:pt idx="3453">9.3201899999999789</cx:pt>
          <cx:pt idx="3454">13.1242499999999</cx:pt>
          <cx:pt idx="3455">26.628169999999901</cx:pt>
          <cx:pt idx="3456">11.625359999999899</cx:pt>
          <cx:pt idx="3457">13.1242499999999</cx:pt>
          <cx:pt idx="3458">13.1242499999999</cx:pt>
          <cx:pt idx="3459">15.04954</cx:pt>
          <cx:pt idx="3460">12.3333599999999</cx:pt>
          <cx:pt idx="3461">13.1242499999999</cx:pt>
          <cx:pt idx="3462">15.786539999999999</cx:pt>
          <cx:pt idx="3463">13.1242499999999</cx:pt>
          <cx:pt idx="3464">13.1242499999999</cx:pt>
          <cx:pt idx="3465">17.24098</cx:pt>
          <cx:pt idx="3466">11.625359999999899</cx:pt>
          <cx:pt idx="3467">1.55122</cx:pt>
          <cx:pt idx="3468">12.3333599999999</cx:pt>
          <cx:pt idx="3469">14.6263799999999</cx:pt>
          <cx:pt idx="3470">13.1242499999999</cx:pt>
          <cx:pt idx="3471">13.1242499999999</cx:pt>
          <cx:pt idx="3472">37.107469999999999</cx:pt>
          <cx:pt idx="3473">1.42302</cx:pt>
          <cx:pt idx="3474">14.0406599999999</cx:pt>
          <cx:pt idx="3475">13.1242499999999</cx:pt>
          <cx:pt idx="3476">13.1242499999999</cx:pt>
          <cx:pt idx="3477">13.1242499999999</cx:pt>
          <cx:pt idx="3478">12.3333599999999</cx:pt>
          <cx:pt idx="3479">11.625359999999899</cx:pt>
          <cx:pt idx="3480">13.1242499999999</cx:pt>
          <cx:pt idx="3481">11.625359999999899</cx:pt>
          <cx:pt idx="3482">13.1242499999999</cx:pt>
          <cx:pt idx="3483">5.6781600000000001</cx:pt>
          <cx:pt idx="3484">13.1242499999999</cx:pt>
          <cx:pt idx="3485">11.625359999999899</cx:pt>
          <cx:pt idx="3486">17.24098</cx:pt>
          <cx:pt idx="3487">13.1242499999999</cx:pt>
          <cx:pt idx="3488">13.1242499999999</cx:pt>
          <cx:pt idx="3489">13.1242499999999</cx:pt>
          <cx:pt idx="3490">10.973099999999999</cx:pt>
          <cx:pt idx="3491">13.1242499999999</cx:pt>
          <cx:pt idx="3492">12.3333599999999</cx:pt>
          <cx:pt idx="3493">15.04954</cx:pt>
          <cx:pt idx="3494">10.037939999999999</cx:pt>
          <cx:pt idx="3495">13.1242499999999</cx:pt>
          <cx:pt idx="3496">13.1242499999999</cx:pt>
          <cx:pt idx="3497">13.1242499999999</cx:pt>
          <cx:pt idx="3498">15.786539999999999</cx:pt>
          <cx:pt idx="3499">9.44834</cx:pt>
          <cx:pt idx="3500">13.1242499999999</cx:pt>
          <cx:pt idx="3501">5.8197600000000005</cx:pt>
          <cx:pt idx="3502">13.1242499999999</cx:pt>
          <cx:pt idx="3503">13.1242499999999</cx:pt>
          <cx:pt idx="3504">15.04954</cx:pt>
          <cx:pt idx="3505">13.1242499999999</cx:pt>
          <cx:pt idx="3506">13.1242499999999</cx:pt>
          <cx:pt idx="3507">15.04954</cx:pt>
          <cx:pt idx="3508">13.1242499999999</cx:pt>
          <cx:pt idx="3509">13.1242499999999</cx:pt>
          <cx:pt idx="3510">18.778979999999901</cx:pt>
          <cx:pt idx="3511">13.1242499999999</cx:pt>
          <cx:pt idx="3512">9.5957399999999993</cx:pt>
          <cx:pt idx="3513">13.1242499999999</cx:pt>
          <cx:pt idx="3514">12.839249999999899</cx:pt>
          <cx:pt idx="3515">6.9552600000000009</cx:pt>
          <cx:pt idx="3516">18.009979999999899</cx:pt>
          <cx:pt idx="3517">13.1242499999999</cx:pt>
          <cx:pt idx="3518">15.04954</cx:pt>
          <cx:pt idx="3519">13.1242499999999</cx:pt>
          <cx:pt idx="3520">5.6781600000000001</cx:pt>
          <cx:pt idx="3521">13.1242499999999</cx:pt>
          <cx:pt idx="3522">13.1242499999999</cx:pt>
          <cx:pt idx="3523">12.839249999999899</cx:pt>
          <cx:pt idx="3524">13.1242499999999</cx:pt>
          <cx:pt idx="3525">13.1242499999999</cx:pt>
          <cx:pt idx="3526">13.1242499999999</cx:pt>
          <cx:pt idx="3527">11.625359999999899</cx:pt>
          <cx:pt idx="3528">13.1242499999999</cx:pt>
          <cx:pt idx="3529">13.1242499999999</cx:pt>
          <cx:pt idx="3530">13.1242499999999</cx:pt>
          <cx:pt idx="3531">11.625359999999899</cx:pt>
          <cx:pt idx="3532">11.625359999999899</cx:pt>
          <cx:pt idx="3533">15.04954</cx:pt>
          <cx:pt idx="3534">13.1242499999999</cx:pt>
          <cx:pt idx="3535">13.1242499999999</cx:pt>
          <cx:pt idx="3536">13.1242499999999</cx:pt>
          <cx:pt idx="3537">13.1242499999999</cx:pt>
          <cx:pt idx="3538">13.1242499999999</cx:pt>
          <cx:pt idx="3539">13.1242499999999</cx:pt>
          <cx:pt idx="3540">13.1242499999999</cx:pt>
          <cx:pt idx="3541">13.1242499999999</cx:pt>
          <cx:pt idx="3542">13.1242499999999</cx:pt>
          <cx:pt idx="3543">37.913569999999702</cx:pt>
          <cx:pt idx="3544">13.1242499999999</cx:pt>
          <cx:pt idx="3545">2.7050200000000002</cx:pt>
          <cx:pt idx="3546">13.1242499999999</cx:pt>
          <cx:pt idx="3547">13.1242499999999</cx:pt>
          <cx:pt idx="3548">15.04954</cx:pt>
          <cx:pt idx="3549">13.1242499999999</cx:pt>
          <cx:pt idx="3550">13.1242499999999</cx:pt>
          <cx:pt idx="3551">13.1242499999999</cx:pt>
          <cx:pt idx="3552">13.1242499999999</cx:pt>
          <cx:pt idx="3553">13.1242499999999</cx:pt>
          <cx:pt idx="3554">13.1242499999999</cx:pt>
          <cx:pt idx="3555">13.1242499999999</cx:pt>
          <cx:pt idx="3556">13.1242499999999</cx:pt>
          <cx:pt idx="3557">13.1242499999999</cx:pt>
          <cx:pt idx="3558">11.625359999999899</cx:pt>
          <cx:pt idx="3559">13.1242499999999</cx:pt>
          <cx:pt idx="3560">13.1242499999999</cx:pt>
          <cx:pt idx="3561">11.625359999999899</cx:pt>
          <cx:pt idx="3562">13.1242499999999</cx:pt>
          <cx:pt idx="3563">13.1242499999999</cx:pt>
          <cx:pt idx="3564">13.1242499999999</cx:pt>
          <cx:pt idx="3565">40.600569999999706</cx:pt>
          <cx:pt idx="3566">13.1242499999999</cx:pt>
          <cx:pt idx="3567">13.1242499999999</cx:pt>
          <cx:pt idx="3568">40.86927</cx:pt>
          <cx:pt idx="3569">13.1242499999999</cx:pt>
          <cx:pt idx="3570">13.1242499999999</cx:pt>
          <cx:pt idx="3571">13.1242499999999</cx:pt>
          <cx:pt idx="3572">13.1242499999999</cx:pt>
          <cx:pt idx="3573">13.1242499999999</cx:pt>
          <cx:pt idx="3574">13.1242499999999</cx:pt>
          <cx:pt idx="3575">13.1242499999999</cx:pt>
          <cx:pt idx="3576">13.1242499999999</cx:pt>
          <cx:pt idx="3577">11.625359999999899</cx:pt>
          <cx:pt idx="3578">13.1242499999999</cx:pt>
          <cx:pt idx="3579">13.1242499999999</cx:pt>
          <cx:pt idx="3580">13.1242499999999</cx:pt>
          <cx:pt idx="3581">13.1242499999999</cx:pt>
          <cx:pt idx="3582">11.625359999999899</cx:pt>
          <cx:pt idx="3583">13.1242499999999</cx:pt>
          <cx:pt idx="3584">13.1242499999999</cx:pt>
          <cx:pt idx="3585">13.1242499999999</cx:pt>
          <cx:pt idx="3586">13.1242499999999</cx:pt>
          <cx:pt idx="3587">11.625359999999899</cx:pt>
          <cx:pt idx="3588">13.1242499999999</cx:pt>
          <cx:pt idx="3589">17.24098</cx:pt>
          <cx:pt idx="3590">13.1242499999999</cx:pt>
          <cx:pt idx="3591">13.1242499999999</cx:pt>
          <cx:pt idx="3592">13.1242499999999</cx:pt>
          <cx:pt idx="3593">13.1242499999999</cx:pt>
          <cx:pt idx="3594">15.04954</cx:pt>
          <cx:pt idx="3595">11.625359999999899</cx:pt>
          <cx:pt idx="3596">13.1242499999999</cx:pt>
          <cx:pt idx="3597">11.625359999999899</cx:pt>
          <cx:pt idx="3598">18.778979999999901</cx:pt>
          <cx:pt idx="3599">13.1242499999999</cx:pt>
          <cx:pt idx="3600">13.1242499999999</cx:pt>
          <cx:pt idx="3601">11.625359999999899</cx:pt>
          <cx:pt idx="3602">13.1242499999999</cx:pt>
          <cx:pt idx="3603">10.7091899999999</cx:pt>
          <cx:pt idx="3604">11.625359999999899</cx:pt>
          <cx:pt idx="3605">13.1242499999999</cx:pt>
          <cx:pt idx="3606">11.625359999999899</cx:pt>
          <cx:pt idx="3607">13.1242499999999</cx:pt>
          <cx:pt idx="3608">13.1242499999999</cx:pt>
          <cx:pt idx="3609">13.1242499999999</cx:pt>
          <cx:pt idx="3610">13.1242499999999</cx:pt>
          <cx:pt idx="3611">15.04954</cx:pt>
          <cx:pt idx="3612">13.1242499999999</cx:pt>
          <cx:pt idx="3613">13.1242499999999</cx:pt>
          <cx:pt idx="3614">11.625359999999899</cx:pt>
          <cx:pt idx="3615">13.1242499999999</cx:pt>
          <cx:pt idx="3616">13.1242499999999</cx:pt>
          <cx:pt idx="3617">11.625359999999899</cx:pt>
          <cx:pt idx="3618">13.1242499999999</cx:pt>
          <cx:pt idx="3619">13.1242499999999</cx:pt>
          <cx:pt idx="3620">13.1242499999999</cx:pt>
          <cx:pt idx="3621">11.625359999999899</cx:pt>
          <cx:pt idx="3622">12.78078</cx:pt>
          <cx:pt idx="3623">13.1242499999999</cx:pt>
          <cx:pt idx="3624">15.04954</cx:pt>
          <cx:pt idx="3625">15.04954</cx:pt>
          <cx:pt idx="3626">1.42302</cx:pt>
          <cx:pt idx="3627">15.786539999999999</cx:pt>
          <cx:pt idx="3628">13.1242499999999</cx:pt>
          <cx:pt idx="3629">13.1242499999999</cx:pt>
          <cx:pt idx="3630">13.1242499999999</cx:pt>
          <cx:pt idx="3631">13.1242499999999</cx:pt>
          <cx:pt idx="3632">13.1242499999999</cx:pt>
          <cx:pt idx="3633">13.1242499999999</cx:pt>
          <cx:pt idx="3634">13.1242499999999</cx:pt>
          <cx:pt idx="3635">13.1242499999999</cx:pt>
          <cx:pt idx="3636">11.625359999999899</cx:pt>
          <cx:pt idx="3637">13.1242499999999</cx:pt>
          <cx:pt idx="3638">13.1242499999999</cx:pt>
          <cx:pt idx="3639">11.625359999999899</cx:pt>
          <cx:pt idx="3640">11.625359999999899</cx:pt>
          <cx:pt idx="3641">5.8197600000000005</cx:pt>
          <cx:pt idx="3642">15.04954</cx:pt>
          <cx:pt idx="3643">13.1242499999999</cx:pt>
          <cx:pt idx="3644">13.1242499999999</cx:pt>
          <cx:pt idx="3645">13.1242499999999</cx:pt>
          <cx:pt idx="3646">13.1242499999999</cx:pt>
          <cx:pt idx="3647">15.04954</cx:pt>
          <cx:pt idx="3648">13.1242499999999</cx:pt>
          <cx:pt idx="3649">13.1242499999999</cx:pt>
          <cx:pt idx="3650">5.9613599999999902</cx:pt>
          <cx:pt idx="3651">13.1242499999999</cx:pt>
          <cx:pt idx="3652">11.625359999999899</cx:pt>
          <cx:pt idx="3653">13.1242499999999</cx:pt>
          <cx:pt idx="3654">11.625359999999899</cx:pt>
          <cx:pt idx="3655">17.24098</cx:pt>
          <cx:pt idx="3656">11.625359999999899</cx:pt>
          <cx:pt idx="3657">18.778979999999901</cx:pt>
          <cx:pt idx="3658">15.04954</cx:pt>
          <cx:pt idx="3659">13.1242499999999</cx:pt>
          <cx:pt idx="3660">13.1242499999999</cx:pt>
          <cx:pt idx="3661">15.786539999999999</cx:pt>
          <cx:pt idx="3662">11.625359999999899</cx:pt>
          <cx:pt idx="3663">11.625359999999899</cx:pt>
          <cx:pt idx="3664">13.1242499999999</cx:pt>
          <cx:pt idx="3665">11.625359999999899</cx:pt>
          <cx:pt idx="3666">13.1242499999999</cx:pt>
          <cx:pt idx="3667">11.625359999999899</cx:pt>
          <cx:pt idx="3668">13.1242499999999</cx:pt>
          <cx:pt idx="3669">13.1242499999999</cx:pt>
          <cx:pt idx="3670">13.1242499999999</cx:pt>
          <cx:pt idx="3671">11.625359999999899</cx:pt>
          <cx:pt idx="3672">17.24098</cx:pt>
          <cx:pt idx="3673">40.600569999999706</cx:pt>
          <cx:pt idx="3674">13.1242499999999</cx:pt>
          <cx:pt idx="3675">11.625359999999899</cx:pt>
          <cx:pt idx="3676">13.1242499999999</cx:pt>
          <cx:pt idx="3677">12.3333599999999</cx:pt>
          <cx:pt idx="3678">11.550380000000001</cx:pt>
          <cx:pt idx="3679">17.24098</cx:pt>
          <cx:pt idx="3680">3.08962</cx:pt>
          <cx:pt idx="3681">13.1242499999999</cx:pt>
          <cx:pt idx="3682">13.1242499999999</cx:pt>
          <cx:pt idx="3683">11.625359999999899</cx:pt>
          <cx:pt idx="3684">13.1242499999999</cx:pt>
          <cx:pt idx="3685">17.24098</cx:pt>
          <cx:pt idx="3686">13.1242499999999</cx:pt>
          <cx:pt idx="3687">5.9613599999999902</cx:pt>
          <cx:pt idx="3688">13.1242499999999</cx:pt>
          <cx:pt idx="3689">15.786539999999999</cx:pt>
          <cx:pt idx="3690">11.625359999999899</cx:pt>
          <cx:pt idx="3691">15.04954</cx:pt>
          <cx:pt idx="3692">13.1242499999999</cx:pt>
          <cx:pt idx="3693">18.778979999999901</cx:pt>
          <cx:pt idx="3694">6.03059999999999</cx:pt>
          <cx:pt idx="3695">17.24098</cx:pt>
          <cx:pt idx="3696">13.1242499999999</cx:pt>
          <cx:pt idx="3697">10.92234</cx:pt>
          <cx:pt idx="3698">10.7091899999999</cx:pt>
          <cx:pt idx="3699">13.1242499999999</cx:pt>
          <cx:pt idx="3700">49.198969999999697</cx:pt>
          <cx:pt idx="3701">13.1242499999999</cx:pt>
          <cx:pt idx="3702">11.625359999999899</cx:pt>
          <cx:pt idx="3703">15.04954</cx:pt>
          <cx:pt idx="3704">13.1242499999999</cx:pt>
          <cx:pt idx="3705">13.1242499999999</cx:pt>
          <cx:pt idx="3706">11.4696</cx:pt>
          <cx:pt idx="3707">18.778979999999901</cx:pt>
          <cx:pt idx="3708">13.1242499999999</cx:pt>
          <cx:pt idx="3709">13.1242499999999</cx:pt>
          <cx:pt idx="3710">9.890539999999989</cx:pt>
          <cx:pt idx="3711">13.1242499999999</cx:pt>
          <cx:pt idx="3712">13.1242499999999</cx:pt>
          <cx:pt idx="3713">47.291199999999698</cx:pt>
          <cx:pt idx="3714">13.1242499999999</cx:pt>
          <cx:pt idx="3715">4.20472</cx:pt>
          <cx:pt idx="3716">3.81501</cx:pt>
          <cx:pt idx="3717">13.1242499999999</cx:pt>
          <cx:pt idx="3718">17.24098</cx:pt>
          <cx:pt idx="3719">11.625359999999899</cx:pt>
          <cx:pt idx="3720">13.1242499999999</cx:pt>
          <cx:pt idx="3721">10.139699999999999</cx:pt>
          <cx:pt idx="3722">13.1242499999999</cx:pt>
          <cx:pt idx="3723">11.625359999999899</cx:pt>
          <cx:pt idx="3724">13.1242499999999</cx:pt>
          <cx:pt idx="3725">8.28776000000002</cx:pt>
          <cx:pt idx="3726">5.6781600000000001</cx:pt>
          <cx:pt idx="3727">13.1242499999999</cx:pt>
          <cx:pt idx="3728">13.1242499999999</cx:pt>
          <cx:pt idx="3729">13.1242499999999</cx:pt>
          <cx:pt idx="3730">17.24098</cx:pt>
          <cx:pt idx="3731">11.625359999999899</cx:pt>
          <cx:pt idx="3732">13.1242499999999</cx:pt>
          <cx:pt idx="3733">10.7091899999999</cx:pt>
          <cx:pt idx="3734">5.6781600000000001</cx:pt>
          <cx:pt idx="3735">13.1242499999999</cx:pt>
          <cx:pt idx="3736">13.1242499999999</cx:pt>
          <cx:pt idx="3737">11.625359999999899</cx:pt>
          <cx:pt idx="3738">11.625359999999899</cx:pt>
          <cx:pt idx="3739">13.1242499999999</cx:pt>
          <cx:pt idx="3740">15.04954</cx:pt>
          <cx:pt idx="3741">13.1242499999999</cx:pt>
          <cx:pt idx="3742">13.1242499999999</cx:pt>
          <cx:pt idx="3743">13.1242499999999</cx:pt>
          <cx:pt idx="3744">17.24098</cx:pt>
          <cx:pt idx="3745">13.1242499999999</cx:pt>
          <cx:pt idx="3746">13.1242499999999</cx:pt>
          <cx:pt idx="3747">11.625359999999899</cx:pt>
          <cx:pt idx="3748">13.1242499999999</cx:pt>
          <cx:pt idx="3749">13.1242499999999</cx:pt>
          <cx:pt idx="3750">2.3204199999999999</cx:pt>
          <cx:pt idx="3751">18.778979999999901</cx:pt>
          <cx:pt idx="3752">13.1242499999999</cx:pt>
          <cx:pt idx="3753">13.606859999999902</cx:pt>
          <cx:pt idx="3754">18.148399999999899</cx:pt>
          <cx:pt idx="3755">13.1242499999999</cx:pt>
          <cx:pt idx="3756">13.1242499999999</cx:pt>
          <cx:pt idx="3757">13.1242499999999</cx:pt>
          <cx:pt idx="3758">13.1242499999999</cx:pt>
          <cx:pt idx="3759">13.1242499999999</cx:pt>
          <cx:pt idx="3760">17.24098</cx:pt>
          <cx:pt idx="3761">13.1242499999999</cx:pt>
          <cx:pt idx="3762">18.009979999999899</cx:pt>
          <cx:pt idx="3763">11.625359999999899</cx:pt>
          <cx:pt idx="3764">7.3890599999999997</cx:pt>
          <cx:pt idx="3765">11.625359999999899</cx:pt>
          <cx:pt idx="3766">9.30093999999999</cx:pt>
          <cx:pt idx="3767">11.625359999999899</cx:pt>
          <cx:pt idx="3768">10.62754</cx:pt>
          <cx:pt idx="3769">13.1242499999999</cx:pt>
          <cx:pt idx="3770">17.24098</cx:pt>
          <cx:pt idx="3771">18.778979999999901</cx:pt>
          <cx:pt idx="3772">4.1023999999999994</cx:pt>
          <cx:pt idx="3773">12.62698</cx:pt>
          <cx:pt idx="3774">13.1242499999999</cx:pt>
          <cx:pt idx="3775">13.1242499999999</cx:pt>
          <cx:pt idx="3776">17.2256</cx:pt>
          <cx:pt idx="3777">13.1242499999999</cx:pt>
          <cx:pt idx="3778">13.1242499999999</cx:pt>
          <cx:pt idx="3779">13.1242499999999</cx:pt>
          <cx:pt idx="3780">13.1242499999999</cx:pt>
          <cx:pt idx="3781">3.42171</cx:pt>
          <cx:pt idx="3782">13.1242499999999</cx:pt>
          <cx:pt idx="3783">12.16558</cx:pt>
          <cx:pt idx="3784">13.1242499999999</cx:pt>
          <cx:pt idx="3785">13.1242499999999</cx:pt>
          <cx:pt idx="3786">13.1242499999999</cx:pt>
          <cx:pt idx="3787">12.839249999999899</cx:pt>
          <cx:pt idx="3788">13.1242499999999</cx:pt>
          <cx:pt idx="3789">13.1242499999999</cx:pt>
          <cx:pt idx="3790">18.778979999999901</cx:pt>
          <cx:pt idx="3791">13.1242499999999</cx:pt>
          <cx:pt idx="3792">13.1242499999999</cx:pt>
          <cx:pt idx="3793">13.1242499999999</cx:pt>
          <cx:pt idx="3794">5.7683999999999997</cx:pt>
          <cx:pt idx="3795">11.85798</cx:pt>
          <cx:pt idx="3796">15.786539999999999</cx:pt>
          <cx:pt idx="3797">15.04954</cx:pt>
          <cx:pt idx="3798">12.839249999999899</cx:pt>
          <cx:pt idx="3799">13.1242499999999</cx:pt>
          <cx:pt idx="3800">13.1242499999999</cx:pt>
          <cx:pt idx="3801">17.24098</cx:pt>
          <cx:pt idx="3802">18.4713799999999</cx:pt>
          <cx:pt idx="3803">13.1242499999999</cx:pt>
          <cx:pt idx="3804">17.24098</cx:pt>
          <cx:pt idx="3805">13.1242499999999</cx:pt>
          <cx:pt idx="3806">17.24098</cx:pt>
          <cx:pt idx="3807">13.1242499999999</cx:pt>
          <cx:pt idx="3808">12.3333599999999</cx:pt>
          <cx:pt idx="3809">12.01178</cx:pt>
          <cx:pt idx="3810">5.4309900000000004</cx:pt>
          <cx:pt idx="3811">14.75474</cx:pt>
          <cx:pt idx="3812">13.1242499999999</cx:pt>
          <cx:pt idx="3813">11.625359999999899</cx:pt>
          <cx:pt idx="3814">13.1242499999999</cx:pt>
          <cx:pt idx="3815">13.1242499999999</cx:pt>
          <cx:pt idx="3816">13.1242499999999</cx:pt>
          <cx:pt idx="3817">13.1242499999999</cx:pt>
          <cx:pt idx="3818">18.778979999999901</cx:pt>
          <cx:pt idx="3819">11.625359999999899</cx:pt>
          <cx:pt idx="3820">13.1242499999999</cx:pt>
          <cx:pt idx="3821">13.1242499999999</cx:pt>
          <cx:pt idx="3822">13.1242499999999</cx:pt>
          <cx:pt idx="3823">11.625359999999899</cx:pt>
          <cx:pt idx="3824">13.1242499999999</cx:pt>
          <cx:pt idx="3825">13.1242499999999</cx:pt>
          <cx:pt idx="3826">13.1242499999999</cx:pt>
          <cx:pt idx="3827">11.625359999999899</cx:pt>
          <cx:pt idx="3828">9.44834</cx:pt>
          <cx:pt idx="3829">13.1242499999999</cx:pt>
          <cx:pt idx="3830">13.1242499999999</cx:pt>
          <cx:pt idx="3831">13.1242499999999</cx:pt>
          <cx:pt idx="3832">13.1242499999999</cx:pt>
          <cx:pt idx="3833">13.1242499999999</cx:pt>
          <cx:pt idx="3834">15.04954</cx:pt>
          <cx:pt idx="3835">13.1242499999999</cx:pt>
          <cx:pt idx="3836">13.1242499999999</cx:pt>
          <cx:pt idx="3837">13.1242499999999</cx:pt>
          <cx:pt idx="3838">43.287569999999697</cx:pt>
          <cx:pt idx="3839">40.86927</cx:pt>
          <cx:pt idx="3840">17.994599999999998</cx:pt>
          <cx:pt idx="3841">13.1242499999999</cx:pt>
          <cx:pt idx="3842">13.1242499999999</cx:pt>
          <cx:pt idx="3843">13.1242499999999</cx:pt>
          <cx:pt idx="3844">26.090769999999903</cx:pt>
          <cx:pt idx="3845">17.24098</cx:pt>
          <cx:pt idx="3846">10.774939999999999</cx:pt>
          <cx:pt idx="3847">13.1242499999999</cx:pt>
          <cx:pt idx="3848">30.1212699999999</cx:pt>
          <cx:pt idx="3849">13.1242499999999</cx:pt>
          <cx:pt idx="3850">9.5840999999999994</cx:pt>
          <cx:pt idx="3851">3.81501</cx:pt>
          <cx:pt idx="3852">11.625359999999899</cx:pt>
          <cx:pt idx="3853">13.1242499999999</cx:pt>
          <cx:pt idx="3854">9.5957399999999993</cx:pt>
          <cx:pt idx="3855">13.1242499999999</cx:pt>
          <cx:pt idx="3856">11.625359999999899</cx:pt>
          <cx:pt idx="3857">13.1242499999999</cx:pt>
          <cx:pt idx="3858">17.24098</cx:pt>
          <cx:pt idx="3859">13.1242499999999</cx:pt>
          <cx:pt idx="3860">13.1242499999999</cx:pt>
          <cx:pt idx="3861">12.3333599999999</cx:pt>
          <cx:pt idx="3862">13.1242499999999</cx:pt>
          <cx:pt idx="3863">10.037939999999999</cx:pt>
          <cx:pt idx="3864">13.1242499999999</cx:pt>
          <cx:pt idx="3865">13.1242499999999</cx:pt>
          <cx:pt idx="3866">15.04954</cx:pt>
          <cx:pt idx="3867">13.1242499999999</cx:pt>
          <cx:pt idx="3868">13.1242499999999</cx:pt>
          <cx:pt idx="3869">18.778979999999901</cx:pt>
          <cx:pt idx="3870">13.1242499999999</cx:pt>
          <cx:pt idx="3871">13.1242499999999</cx:pt>
          <cx:pt idx="3872">13.1242499999999</cx:pt>
          <cx:pt idx="3873">13.1242499999999</cx:pt>
          <cx:pt idx="3874">5.7683999999999997</cx:pt>
          <cx:pt idx="3875">3.08962</cx:pt>
          <cx:pt idx="3876">17.24098</cx:pt>
          <cx:pt idx="3877">13.1242499999999</cx:pt>
          <cx:pt idx="3878">15.04954</cx:pt>
          <cx:pt idx="3879">13.1242499999999</cx:pt>
          <cx:pt idx="3880">13.1242499999999</cx:pt>
          <cx:pt idx="3881">13.1242499999999</cx:pt>
          <cx:pt idx="3882">13.1242499999999</cx:pt>
          <cx:pt idx="3883">13.1242499999999</cx:pt>
          <cx:pt idx="3884">13.1242499999999</cx:pt>
          <cx:pt idx="3885">11.625359999999899</cx:pt>
          <cx:pt idx="3886">19.240380000000002</cx:pt>
          <cx:pt idx="3887">11.3421599999999</cx:pt>
          <cx:pt idx="3888">12.839249999999899</cx:pt>
          <cx:pt idx="3889">10.7749399999999</cx:pt>
          <cx:pt idx="3890">41.137970000000003</cx:pt>
          <cx:pt idx="3891">17.702379999999902</cx:pt>
          <cx:pt idx="3892">12.050159999999901</cx:pt>
          <cx:pt idx="3893">2.5639999999999898</cx:pt>
          <cx:pt idx="3894">16.779579999999999</cx:pt>
          <cx:pt idx="3895">12.839249999999899</cx:pt>
          <cx:pt idx="3896">16.93338</cx:pt>
          <cx:pt idx="3897">16.625780000000002</cx:pt>
          <cx:pt idx="3898">15.344340000000001</cx:pt>
          <cx:pt idx="3899">11.3421599999999</cx:pt>
          <cx:pt idx="3900">19.225000000000001</cx:pt>
          <cx:pt idx="3901">14.1852599999999</cx:pt>
          <cx:pt idx="3902">13.1242499999999</cx:pt>
          <cx:pt idx="3903">13.751459999999899</cx:pt>
          <cx:pt idx="3904">14.318779999999901</cx:pt>
          <cx:pt idx="3905">27.702969999999898</cx:pt>
          <cx:pt idx="3906">10.431389999999901</cx:pt>
          <cx:pt idx="3907">12.839249999999899</cx:pt>
          <cx:pt idx="3908">13.1242499999999</cx:pt>
          <cx:pt idx="3909">15.04954</cx:pt>
          <cx:pt idx="3910">11.3421599999999</cx:pt>
          <cx:pt idx="3911">13.751459999999899</cx:pt>
          <cx:pt idx="3912">1.9358199999999999</cx:pt>
          <cx:pt idx="3913">13.1242499999999</cx:pt>
          <cx:pt idx="3914">13.1242499999999</cx:pt>
          <cx:pt idx="3915">17.702379999999902</cx:pt>
          <cx:pt idx="3916">40.331869999999995</cx:pt>
          <cx:pt idx="3917">15.786539999999999</cx:pt>
          <cx:pt idx="3918">11.3421599999999</cx:pt>
          <cx:pt idx="3919">13.1242499999999</cx:pt>
          <cx:pt idx="3920">26.090769999999903</cx:pt>
          <cx:pt idx="3921">5.9613599999999902</cx:pt>
          <cx:pt idx="3922">13.1242499999999</cx:pt>
          <cx:pt idx="3923">13.1242499999999</cx:pt>
          <cx:pt idx="3924">13.1242499999999</cx:pt>
          <cx:pt idx="3925">13.1242499999999</cx:pt>
          <cx:pt idx="3926">11.625359999999899</cx:pt>
          <cx:pt idx="3927">37.913569999999702</cx:pt>
          <cx:pt idx="3928">13.1242499999999</cx:pt>
          <cx:pt idx="3929">8.5639399999999899</cx:pt>
          <cx:pt idx="3930">13.1242499999999</cx:pt>
          <cx:pt idx="3931">13.1242499999999</cx:pt>
          <cx:pt idx="3932">13.1242499999999</cx:pt>
          <cx:pt idx="3933">15.04954</cx:pt>
          <cx:pt idx="3934">13.1242499999999</cx:pt>
          <cx:pt idx="3935">13.1242499999999</cx:pt>
          <cx:pt idx="3936">13.1242499999999</cx:pt>
          <cx:pt idx="3937">13.1242499999999</cx:pt>
          <cx:pt idx="3938">13.1242499999999</cx:pt>
          <cx:pt idx="3939">13.1242499999999</cx:pt>
          <cx:pt idx="3940">12.473180000000001</cx:pt>
          <cx:pt idx="3941">13.1242499999999</cx:pt>
          <cx:pt idx="3942">17.24098</cx:pt>
          <cx:pt idx="3943">37.913569999999702</cx:pt>
          <cx:pt idx="3944">13.1242499999999</cx:pt>
          <cx:pt idx="3945">15.786539999999999</cx:pt>
          <cx:pt idx="3946">17.24098</cx:pt>
          <cx:pt idx="3947">13.1242499999999</cx:pt>
          <cx:pt idx="3948">13.1242499999999</cx:pt>
          <cx:pt idx="3949">15.04954</cx:pt>
          <cx:pt idx="3950">13.1242499999999</cx:pt>
          <cx:pt idx="3951">9.3201899999999789</cx:pt>
          <cx:pt idx="3952">15.04954</cx:pt>
          <cx:pt idx="3953">36.838769999999997</cx:pt>
          <cx:pt idx="3954">13.1242499999999</cx:pt>
          <cx:pt idx="3955">13.1242499999999</cx:pt>
          <cx:pt idx="3956">5.4309900000000004</cx:pt>
          <cx:pt idx="3957">11.704180000000001</cx:pt>
          <cx:pt idx="3958">15.04954</cx:pt>
          <cx:pt idx="3959">4.3399200000000002</cx:pt>
          <cx:pt idx="3960">3.81501</cx:pt>
          <cx:pt idx="3961">13.1242499999999</cx:pt>
          <cx:pt idx="3962">5.4309900000000004</cx:pt>
          <cx:pt idx="3963">26.359469999999902</cx:pt>
          <cx:pt idx="3964">18.778979999999901</cx:pt>
          <cx:pt idx="3965">13.1242499999999</cx:pt>
          <cx:pt idx="3966">13.1242499999999</cx:pt>
          <cx:pt idx="3967">13.1242499999999</cx:pt>
          <cx:pt idx="3968">13.1242499999999</cx:pt>
          <cx:pt idx="3969">11.625359999999899</cx:pt>
          <cx:pt idx="3970">17.24098</cx:pt>
          <cx:pt idx="3971">15.04954</cx:pt>
          <cx:pt idx="3972">13.1242499999999</cx:pt>
          <cx:pt idx="3973">10.92234</cx:pt>
          <cx:pt idx="3974">13.1242499999999</cx:pt>
          <cx:pt idx="3975">11.625359999999899</cx:pt>
          <cx:pt idx="3976">13.1242499999999</cx:pt>
          <cx:pt idx="3977">13.1242499999999</cx:pt>
          <cx:pt idx="3978">15.04954</cx:pt>
          <cx:pt idx="3979">11.625359999999899</cx:pt>
          <cx:pt idx="3980">13.1242499999999</cx:pt>
          <cx:pt idx="3981">10.92234</cx:pt>
          <cx:pt idx="3982">13.1242499999999</cx:pt>
          <cx:pt idx="3983">13.1242499999999</cx:pt>
          <cx:pt idx="3984">13.1242499999999</cx:pt>
          <cx:pt idx="3985">13.1242499999999</cx:pt>
          <cx:pt idx="3986">13.1242499999999</cx:pt>
          <cx:pt idx="3987">13.1242499999999</cx:pt>
          <cx:pt idx="3988">13.1242499999999</cx:pt>
          <cx:pt idx="3989">13.1242499999999</cx:pt>
          <cx:pt idx="3990">11.625359999999899</cx:pt>
          <cx:pt idx="3991">13.1242499999999</cx:pt>
          <cx:pt idx="3992">13.1242499999999</cx:pt>
          <cx:pt idx="3993">15.04954</cx:pt>
          <cx:pt idx="3994">13.1242499999999</cx:pt>
          <cx:pt idx="3995">12.050159999999901</cx:pt>
          <cx:pt idx="3996">11.625359999999899</cx:pt>
          <cx:pt idx="3997">12.839249999999899</cx:pt>
          <cx:pt idx="3998">17.24098</cx:pt>
          <cx:pt idx="3999">13.1242499999999</cx:pt>
          <cx:pt idx="4000">15.04954</cx:pt>
          <cx:pt idx="4001">13.1242499999999</cx:pt>
          <cx:pt idx="4002">11.625359999999899</cx:pt>
          <cx:pt idx="4003">13.1242499999999</cx:pt>
          <cx:pt idx="4004">13.1242499999999</cx:pt>
          <cx:pt idx="4005">15.04954</cx:pt>
          <cx:pt idx="4006">11.625359999999899</cx:pt>
          <cx:pt idx="4007">13.1242499999999</cx:pt>
          <cx:pt idx="4008">14.75474</cx:pt>
          <cx:pt idx="4009">18.009979999999899</cx:pt>
          <cx:pt idx="4010">11.3421599999999</cx:pt>
          <cx:pt idx="4011">13.1242499999999</cx:pt>
          <cx:pt idx="4012">40.86927</cx:pt>
          <cx:pt idx="4013">12.839249999999899</cx:pt>
          <cx:pt idx="4014">3.68391</cx:pt>
          <cx:pt idx="4015">11.625359999999899</cx:pt>
          <cx:pt idx="4016">13.1242499999999</cx:pt>
          <cx:pt idx="4017">12.839249999999899</cx:pt>
          <cx:pt idx="4018">15.786539999999999</cx:pt>
          <cx:pt idx="4019">15.04954</cx:pt>
          <cx:pt idx="4020">11.625359999999899</cx:pt>
          <cx:pt idx="4021">15.04954</cx:pt>
          <cx:pt idx="4022">11.625359999999899</cx:pt>
          <cx:pt idx="4023">13.1242499999999</cx:pt>
          <cx:pt idx="4024">13.1242499999999</cx:pt>
          <cx:pt idx="4025">13.1242499999999</cx:pt>
          <cx:pt idx="4026">13.1242499999999</cx:pt>
          <cx:pt idx="4027">15.786539999999999</cx:pt>
          <cx:pt idx="4028">15.04954</cx:pt>
          <cx:pt idx="4029">13.1242499999999</cx:pt>
          <cx:pt idx="4030">4.20472</cx:pt>
          <cx:pt idx="4031">13.1242499999999</cx:pt>
          <cx:pt idx="4032">13.1242499999999</cx:pt>
          <cx:pt idx="4033">13.1242499999999</cx:pt>
          <cx:pt idx="4034">17.24098</cx:pt>
          <cx:pt idx="4035">13.1242499999999</cx:pt>
          <cx:pt idx="4036">13.1242499999999</cx:pt>
          <cx:pt idx="4037">13.1242499999999</cx:pt>
          <cx:pt idx="4038">11.625359999999899</cx:pt>
          <cx:pt idx="4039">13.1242499999999</cx:pt>
          <cx:pt idx="4040">19.547980000000003</cx:pt>
          <cx:pt idx="4041">13.1242499999999</cx:pt>
          <cx:pt idx="4042">13.1242499999999</cx:pt>
          <cx:pt idx="4043">13.1242499999999</cx:pt>
          <cx:pt idx="4044">13.1242499999999</cx:pt>
          <cx:pt idx="4045">59.409569999999704</cx:pt>
          <cx:pt idx="4046">15.786539999999999</cx:pt>
          <cx:pt idx="4047">13.1242499999999</cx:pt>
          <cx:pt idx="4048">13.1242499999999</cx:pt>
          <cx:pt idx="4049">13.1242499999999</cx:pt>
          <cx:pt idx="4050">9.890539999999989</cx:pt>
          <cx:pt idx="4051">13.1242499999999</cx:pt>
          <cx:pt idx="4052">11.625359999999899</cx:pt>
          <cx:pt idx="4053">13.1242499999999</cx:pt>
          <cx:pt idx="4054">15.6244</cx:pt>
          <cx:pt idx="4055">15.04954</cx:pt>
          <cx:pt idx="4056">13.1242499999999</cx:pt>
          <cx:pt idx="4057">8.3959200000000003</cx:pt>
          <cx:pt idx="4058">13.1242499999999</cx:pt>
          <cx:pt idx="4059">13.1242499999999</cx:pt>
          <cx:pt idx="4060">13.1242499999999</cx:pt>
          <cx:pt idx="4061">13.1242499999999</cx:pt>
          <cx:pt idx="4062">13.1242499999999</cx:pt>
          <cx:pt idx="4063">13.1242499999999</cx:pt>
          <cx:pt idx="4064">13.1242499999999</cx:pt>
          <cx:pt idx="4065">11.625359999999899</cx:pt>
          <cx:pt idx="4066">13.1242499999999</cx:pt>
          <cx:pt idx="4067">13.1242499999999</cx:pt>
          <cx:pt idx="4068">13.1242499999999</cx:pt>
          <cx:pt idx="4069">46.753799999999998</cx:pt>
          <cx:pt idx="4070">3.81501</cx:pt>
          <cx:pt idx="4071">13.1242499999999</cx:pt>
          <cx:pt idx="4072">37.886699999999998</cx:pt>
          <cx:pt idx="4073">11.550380000000001</cx:pt>
          <cx:pt idx="4074">11.704180000000001</cx:pt>
          <cx:pt idx="4075">3.81501</cx:pt>
          <cx:pt idx="4076">13.1242499999999</cx:pt>
          <cx:pt idx="4077">9.1535399999999907</cx:pt>
          <cx:pt idx="4078">13.1242499999999</cx:pt>
          <cx:pt idx="4079">13.1242499999999</cx:pt>
          <cx:pt idx="4080">5.1511199999999997</cx:pt>
          <cx:pt idx="4081">13.1242499999999</cx:pt>
          <cx:pt idx="4082">3.68391</cx:pt>
          <cx:pt idx="4083">13.1242499999999</cx:pt>
          <cx:pt idx="4084">13.1242499999999</cx:pt>
          <cx:pt idx="4085">11.625359999999899</cx:pt>
          <cx:pt idx="4086">10.037939999999999</cx:pt>
          <cx:pt idx="4087">15.786539999999999</cx:pt>
          <cx:pt idx="4088">13.881599999999999</cx:pt>
          <cx:pt idx="4089">18.778979999999901</cx:pt>
          <cx:pt idx="4090">5.4309900000000004</cx:pt>
          <cx:pt idx="4091">3.81501</cx:pt>
          <cx:pt idx="4092">13.1242499999999</cx:pt>
          <cx:pt idx="4093">13.1242499999999</cx:pt>
          <cx:pt idx="4094">13.1242499999999</cx:pt>
          <cx:pt idx="4095">13.1242499999999</cx:pt>
          <cx:pt idx="4096">3.68391</cx:pt>
          <cx:pt idx="4097">13.1242499999999</cx:pt>
          <cx:pt idx="4098">13.1242499999999</cx:pt>
          <cx:pt idx="4099">13.1242499999999</cx:pt>
          <cx:pt idx="4100">1.42302</cx:pt>
          <cx:pt idx="4101">40.86927</cx:pt>
          <cx:pt idx="4102">13.1242499999999</cx:pt>
          <cx:pt idx="4103">13.1242499999999</cx:pt>
          <cx:pt idx="4104">17.24098</cx:pt>
          <cx:pt idx="4105">13.1242499999999</cx:pt>
          <cx:pt idx="4106">15.04954</cx:pt>
          <cx:pt idx="4107">13.1242499999999</cx:pt>
          <cx:pt idx="4108">13.1242499999999</cx:pt>
          <cx:pt idx="4109">13.1242499999999</cx:pt>
          <cx:pt idx="4110">13.1242499999999</cx:pt>
          <cx:pt idx="4111">13.1242499999999</cx:pt>
          <cx:pt idx="4112">15.04954</cx:pt>
          <cx:pt idx="4113">13.1242499999999</cx:pt>
          <cx:pt idx="4114">4.1023999999999994</cx:pt>
          <cx:pt idx="4115">13.1242499999999</cx:pt>
          <cx:pt idx="4116">12.319380000000001</cx:pt>
          <cx:pt idx="4117">10.7091899999999</cx:pt>
          <cx:pt idx="4118">13.1242499999999</cx:pt>
          <cx:pt idx="4119">13.1242499999999</cx:pt>
          <cx:pt idx="4120">13.1242499999999</cx:pt>
          <cx:pt idx="4121">14.0406599999999</cx:pt>
          <cx:pt idx="4122">28.777769999999904</cx:pt>
          <cx:pt idx="4123">12.839249999999899</cx:pt>
          <cx:pt idx="4124">11.625359999999899</cx:pt>
          <cx:pt idx="4125">5.1511199999999997</cx:pt>
          <cx:pt idx="4126">3.2178199999999997</cx:pt>
          <cx:pt idx="4127">11.625359999999899</cx:pt>
          <cx:pt idx="4128">13.1242499999999</cx:pt>
          <cx:pt idx="4129">13.1242499999999</cx:pt>
          <cx:pt idx="4130">12.839249999999899</cx:pt>
          <cx:pt idx="4131">5.6781600000000001</cx:pt>
          <cx:pt idx="4132">11.625359999999899</cx:pt>
          <cx:pt idx="4133">15.786539999999999</cx:pt>
          <cx:pt idx="4134">11.3421599999999</cx:pt>
          <cx:pt idx="4135">13.1242499999999</cx:pt>
          <cx:pt idx="4136">40.600569999999706</cx:pt>
          <cx:pt idx="4137">10.834199999999999</cx:pt>
          <cx:pt idx="4138">13.1242499999999</cx:pt>
          <cx:pt idx="4139">6.3190200000000196</cx:pt>
          <cx:pt idx="4140">40.86927</cx:pt>
          <cx:pt idx="4141">26.090769999999903</cx:pt>
          <cx:pt idx="4142">31.464769999999898</cx:pt>
          <cx:pt idx="4143">15.04954</cx:pt>
          <cx:pt idx="4144">13.1242499999999</cx:pt>
          <cx:pt idx="4145">15.786539999999999</cx:pt>
          <cx:pt idx="4146">13.1242499999999</cx:pt>
          <cx:pt idx="4147">13.1242499999999</cx:pt>
          <cx:pt idx="4148">13.1242499999999</cx:pt>
          <cx:pt idx="4149">13.1242499999999</cx:pt>
          <cx:pt idx="4150">11.625359999999899</cx:pt>
          <cx:pt idx="4151">13.1242499999999</cx:pt>
          <cx:pt idx="4152">14.164979999999899</cx:pt>
          <cx:pt idx="4153">15.04954</cx:pt>
          <cx:pt idx="4154">13.1242499999999</cx:pt>
          <cx:pt idx="4155">13.1242499999999</cx:pt>
          <cx:pt idx="4156">40.600569999999706</cx:pt>
          <cx:pt idx="4157">13.1242499999999</cx:pt>
          <cx:pt idx="4158">10.48014</cx:pt>
          <cx:pt idx="4159">11.625359999999899</cx:pt>
          <cx:pt idx="4160">13.1242499999999</cx:pt>
          <cx:pt idx="4161">11.625359999999899</cx:pt>
          <cx:pt idx="4162">13.1242499999999</cx:pt>
          <cx:pt idx="4163">13.1242499999999</cx:pt>
          <cx:pt idx="4164">13.1242499999999</cx:pt>
          <cx:pt idx="4165">13.1242499999999</cx:pt>
          <cx:pt idx="4166">13.1242499999999</cx:pt>
          <cx:pt idx="4167">5.4309900000000004</cx:pt>
          <cx:pt idx="4168">15.04954</cx:pt>
          <cx:pt idx="4169">13.1242499999999</cx:pt>
          <cx:pt idx="4170">13.1242499999999</cx:pt>
          <cx:pt idx="4171">13.1242499999999</cx:pt>
          <cx:pt idx="4172">35.495269999999898</cx:pt>
          <cx:pt idx="4173">13.1242499999999</cx:pt>
          <cx:pt idx="4174">13.1242499999999</cx:pt>
          <cx:pt idx="4175">13.1242499999999</cx:pt>
          <cx:pt idx="4176">13.1242499999999</cx:pt>
          <cx:pt idx="4177">11.625359999999899</cx:pt>
          <cx:pt idx="4178">13.1242499999999</cx:pt>
          <cx:pt idx="4179">13.1242499999999</cx:pt>
          <cx:pt idx="4180">15.786539999999999</cx:pt>
          <cx:pt idx="4181">13.1242499999999</cx:pt>
          <cx:pt idx="4182">48.661569999999699</cx:pt>
          <cx:pt idx="4183">11.625359999999899</cx:pt>
          <cx:pt idx="4184">2.3204199999999999</cx:pt>
          <cx:pt idx="4185">13.1242499999999</cx:pt>
          <cx:pt idx="4186">13.1242499999999</cx:pt>
          <cx:pt idx="4187">2.1922199999999998</cx:pt>
          <cx:pt idx="4188">13.1242499999999</cx:pt>
          <cx:pt idx="4189">13.1242499999999</cx:pt>
          <cx:pt idx="4190">13.1242499999999</cx:pt>
          <cx:pt idx="4191">40.600569999999706</cx:pt>
          <cx:pt idx="4192">13.1242499999999</cx:pt>
          <cx:pt idx="4193">11.625359999999899</cx:pt>
          <cx:pt idx="4194">13.1242499999999</cx:pt>
          <cx:pt idx="4195">13.1242499999999</cx:pt>
          <cx:pt idx="4196">13.1242499999999</cx:pt>
          <cx:pt idx="4197">13.1242499999999</cx:pt>
          <cx:pt idx="4198">13.1242499999999</cx:pt>
          <cx:pt idx="4199">13.1242499999999</cx:pt>
          <cx:pt idx="4200">13.1242499999999</cx:pt>
          <cx:pt idx="4201">11.625359999999899</cx:pt>
          <cx:pt idx="4202">13.1242499999999</cx:pt>
          <cx:pt idx="4203">13.1242499999999</cx:pt>
          <cx:pt idx="4204">13.1242499999999</cx:pt>
          <cx:pt idx="4205">13.1242499999999</cx:pt>
          <cx:pt idx="4206">13.1242499999999</cx:pt>
          <cx:pt idx="4207">13.1242499999999</cx:pt>
          <cx:pt idx="4208">12.3333599999999</cx:pt>
          <cx:pt idx="4209">15.04954</cx:pt>
          <cx:pt idx="4210">13.1242499999999</cx:pt>
          <cx:pt idx="4211">13.1242499999999</cx:pt>
          <cx:pt idx="4212">15.04954</cx:pt>
          <cx:pt idx="4213">13.1242499999999</cx:pt>
          <cx:pt idx="4214">13.1242499999999</cx:pt>
          <cx:pt idx="4215">17.24098</cx:pt>
          <cx:pt idx="4216">13.1242499999999</cx:pt>
          <cx:pt idx="4217">13.1242499999999</cx:pt>
          <cx:pt idx="4218">13.1242499999999</cx:pt>
          <cx:pt idx="4219">13.1242499999999</cx:pt>
          <cx:pt idx="4220">13.1242499999999</cx:pt>
          <cx:pt idx="4221">13.1242499999999</cx:pt>
          <cx:pt idx="4222">13.1242499999999</cx:pt>
          <cx:pt idx="4223">13.1242499999999</cx:pt>
          <cx:pt idx="4224">11.625359999999899</cx:pt>
          <cx:pt idx="4225">13.1242499999999</cx:pt>
          <cx:pt idx="4226">13.1242499999999</cx:pt>
          <cx:pt idx="4227">11.625359999999899</cx:pt>
          <cx:pt idx="4228">13.1242499999999</cx:pt>
          <cx:pt idx="4229">13.1242499999999</cx:pt>
          <cx:pt idx="4230">11.625359999999899</cx:pt>
          <cx:pt idx="4231">17.24098</cx:pt>
          <cx:pt idx="4232">13.1242499999999</cx:pt>
          <cx:pt idx="4233">13.1242499999999</cx:pt>
          <cx:pt idx="4234">13.1242499999999</cx:pt>
          <cx:pt idx="4235">11.625359999999899</cx:pt>
          <cx:pt idx="4236">15.04954</cx:pt>
          <cx:pt idx="4237">11.625359999999899</cx:pt>
          <cx:pt idx="4238">15.786539999999999</cx:pt>
          <cx:pt idx="4239">13.1242499999999</cx:pt>
          <cx:pt idx="4240">13.1242499999999</cx:pt>
          <cx:pt idx="4241">7.1655999999999995</cx:pt>
          <cx:pt idx="4242">3.29061</cx:pt>
          <cx:pt idx="4243">7.0998599999999996</cx:pt>
          <cx:pt idx="4244">13.1242499999999</cx:pt>
          <cx:pt idx="4245">13.1242499999999</cx:pt>
          <cx:pt idx="4246">13.1242499999999</cx:pt>
          <cx:pt idx="4247">13.1242499999999</cx:pt>
          <cx:pt idx="4248">13.1242499999999</cx:pt>
          <cx:pt idx="4249">13.1242499999999</cx:pt>
          <cx:pt idx="4250">13.1242499999999</cx:pt>
          <cx:pt idx="4251">13.1242499999999</cx:pt>
          <cx:pt idx="4252">13.1242499999999</cx:pt>
          <cx:pt idx="4253">13.1242499999999</cx:pt>
          <cx:pt idx="4254">13.1242499999999</cx:pt>
          <cx:pt idx="4255">13.1242499999999</cx:pt>
          <cx:pt idx="4256">13.1242499999999</cx:pt>
          <cx:pt idx="4257">13.1242499999999</cx:pt>
          <cx:pt idx="4258">13.1242499999999</cx:pt>
          <cx:pt idx="4259">13.1242499999999</cx:pt>
          <cx:pt idx="4260">13.1242499999999</cx:pt>
          <cx:pt idx="4261">13.1242499999999</cx:pt>
          <cx:pt idx="4262">13.1242499999999</cx:pt>
          <cx:pt idx="4263">11.625359999999899</cx:pt>
          <cx:pt idx="4264">11.625359999999899</cx:pt>
          <cx:pt idx="4265">13.1242499999999</cx:pt>
          <cx:pt idx="4266">13.1242499999999</cx:pt>
          <cx:pt idx="4267">17.24098</cx:pt>
          <cx:pt idx="4268">15.04954</cx:pt>
          <cx:pt idx="4269">13.1242499999999</cx:pt>
          <cx:pt idx="4270">13.1242499999999</cx:pt>
          <cx:pt idx="4271">13.1242499999999</cx:pt>
          <cx:pt idx="4272">13.1242499999999</cx:pt>
          <cx:pt idx="4273">13.1242499999999</cx:pt>
          <cx:pt idx="4274">37.913569999999702</cx:pt>
          <cx:pt idx="4275">13.1242499999999</cx:pt>
          <cx:pt idx="4276">13.1242499999999</cx:pt>
          <cx:pt idx="4277">13.1242499999999</cx:pt>
          <cx:pt idx="4278">12.3333599999999</cx:pt>
          <cx:pt idx="4279">5.89949999999999</cx:pt>
          <cx:pt idx="4280">5.1279999999999903</cx:pt>
          <cx:pt idx="4281">11.625359999999899</cx:pt>
          <cx:pt idx="4282">13.1242499999999</cx:pt>
          <cx:pt idx="4283">13.1242499999999</cx:pt>
          <cx:pt idx="4284">13.1242499999999</cx:pt>
          <cx:pt idx="4285">13.1242499999999</cx:pt>
          <cx:pt idx="4286">13.1242499999999</cx:pt>
          <cx:pt idx="4287">19.547980000000003</cx:pt>
          <cx:pt idx="4288">13.1242499999999</cx:pt>
          <cx:pt idx="4289">13.1242499999999</cx:pt>
          <cx:pt idx="4290">13.1242499999999</cx:pt>
          <cx:pt idx="4291">13.1242499999999</cx:pt>
          <cx:pt idx="4292">40.86927</cx:pt>
          <cx:pt idx="4293">7.6782600000000008</cx:pt>
          <cx:pt idx="4294">3.68391</cx:pt>
          <cx:pt idx="4295">10.037939999999999</cx:pt>
          <cx:pt idx="4296">13.1242499999999</cx:pt>
          <cx:pt idx="4297">5.4309900000000004</cx:pt>
          <cx:pt idx="4298">11.704180000000001</cx:pt>
          <cx:pt idx="4299">13.1242499999999</cx:pt>
          <cx:pt idx="4300">11.625359999999899</cx:pt>
          <cx:pt idx="4301">13.1242499999999</cx:pt>
          <cx:pt idx="4302">13.1242499999999</cx:pt>
          <cx:pt idx="4303">11.625359999999899</cx:pt>
          <cx:pt idx="4304">13.1242499999999</cx:pt>
          <cx:pt idx="4305">13.1242499999999</cx:pt>
          <cx:pt idx="4306">11.625359999999899</cx:pt>
          <cx:pt idx="4307">13.1242499999999</cx:pt>
          <cx:pt idx="4308">11.625359999999899</cx:pt>
          <cx:pt idx="4309">9.3201899999999789</cx:pt>
          <cx:pt idx="4310">5.8197600000000005</cx:pt>
          <cx:pt idx="4311">12.050159999999901</cx:pt>
          <cx:pt idx="4312">4.4998199999999899</cx:pt>
          <cx:pt idx="4313">13.1242499999999</cx:pt>
          <cx:pt idx="4314">15.04954</cx:pt>
          <cx:pt idx="4315">13.1242499999999</cx:pt>
          <cx:pt idx="4316">13.1242499999999</cx:pt>
          <cx:pt idx="4317">17.24098</cx:pt>
          <cx:pt idx="4318">13.1242499999999</cx:pt>
          <cx:pt idx="4319">13.1242499999999</cx:pt>
          <cx:pt idx="4320">13.1242499999999</cx:pt>
          <cx:pt idx="4321">17.24098</cx:pt>
          <cx:pt idx="4322">13.1242499999999</cx:pt>
          <cx:pt idx="4323">13.1242499999999</cx:pt>
          <cx:pt idx="4324">18.778979999999901</cx:pt>
          <cx:pt idx="4325">13.1242499999999</cx:pt>
          <cx:pt idx="4326">15.04954</cx:pt>
          <cx:pt idx="4327">15.786539999999999</cx:pt>
          <cx:pt idx="4328">17.24098</cx:pt>
          <cx:pt idx="4329">13.1242499999999</cx:pt>
          <cx:pt idx="4330">13.1242499999999</cx:pt>
          <cx:pt idx="4331">13.1242499999999</cx:pt>
          <cx:pt idx="4332">11.625359999999899</cx:pt>
          <cx:pt idx="4333">13.1242499999999</cx:pt>
          <cx:pt idx="4334">13.1242499999999</cx:pt>
          <cx:pt idx="4335">15.04954</cx:pt>
          <cx:pt idx="4336">13.1242499999999</cx:pt>
          <cx:pt idx="4337">13.1242499999999</cx:pt>
          <cx:pt idx="4338">13.1242499999999</cx:pt>
          <cx:pt idx="4339">13.1242499999999</cx:pt>
          <cx:pt idx="4340">11.625359999999899</cx:pt>
          <cx:pt idx="4341">13.1242499999999</cx:pt>
          <cx:pt idx="4342">13.1242499999999</cx:pt>
          <cx:pt idx="4343">13.1242499999999</cx:pt>
          <cx:pt idx="4344">13.1242499999999</cx:pt>
          <cx:pt idx="4345">13.1242499999999</cx:pt>
          <cx:pt idx="4346">13.1242499999999</cx:pt>
          <cx:pt idx="4347">13.1242499999999</cx:pt>
          <cx:pt idx="4348">17.24098</cx:pt>
          <cx:pt idx="4349">13.1242499999999</cx:pt>
          <cx:pt idx="4350">3.81501</cx:pt>
          <cx:pt idx="4351">13.1242499999999</cx:pt>
          <cx:pt idx="4352">13.1242499999999</cx:pt>
          <cx:pt idx="4353">13.1242499999999</cx:pt>
          <cx:pt idx="4354">13.1242499999999</cx:pt>
          <cx:pt idx="4355">13.1242499999999</cx:pt>
          <cx:pt idx="4356">13.1242499999999</cx:pt>
          <cx:pt idx="4357">12.839249999999899</cx:pt>
          <cx:pt idx="4358">13.1242499999999</cx:pt>
          <cx:pt idx="4359">13.1242499999999</cx:pt>
          <cx:pt idx="4360">11.625359999999899</cx:pt>
          <cx:pt idx="4361">12.839249999999899</cx:pt>
          <cx:pt idx="4362">13.1242499999999</cx:pt>
          <cx:pt idx="4363">12.839249999999899</cx:pt>
          <cx:pt idx="4364">13.1242499999999</cx:pt>
          <cx:pt idx="4365">13.1242499999999</cx:pt>
          <cx:pt idx="4366">13.1242499999999</cx:pt>
          <cx:pt idx="4367">13.1242499999999</cx:pt>
          <cx:pt idx="4368">40.600569999999706</cx:pt>
          <cx:pt idx="4369">13.1242499999999</cx:pt>
          <cx:pt idx="4370">11.625359999999899</cx:pt>
          <cx:pt idx="4371">13.1242499999999</cx:pt>
          <cx:pt idx="4372">13.1242499999999</cx:pt>
          <cx:pt idx="4373">18.778979999999901</cx:pt>
          <cx:pt idx="4374">27.702969999999898</cx:pt>
          <cx:pt idx="4375">15.04954</cx:pt>
          <cx:pt idx="4376">13.751459999999899</cx:pt>
          <cx:pt idx="4377">11.625359999999899</cx:pt>
          <cx:pt idx="4378">16.764200000000002</cx:pt>
          <cx:pt idx="4379">13.1242499999999</cx:pt>
          <cx:pt idx="4380">13.1242499999999</cx:pt>
          <cx:pt idx="4381">6.2927999999999997</cx:pt>
          <cx:pt idx="4382">11.625359999999899</cx:pt>
          <cx:pt idx="4383">12.839249999999899</cx:pt>
          <cx:pt idx="4384">15.786539999999999</cx:pt>
          <cx:pt idx="4385">18.778979999999901</cx:pt>
          <cx:pt idx="4386">6.6860999999999908</cx:pt>
          <cx:pt idx="4387">12.839249999999899</cx:pt>
          <cx:pt idx="4388">12.839249999999899</cx:pt>
          <cx:pt idx="4389">11.3421599999999</cx:pt>
          <cx:pt idx="4390">12.839249999999899</cx:pt>
          <cx:pt idx="4391">18.778979999999901</cx:pt>
          <cx:pt idx="4392">13.1242499999999</cx:pt>
          <cx:pt idx="4393">12.839249999999899</cx:pt>
          <cx:pt idx="4394">13.1242499999999</cx:pt>
          <cx:pt idx="4395">12.839249999999899</cx:pt>
          <cx:pt idx="4396">13.1242499999999</cx:pt>
          <cx:pt idx="4397">13.1242499999999</cx:pt>
          <cx:pt idx="4398">12.839249999999899</cx:pt>
          <cx:pt idx="4399">12.839249999999899</cx:pt>
          <cx:pt idx="4400">13.1242499999999</cx:pt>
          <cx:pt idx="4401">12.839249999999899</cx:pt>
          <cx:pt idx="4402">13.1242499999999</cx:pt>
          <cx:pt idx="4403">12.839249999999899</cx:pt>
          <cx:pt idx="4404">11.625359999999899</cx:pt>
          <cx:pt idx="4405">10.0008</cx:pt>
          <cx:pt idx="4406">9.7431400000000004</cx:pt>
          <cx:pt idx="4407">13.1242499999999</cx:pt>
          <cx:pt idx="4408">15.786539999999999</cx:pt>
          <cx:pt idx="4409">11.85798</cx:pt>
          <cx:pt idx="4410">11.625359999999899</cx:pt>
          <cx:pt idx="4411">13.1242499999999</cx:pt>
          <cx:pt idx="4412">13.1242499999999</cx:pt>
          <cx:pt idx="4413">13.1242499999999</cx:pt>
          <cx:pt idx="4414">13.1242499999999</cx:pt>
          <cx:pt idx="4415">11.625359999999899</cx:pt>
          <cx:pt idx="4416">13.1242499999999</cx:pt>
          <cx:pt idx="4417">7.1926400000000195</cx:pt>
          <cx:pt idx="4418">15.04954</cx:pt>
          <cx:pt idx="4419">13.1242499999999</cx:pt>
          <cx:pt idx="4420">13.1242499999999</cx:pt>
          <cx:pt idx="4421">13.1242499999999</cx:pt>
          <cx:pt idx="4422">17.24098</cx:pt>
          <cx:pt idx="4423">13.1242499999999</cx:pt>
          <cx:pt idx="4424">17.24098</cx:pt>
          <cx:pt idx="4425">5.1511199999999997</cx:pt>
          <cx:pt idx="4426">13.1242499999999</cx:pt>
          <cx:pt idx="4427">13.1242499999999</cx:pt>
          <cx:pt idx="4428">13.1242499999999</cx:pt>
          <cx:pt idx="4429">13.1242499999999</cx:pt>
          <cx:pt idx="4430">13.1242499999999</cx:pt>
          <cx:pt idx="4431">13.1242499999999</cx:pt>
          <cx:pt idx="4432">13.1242499999999</cx:pt>
          <cx:pt idx="4433">13.1242499999999</cx:pt>
          <cx:pt idx="4434">13.1242499999999</cx:pt>
          <cx:pt idx="4435">13.1242499999999</cx:pt>
          <cx:pt idx="4436">13.1242499999999</cx:pt>
          <cx:pt idx="4437">13.1242499999999</cx:pt>
          <cx:pt idx="4438">13.1242499999999</cx:pt>
          <cx:pt idx="4439">4.3399200000000002</cx:pt>
          <cx:pt idx="4440">13.1242499999999</cx:pt>
          <cx:pt idx="4441">13.1242499999999</cx:pt>
          <cx:pt idx="4442">13.1242499999999</cx:pt>
          <cx:pt idx="4443">11.625359999999899</cx:pt>
          <cx:pt idx="4444">12.839249999999899</cx:pt>
          <cx:pt idx="4445">12.839249999999899</cx:pt>
          <cx:pt idx="4446">13.1242499999999</cx:pt>
          <cx:pt idx="4447">12.839249999999899</cx:pt>
          <cx:pt idx="4448">14.75474</cx:pt>
          <cx:pt idx="4449">12.839249999999899</cx:pt>
          <cx:pt idx="4450">12.839249999999899</cx:pt>
          <cx:pt idx="4451">13.1242499999999</cx:pt>
          <cx:pt idx="4452">13.1242499999999</cx:pt>
          <cx:pt idx="4453">12.3333599999999</cx:pt>
          <cx:pt idx="4454">13.1242499999999</cx:pt>
          <cx:pt idx="4455">4.3588000000000005</cx:pt>
          <cx:pt idx="4456">35.763969999999901</cx:pt>
          <cx:pt idx="4457">13.1242499999999</cx:pt>
          <cx:pt idx="4458">12.839249999999899</cx:pt>
          <cx:pt idx="4459">12.839249999999899</cx:pt>
          <cx:pt idx="4460">13.1242499999999</cx:pt>
          <cx:pt idx="4461">12.839249999999899</cx:pt>
          <cx:pt idx="4462">15.04954</cx:pt>
          <cx:pt idx="4463">13.1242499999999</cx:pt>
          <cx:pt idx="4464">5.1511199999999997</cx:pt>
          <cx:pt idx="4465">17.3794</cx:pt>
          <cx:pt idx="4466">26.090769999999903</cx:pt>
          <cx:pt idx="4467">12.839249999999899</cx:pt>
          <cx:pt idx="4468">11.625359999999899</cx:pt>
          <cx:pt idx="4469">13.1242499999999</cx:pt>
          <cx:pt idx="4470">13.1242499999999</cx:pt>
          <cx:pt idx="4471">14.75474</cx:pt>
          <cx:pt idx="4472">11.625359999999899</cx:pt>
          <cx:pt idx="4473">38.182270000000003</cx:pt>
          <cx:pt idx="4474">15.04954</cx:pt>
          <cx:pt idx="4475">15.19694</cx:pt>
          <cx:pt idx="4476">12.839249999999899</cx:pt>
          <cx:pt idx="4477">13.1242499999999</cx:pt>
          <cx:pt idx="4478">15.04954</cx:pt>
          <cx:pt idx="4479">11.625359999999899</cx:pt>
          <cx:pt idx="4480">11.3421599999999</cx:pt>
          <cx:pt idx="4481">13.1242499999999</cx:pt>
          <cx:pt idx="4482">13.1242499999999</cx:pt>
          <cx:pt idx="4483">5.4309900000000004</cx:pt>
          <cx:pt idx="4484">15.04954</cx:pt>
          <cx:pt idx="4485">13.1242499999999</cx:pt>
          <cx:pt idx="4486">13.1242499999999</cx:pt>
          <cx:pt idx="4487">40.600569999999706</cx:pt>
          <cx:pt idx="4488">3.68391</cx:pt>
          <cx:pt idx="4489">14.164979999999899</cx:pt>
          <cx:pt idx="4490">12.839249999999899</cx:pt>
          <cx:pt idx="4491">17.24098</cx:pt>
          <cx:pt idx="4492">11.625359999999899</cx:pt>
          <cx:pt idx="4493">13.1242499999999</cx:pt>
          <cx:pt idx="4494">11.625359999999899</cx:pt>
          <cx:pt idx="4495">40.600569999999706</cx:pt>
          <cx:pt idx="4496">15.04954</cx:pt>
          <cx:pt idx="4497">13.1242499999999</cx:pt>
          <cx:pt idx="4498">13.1242499999999</cx:pt>
          <cx:pt idx="4499">13.1242499999999</cx:pt>
          <cx:pt idx="4500">13.1242499999999</cx:pt>
          <cx:pt idx="4501">13.1242499999999</cx:pt>
          <cx:pt idx="4502">13.1242499999999</cx:pt>
          <cx:pt idx="4503">13.1242499999999</cx:pt>
          <cx:pt idx="4504">13.1242499999999</cx:pt>
          <cx:pt idx="4505">13.1242499999999</cx:pt>
          <cx:pt idx="4506">13.1242499999999</cx:pt>
          <cx:pt idx="4507">15.04954</cx:pt>
          <cx:pt idx="4508">13.1242499999999</cx:pt>
          <cx:pt idx="4509">13.1242499999999</cx:pt>
          <cx:pt idx="4510">13.1242499999999</cx:pt>
          <cx:pt idx="4511">13.1242499999999</cx:pt>
          <cx:pt idx="4512">13.1242499999999</cx:pt>
          <cx:pt idx="4513">13.1242499999999</cx:pt>
          <cx:pt idx="4514">11.625359999999899</cx:pt>
          <cx:pt idx="4515">13.1242499999999</cx:pt>
          <cx:pt idx="4516">13.1242499999999</cx:pt>
          <cx:pt idx="4517">13.1242499999999</cx:pt>
          <cx:pt idx="4518">13.1242499999999</cx:pt>
          <cx:pt idx="4519">3.0768</cx:pt>
          <cx:pt idx="4520">13.1242499999999</cx:pt>
          <cx:pt idx="4521">4.6103199999999998</cx:pt>
          <cx:pt idx="4522">13.1242499999999</cx:pt>
          <cx:pt idx="4523">11.85798</cx:pt>
          <cx:pt idx="4524">13.1242499999999</cx:pt>
          <cx:pt idx="4525">13.1242499999999</cx:pt>
          <cx:pt idx="4526">13.1242499999999</cx:pt>
          <cx:pt idx="4527">13.1242499999999</cx:pt>
          <cx:pt idx="4528">15.786539999999999</cx:pt>
          <cx:pt idx="4529">13.1242499999999</cx:pt>
          <cx:pt idx="4530">4.07721</cx:pt>
          <cx:pt idx="4531">13.606859999999902</cx:pt>
          <cx:pt idx="4532">14.318779999999901</cx:pt>
          <cx:pt idx="4533">13.1242499999999</cx:pt>
          <cx:pt idx="4534">11.625359999999899</cx:pt>
          <cx:pt idx="4535">13.1242499999999</cx:pt>
          <cx:pt idx="4536">10.7091899999999</cx:pt>
          <cx:pt idx="4537">40.86927</cx:pt>
          <cx:pt idx="4538">38.182270000000003</cx:pt>
          <cx:pt idx="4539">13.1242499999999</cx:pt>
          <cx:pt idx="4540">13.1242499999999</cx:pt>
          <cx:pt idx="4541">13.1242499999999</cx:pt>
          <cx:pt idx="4542">15.04954</cx:pt>
          <cx:pt idx="4543">6.4057800000000302</cx:pt>
          <cx:pt idx="4544">13.1242499999999</cx:pt>
          <cx:pt idx="4545">13.1242499999999</cx:pt>
          <cx:pt idx="4546">17.24098</cx:pt>
          <cx:pt idx="4547">13.1242499999999</cx:pt>
          <cx:pt idx="4548">13.1242499999999</cx:pt>
          <cx:pt idx="4549">13.1242499999999</cx:pt>
          <cx:pt idx="4550">13.1242499999999</cx:pt>
          <cx:pt idx="4551">5.9613599999999902</cx:pt>
          <cx:pt idx="4552">15.04954</cx:pt>
          <cx:pt idx="4553">43.287569999999697</cx:pt>
          <cx:pt idx="4554">11.625359999999899</cx:pt>
          <cx:pt idx="4555">3.81501</cx:pt>
          <cx:pt idx="4556">13.1242499999999</cx:pt>
          <cx:pt idx="4557">11.625359999999899</cx:pt>
          <cx:pt idx="4558">11.625359999999899</cx:pt>
          <cx:pt idx="4559">13.1242499999999</cx:pt>
          <cx:pt idx="4560">13.1242499999999</cx:pt>
          <cx:pt idx="4561">13.1242499999999</cx:pt>
          <cx:pt idx="4562">17.24098</cx:pt>
          <cx:pt idx="4563">13.1242499999999</cx:pt>
          <cx:pt idx="4564">13.1242499999999</cx:pt>
          <cx:pt idx="4565">15.04954</cx:pt>
          <cx:pt idx="4566">15.04954</cx:pt>
          <cx:pt idx="4567">15.04954</cx:pt>
          <cx:pt idx="4568">15.04954</cx:pt>
          <cx:pt idx="4569">14.0261999999999</cx:pt>
          <cx:pt idx="4570">13.1242499999999</cx:pt>
          <cx:pt idx="4571">13.1242499999999</cx:pt>
          <cx:pt idx="4572">13.1242499999999</cx:pt>
          <cx:pt idx="4573">11.625359999999899</cx:pt>
          <cx:pt idx="4574">13.1242499999999</cx:pt>
          <cx:pt idx="4575">17.24098</cx:pt>
          <cx:pt idx="4576">13.1242499999999</cx:pt>
          <cx:pt idx="4577">14.0406599999999</cx:pt>
          <cx:pt idx="4578">11.483759999999901</cx:pt>
          <cx:pt idx="4579">13.1242499999999</cx:pt>
          <cx:pt idx="4580">13.1242499999999</cx:pt>
          <cx:pt idx="4581">13.1242499999999</cx:pt>
          <cx:pt idx="4582">38.182270000000003</cx:pt>
          <cx:pt idx="4583">3.9998400000000198</cx:pt>
          <cx:pt idx="4584">15.04954</cx:pt>
          <cx:pt idx="4585">13.1242499999999</cx:pt>
          <cx:pt idx="4586">11.7669599999999</cx:pt>
          <cx:pt idx="4587">13.1242499999999</cx:pt>
          <cx:pt idx="4588">17.24098</cx:pt>
          <cx:pt idx="4589">17.24098</cx:pt>
          <cx:pt idx="4590">13.1242499999999</cx:pt>
          <cx:pt idx="4591">13.1242499999999</cx:pt>
          <cx:pt idx="4592">13.1242499999999</cx:pt>
          <cx:pt idx="4593">13.1242499999999</cx:pt>
          <cx:pt idx="4594">12.3333599999999</cx:pt>
          <cx:pt idx="4595">13.1242499999999</cx:pt>
          <cx:pt idx="4596">13.1242499999999</cx:pt>
          <cx:pt idx="4597">13.1242499999999</cx:pt>
          <cx:pt idx="4598">51.079869999999907</cx:pt>
          <cx:pt idx="4599">13.1242499999999</cx:pt>
          <cx:pt idx="4600">13.1242499999999</cx:pt>
          <cx:pt idx="4601">13.1242499999999</cx:pt>
          <cx:pt idx="4602">13.1242499999999</cx:pt>
          <cx:pt idx="4603">11.625359999999899</cx:pt>
          <cx:pt idx="4604">13.1242499999999</cx:pt>
          <cx:pt idx="4605">17.24098</cx:pt>
          <cx:pt idx="4606">37.913569999999702</cx:pt>
          <cx:pt idx="4607">12.319379999999901</cx:pt>
          <cx:pt idx="4608">13.1242499999999</cx:pt>
          <cx:pt idx="4609">13.1242499999999</cx:pt>
          <cx:pt idx="4610">13.1242499999999</cx:pt>
          <cx:pt idx="4611">11.625359999999899</cx:pt>
          <cx:pt idx="4612">9.3201899999999789</cx:pt>
          <cx:pt idx="4613">13.1242499999999</cx:pt>
          <cx:pt idx="4614">13.1242499999999</cx:pt>
          <cx:pt idx="4615">11.625359999999899</cx:pt>
          <cx:pt idx="4616">15.04954</cx:pt>
          <cx:pt idx="4617">13.1242499999999</cx:pt>
          <cx:pt idx="4618">13.1242499999999</cx:pt>
          <cx:pt idx="4619">13.1242499999999</cx:pt>
          <cx:pt idx="4620">17.24098</cx:pt>
          <cx:pt idx="4621">13.1242499999999</cx:pt>
          <cx:pt idx="4622">38.719669999999901</cx:pt>
          <cx:pt idx="4623">11.625359999999899</cx:pt>
          <cx:pt idx="4624">13.1242499999999</cx:pt>
          <cx:pt idx="4625">13.1242499999999</cx:pt>
          <cx:pt idx="4626">13.1242499999999</cx:pt>
          <cx:pt idx="4627">13.1242499999999</cx:pt>
          <cx:pt idx="4628">37.376169999999995</cx:pt>
          <cx:pt idx="4629">13.1242499999999</cx:pt>
          <cx:pt idx="4630">15.04954</cx:pt>
          <cx:pt idx="4631">13.1242499999999</cx:pt>
          <cx:pt idx="4632">13.1242499999999</cx:pt>
          <cx:pt idx="4633">50.273769999999693</cx:pt>
          <cx:pt idx="4634">15.19694</cx:pt>
          <cx:pt idx="4635">17.24098</cx:pt>
          <cx:pt idx="4636">12.3333599999999</cx:pt>
          <cx:pt idx="4637">13.1242499999999</cx:pt>
          <cx:pt idx="4638">13.1242499999999</cx:pt>
          <cx:pt idx="4639">9.3201899999999789</cx:pt>
          <cx:pt idx="4640">13.1242499999999</cx:pt>
          <cx:pt idx="4641">3.8460000000000001</cx:pt>
          <cx:pt idx="4642">13.1242499999999</cx:pt>
          <cx:pt idx="4643">13.1242499999999</cx:pt>
          <cx:pt idx="4644">15.04954</cx:pt>
          <cx:pt idx="4645">30.658669999999898</cx:pt>
          <cx:pt idx="4646">13.1242499999999</cx:pt>
          <cx:pt idx="4647">13.1242499999999</cx:pt>
          <cx:pt idx="4648">2.3204199999999999</cx:pt>
          <cx:pt idx="4649">13.1242499999999</cx:pt>
          <cx:pt idx="4650">13.1242499999999</cx:pt>
          <cx:pt idx="4651">10.92234</cx:pt>
          <cx:pt idx="4652">18.3175799999999</cx:pt>
          <cx:pt idx="4653">11.625359999999899</cx:pt>
          <cx:pt idx="4654">6.6860999999999908</cx:pt>
          <cx:pt idx="4655">15.04954</cx:pt>
          <cx:pt idx="4656">15.04954</cx:pt>
          <cx:pt idx="4657">13.1242499999999</cx:pt>
          <cx:pt idx="4658">13.1242499999999</cx:pt>
          <cx:pt idx="4659">40.600569999999706</cx:pt>
          <cx:pt idx="4660">13.1242499999999</cx:pt>
          <cx:pt idx="4661">18.778979999999901</cx:pt>
          <cx:pt idx="4662">13.1242499999999</cx:pt>
          <cx:pt idx="4663">13.1242499999999</cx:pt>
          <cx:pt idx="4664">13.1242499999999</cx:pt>
          <cx:pt idx="4665">13.1242499999999</cx:pt>
          <cx:pt idx="4666">13.1242499999999</cx:pt>
          <cx:pt idx="4667">13.1242499999999</cx:pt>
          <cx:pt idx="4668">4.3588000000000005</cx:pt>
          <cx:pt idx="4669">12.050159999999901</cx:pt>
          <cx:pt idx="4670">13.1242499999999</cx:pt>
          <cx:pt idx="4671">18.778979999999901</cx:pt>
          <cx:pt idx="4672">14.75474</cx:pt>
          <cx:pt idx="4673">13.1242499999999</cx:pt>
          <cx:pt idx="4674">13.1242499999999</cx:pt>
          <cx:pt idx="4675">13.1242499999999</cx:pt>
          <cx:pt idx="4676">3.34601999999999</cx:pt>
          <cx:pt idx="4677">13.1242499999999</cx:pt>
          <cx:pt idx="4678">13.1242499999999</cx:pt>
          <cx:pt idx="4679">9.3201899999999789</cx:pt>
          <cx:pt idx="4680">19.086580000000001</cx:pt>
          <cx:pt idx="4681">13.1242499999999</cx:pt>
          <cx:pt idx="4682">13.1242499999999</cx:pt>
          <cx:pt idx="4683">13.1242499999999</cx:pt>
          <cx:pt idx="4684">13.1242499999999</cx:pt>
          <cx:pt idx="4685">11.625359999999899</cx:pt>
          <cx:pt idx="4686">13.1242499999999</cx:pt>
          <cx:pt idx="4687">13.1242499999999</cx:pt>
          <cx:pt idx="4688">13.1242499999999</cx:pt>
          <cx:pt idx="4689">13.1242499999999</cx:pt>
          <cx:pt idx="4690">13.1242499999999</cx:pt>
          <cx:pt idx="4691">17.24098</cx:pt>
          <cx:pt idx="4692">13.1242499999999</cx:pt>
          <cx:pt idx="4693">13.1242499999999</cx:pt>
          <cx:pt idx="4694">13.1242499999999</cx:pt>
          <cx:pt idx="4695">13.1242499999999</cx:pt>
          <cx:pt idx="4696">13.1242499999999</cx:pt>
          <cx:pt idx="4697">3.9741999999999997</cx:pt>
          <cx:pt idx="4698">13.1242499999999</cx:pt>
          <cx:pt idx="4699">35.495269999999898</cx:pt>
          <cx:pt idx="4700">15.786539999999999</cx:pt>
          <cx:pt idx="4701">13.1242499999999</cx:pt>
          <cx:pt idx="4702">13.1242499999999</cx:pt>
          <cx:pt idx="4703">13.1242499999999</cx:pt>
          <cx:pt idx="4704">13.1242499999999</cx:pt>
          <cx:pt idx="4705">13.1242499999999</cx:pt>
          <cx:pt idx="4706">13.1242499999999</cx:pt>
          <cx:pt idx="4707">13.1242499999999</cx:pt>
          <cx:pt idx="4708">13.1242499999999</cx:pt>
          <cx:pt idx="4709">13.1242499999999</cx:pt>
          <cx:pt idx="4710">13.1242499999999</cx:pt>
          <cx:pt idx="4711">13.1242499999999</cx:pt>
          <cx:pt idx="4712">13.1242499999999</cx:pt>
          <cx:pt idx="4713">60.457499999999996</cx:pt>
          <cx:pt idx="4714">4.6408400000000194</cx:pt>
          <cx:pt idx="4715">3.8460000000000001</cx:pt>
          <cx:pt idx="4716">13.1242499999999</cx:pt>
          <cx:pt idx="4717">13.1242499999999</cx:pt>
          <cx:pt idx="4718">13.1242499999999</cx:pt>
          <cx:pt idx="4719">9.7431400000000004</cx:pt>
          <cx:pt idx="4720">14.318779999999901</cx:pt>
          <cx:pt idx="4721">11.3421599999999</cx:pt>
          <cx:pt idx="4722">11.3421599999999</cx:pt>
          <cx:pt idx="4723">11.3421599999999</cx:pt>
          <cx:pt idx="4724">11.3421599999999</cx:pt>
          <cx:pt idx="4725">10.431389999999901</cx:pt>
          <cx:pt idx="4726">17.24098</cx:pt>
          <cx:pt idx="4727">12.839249999999899</cx:pt>
          <cx:pt idx="4728">14.75474</cx:pt>
          <cx:pt idx="4729">12.839249999999899</cx:pt>
          <cx:pt idx="4730">8.8015199999999787</cx:pt>
          <cx:pt idx="4731">11.3421599999999</cx:pt>
          <cx:pt idx="4732">12.839249999999899</cx:pt>
          <cx:pt idx="4733">14.318779999999901</cx:pt>
          <cx:pt idx="4734">12.839249999999899</cx:pt>
          <cx:pt idx="4735">12.839249999999899</cx:pt>
          <cx:pt idx="4736">12.839249999999899</cx:pt>
          <cx:pt idx="4737">13.1242499999999</cx:pt>
          <cx:pt idx="4738">13.1242499999999</cx:pt>
          <cx:pt idx="4739">11.625359999999899</cx:pt>
          <cx:pt idx="4740">15.04954</cx:pt>
          <cx:pt idx="4741">4.4870000000000001</cx:pt>
          <cx:pt idx="4742">29.583869999999902</cx:pt>
          <cx:pt idx="4743">11.625359999999899</cx:pt>
          <cx:pt idx="4744">11.625359999999899</cx:pt>
          <cx:pt idx="4745">14.318779999999901</cx:pt>
          <cx:pt idx="4746">13.606859999999902</cx:pt>
          <cx:pt idx="4747">11.625359999999899</cx:pt>
          <cx:pt idx="4748">14.318779999999901</cx:pt>
          <cx:pt idx="4749">13.1242499999999</cx:pt>
          <cx:pt idx="4750">13.1242499999999</cx:pt>
          <cx:pt idx="4751">13.1242499999999</cx:pt>
          <cx:pt idx="4752">8.2472000000000012</cx:pt>
          <cx:pt idx="4753">13.1242499999999</cx:pt>
          <cx:pt idx="4754">13.1242499999999</cx:pt>
          <cx:pt idx="4755">13.1242499999999</cx:pt>
          <cx:pt idx="4756">15.04954</cx:pt>
          <cx:pt idx="4757">13.1242499999999</cx:pt>
          <cx:pt idx="4758">13.1242499999999</cx:pt>
          <cx:pt idx="4759">13.1242499999999</cx:pt>
          <cx:pt idx="4760">13.1242499999999</cx:pt>
          <cx:pt idx="4761">11.625359999999899</cx:pt>
          <cx:pt idx="4762">5.6781600000000001</cx:pt>
          <cx:pt idx="4763">13.1242499999999</cx:pt>
          <cx:pt idx="4764">15.786539999999999</cx:pt>
          <cx:pt idx="4765">13.1242499999999</cx:pt>
          <cx:pt idx="4766">13.1242499999999</cx:pt>
          <cx:pt idx="4767">13.1242499999999</cx:pt>
          <cx:pt idx="4768">18.778979999999901</cx:pt>
          <cx:pt idx="4769">13.1242499999999</cx:pt>
          <cx:pt idx="4770">13.1242499999999</cx:pt>
          <cx:pt idx="4771">11.625359999999899</cx:pt>
          <cx:pt idx="4772">11.625359999999899</cx:pt>
          <cx:pt idx="4773">13.1242499999999</cx:pt>
          <cx:pt idx="4774">13.1242499999999</cx:pt>
          <cx:pt idx="4775">28.509069999999898</cx:pt>
          <cx:pt idx="4776">13.1242499999999</cx:pt>
          <cx:pt idx="4777">11.704180000000001</cx:pt>
          <cx:pt idx="4778">13.1242499999999</cx:pt>
          <cx:pt idx="4779">13.1242499999999</cx:pt>
          <cx:pt idx="4780">13.1242499999999</cx:pt>
          <cx:pt idx="4781">15.786539999999999</cx:pt>
          <cx:pt idx="4782">13.1242499999999</cx:pt>
          <cx:pt idx="4783">11.625359999999899</cx:pt>
          <cx:pt idx="4784">26.090769999999903</cx:pt>
          <cx:pt idx="4785">11.625359999999899</cx:pt>
          <cx:pt idx="4786">13.1242499999999</cx:pt>
          <cx:pt idx="4787">13.1242499999999</cx:pt>
          <cx:pt idx="4788">13.1242499999999</cx:pt>
          <cx:pt idx="4789">11.625359999999899</cx:pt>
          <cx:pt idx="4790">15.04954</cx:pt>
          <cx:pt idx="4791">13.1242499999999</cx:pt>
          <cx:pt idx="4792">17.24098</cx:pt>
          <cx:pt idx="4793">11.625359999999899</cx:pt>
          <cx:pt idx="4794">15.04954</cx:pt>
          <cx:pt idx="4795">17.24098</cx:pt>
          <cx:pt idx="4796">13.1242499999999</cx:pt>
          <cx:pt idx="4797">13.1242499999999</cx:pt>
          <cx:pt idx="4798">13.1242499999999</cx:pt>
          <cx:pt idx="4799">13.1242499999999</cx:pt>
          <cx:pt idx="4800">15.04954</cx:pt>
          <cx:pt idx="4801">14.318779999999901</cx:pt>
          <cx:pt idx="4802">15.04954</cx:pt>
          <cx:pt idx="4803">13.1242499999999</cx:pt>
          <cx:pt idx="4804">11.625359999999899</cx:pt>
          <cx:pt idx="4805">13.1242499999999</cx:pt>
          <cx:pt idx="4806">11.625359999999899</cx:pt>
          <cx:pt idx="4807">13.1242499999999</cx:pt>
          <cx:pt idx="4808">13.1242499999999</cx:pt>
          <cx:pt idx="4809">10.7091899999999</cx:pt>
          <cx:pt idx="4810">13.1242499999999</cx:pt>
          <cx:pt idx="4811">18.009979999999899</cx:pt>
          <cx:pt idx="4812">13.0883799999999</cx:pt>
          <cx:pt idx="4813">11.625359999999899</cx:pt>
          <cx:pt idx="4814">13.1242499999999</cx:pt>
          <cx:pt idx="4815">13.1242499999999</cx:pt>
          <cx:pt idx="4816">13.1242499999999</cx:pt>
          <cx:pt idx="4817">13.1242499999999</cx:pt>
          <cx:pt idx="4818">18.778979999999901</cx:pt>
          <cx:pt idx="4819">13.1242499999999</cx:pt>
          <cx:pt idx="4820">26.090769999999903</cx:pt>
          <cx:pt idx="4821">15.04954</cx:pt>
          <cx:pt idx="4822">37.107469999999999</cx:pt>
          <cx:pt idx="4823">10.7091899999999</cx:pt>
          <cx:pt idx="4824">17.24098</cx:pt>
          <cx:pt idx="4825">13.1242499999999</cx:pt>
          <cx:pt idx="4826">13.1242499999999</cx:pt>
          <cx:pt idx="4827">13.1242499999999</cx:pt>
          <cx:pt idx="4828">17.24098</cx:pt>
          <cx:pt idx="4829">13.1242499999999</cx:pt>
          <cx:pt idx="4830">13.1242499999999</cx:pt>
          <cx:pt idx="4831">10.332739999999999</cx:pt>
          <cx:pt idx="4832">11.625359999999899</cx:pt>
          <cx:pt idx="4833">15.786539999999999</cx:pt>
          <cx:pt idx="4834">5.7683999999999997</cx:pt>
          <cx:pt idx="4835">13.1242499999999</cx:pt>
          <cx:pt idx="4836">13.1242499999999</cx:pt>
          <cx:pt idx="4837">11.625359999999899</cx:pt>
          <cx:pt idx="4838">15.04954</cx:pt>
          <cx:pt idx="4839">13.1242499999999</cx:pt>
          <cx:pt idx="4840">13.1242499999999</cx:pt>
          <cx:pt idx="4841">18.778979999999901</cx:pt>
          <cx:pt idx="4842">13.1242499999999</cx:pt>
          <cx:pt idx="4843">14.75474</cx:pt>
          <cx:pt idx="4844">13.1242499999999</cx:pt>
          <cx:pt idx="4845">13.1242499999999</cx:pt>
          <cx:pt idx="4846">13.1242499999999</cx:pt>
          <cx:pt idx="4847">13.1242499999999</cx:pt>
          <cx:pt idx="4848">13.1242499999999</cx:pt>
          <cx:pt idx="4849">40.600569999999706</cx:pt>
          <cx:pt idx="4850">11.625359999999899</cx:pt>
          <cx:pt idx="4851">13.1242499999999</cx:pt>
          <cx:pt idx="4852">11.625359999999899</cx:pt>
          <cx:pt idx="4853">13.1242499999999</cx:pt>
          <cx:pt idx="4854">13.1242499999999</cx:pt>
          <cx:pt idx="4855">13.1242499999999</cx:pt>
          <cx:pt idx="4856">13.1242499999999</cx:pt>
          <cx:pt idx="4857">13.1242499999999</cx:pt>
          <cx:pt idx="4858">13.1242499999999</cx:pt>
          <cx:pt idx="4859">12.78078</cx:pt>
          <cx:pt idx="4860">17.24098</cx:pt>
          <cx:pt idx="4861">8.9232000000000014</cx:pt>
          <cx:pt idx="4862">13.1242499999999</cx:pt>
          <cx:pt idx="4863">11.625359999999899</cx:pt>
          <cx:pt idx="4864">15.04954</cx:pt>
          <cx:pt idx="4865">15.771799999999999</cx:pt>
          <cx:pt idx="4866">13.1242499999999</cx:pt>
          <cx:pt idx="4867">13.1242499999999</cx:pt>
          <cx:pt idx="4868">27.165569999999899</cx:pt>
          <cx:pt idx="4869">15.04954</cx:pt>
          <cx:pt idx="4870">13.1242499999999</cx:pt>
          <cx:pt idx="4871">12.319380000000001</cx:pt>
          <cx:pt idx="4872">13.1242499999999</cx:pt>
          <cx:pt idx="4873">34.420469999999895</cx:pt>
          <cx:pt idx="4874">13.1242499999999</cx:pt>
          <cx:pt idx="4875">13.1242499999999</cx:pt>
          <cx:pt idx="4876">13.1242499999999</cx:pt>
          <cx:pt idx="4877">13.1242499999999</cx:pt>
          <cx:pt idx="4878">13.1242499999999</cx:pt>
          <cx:pt idx="4879">15.04954</cx:pt>
          <cx:pt idx="4880">13.1242499999999</cx:pt>
          <cx:pt idx="4881">13.1242499999999</cx:pt>
          <cx:pt idx="4882">13.1242499999999</cx:pt>
          <cx:pt idx="4883">13.1242499999999</cx:pt>
          <cx:pt idx="4884">11.625359999999899</cx:pt>
          <cx:pt idx="4885">13.1242499999999</cx:pt>
          <cx:pt idx="4886">13.1242499999999</cx:pt>
          <cx:pt idx="4887">13.1242499999999</cx:pt>
          <cx:pt idx="4888">40.600569999999706</cx:pt>
          <cx:pt idx="4889">15.04954</cx:pt>
          <cx:pt idx="4890">17.24098</cx:pt>
          <cx:pt idx="4891">13.1242499999999</cx:pt>
          <cx:pt idx="4892">13.1242499999999</cx:pt>
          <cx:pt idx="4893">13.1242499999999</cx:pt>
          <cx:pt idx="4894">5.4309900000000004</cx:pt>
          <cx:pt idx="4895">10.7091899999999</cx:pt>
          <cx:pt idx="4896">13.1242499999999</cx:pt>
          <cx:pt idx="4897">17.24098</cx:pt>
          <cx:pt idx="4898">13.1242499999999</cx:pt>
          <cx:pt idx="4899">13.1242499999999</cx:pt>
          <cx:pt idx="4900">19.547980000000003</cx:pt>
          <cx:pt idx="4901">15.04954</cx:pt>
          <cx:pt idx="4902">13.1242499999999</cx:pt>
          <cx:pt idx="4903">11.625359999999899</cx:pt>
          <cx:pt idx="4904">13.1242499999999</cx:pt>
          <cx:pt idx="4905">13.1242499999999</cx:pt>
          <cx:pt idx="4906">13.1242499999999</cx:pt>
          <cx:pt idx="4907">1.42302</cx:pt>
          <cx:pt idx="4908">13.1242499999999</cx:pt>
          <cx:pt idx="4909">13.1242499999999</cx:pt>
          <cx:pt idx="4910">13.1242499999999</cx:pt>
          <cx:pt idx="4911">17.24098</cx:pt>
          <cx:pt idx="4912">15.04954</cx:pt>
          <cx:pt idx="4913">13.1242499999999</cx:pt>
          <cx:pt idx="4914">13.1242499999999</cx:pt>
          <cx:pt idx="4915">13.1242499999999</cx:pt>
          <cx:pt idx="4916">2.1922199999999998</cx:pt>
          <cx:pt idx="4917">13.1242499999999</cx:pt>
          <cx:pt idx="4918">13.1242499999999</cx:pt>
          <cx:pt idx="4919">13.1242499999999</cx:pt>
          <cx:pt idx="4920">13.1242499999999</cx:pt>
          <cx:pt idx="4921">13.1242499999999</cx:pt>
          <cx:pt idx="4922">13.1242499999999</cx:pt>
          <cx:pt idx="4923">17.24098</cx:pt>
          <cx:pt idx="4924">13.1242499999999</cx:pt>
          <cx:pt idx="4925">13.1242499999999</cx:pt>
          <cx:pt idx="4926">2.7050200000000002</cx:pt>
          <cx:pt idx="4927">13.1242499999999</cx:pt>
          <cx:pt idx="4928">6.4239000000000006</cx:pt>
          <cx:pt idx="4929">13.1242499999999</cx:pt>
          <cx:pt idx="4930">14.75474</cx:pt>
          <cx:pt idx="4931">13.1242499999999</cx:pt>
          <cx:pt idx="4932">13.1242499999999</cx:pt>
          <cx:pt idx="4933">13.1242499999999</cx:pt>
          <cx:pt idx="4934">15.04954</cx:pt>
          <cx:pt idx="4935">13.1242499999999</cx:pt>
          <cx:pt idx="4936">11.550380000000001</cx:pt>
          <cx:pt idx="4937">13.1242499999999</cx:pt>
          <cx:pt idx="4938">13.1242499999999</cx:pt>
          <cx:pt idx="4939">13.1242499999999</cx:pt>
          <cx:pt idx="4940">13.1242499999999</cx:pt>
          <cx:pt idx="4941">17.24098</cx:pt>
          <cx:pt idx="4942">13.1242499999999</cx:pt>
          <cx:pt idx="4943">13.1242499999999</cx:pt>
          <cx:pt idx="4944">13.1242499999999</cx:pt>
          <cx:pt idx="4945">13.1242499999999</cx:pt>
          <cx:pt idx="4946">13.1242499999999</cx:pt>
          <cx:pt idx="4947">13.1242499999999</cx:pt>
          <cx:pt idx="4948">13.1242499999999</cx:pt>
          <cx:pt idx="4949">13.1242499999999</cx:pt>
          <cx:pt idx="4950">11.704180000000001</cx:pt>
          <cx:pt idx="4951">13.1242499999999</cx:pt>
          <cx:pt idx="4952">13.1242499999999</cx:pt>
          <cx:pt idx="4953">13.1242499999999</cx:pt>
          <cx:pt idx="4954">15.786539999999999</cx:pt>
          <cx:pt idx="4955">13.1242499999999</cx:pt>
          <cx:pt idx="4956">13.1242499999999</cx:pt>
          <cx:pt idx="4957">13.1242499999999</cx:pt>
          <cx:pt idx="4958">13.1242499999999</cx:pt>
          <cx:pt idx="4959">14.6263799999999</cx:pt>
          <cx:pt idx="4960">13.1242499999999</cx:pt>
          <cx:pt idx="4961">13.1242499999999</cx:pt>
          <cx:pt idx="4962">13.1242499999999</cx:pt>
          <cx:pt idx="4963">13.1242499999999</cx:pt>
          <cx:pt idx="4964">13.1242499999999</cx:pt>
          <cx:pt idx="4965">11.625359999999899</cx:pt>
          <cx:pt idx="4966">13.1242499999999</cx:pt>
          <cx:pt idx="4967">13.1242499999999</cx:pt>
          <cx:pt idx="4968">13.1242499999999</cx:pt>
          <cx:pt idx="4969">13.1242499999999</cx:pt>
          <cx:pt idx="4970">13.1242499999999</cx:pt>
          <cx:pt idx="4971">13.1242499999999</cx:pt>
          <cx:pt idx="4972">18.778979999999901</cx:pt>
          <cx:pt idx="4973">13.1242499999999</cx:pt>
          <cx:pt idx="4974">13.1242499999999</cx:pt>
          <cx:pt idx="4975">13.1242499999999</cx:pt>
          <cx:pt idx="4976">13.1242499999999</cx:pt>
          <cx:pt idx="4977">13.1242499999999</cx:pt>
          <cx:pt idx="4978">13.1242499999999</cx:pt>
          <cx:pt idx="4979">13.1242499999999</cx:pt>
          <cx:pt idx="4980">13.1242499999999</cx:pt>
          <cx:pt idx="4981">13.1242499999999</cx:pt>
          <cx:pt idx="4982">13.1242499999999</cx:pt>
          <cx:pt idx="4983">13.1242499999999</cx:pt>
          <cx:pt idx="4984">13.1242499999999</cx:pt>
          <cx:pt idx="4985">13.1242499999999</cx:pt>
          <cx:pt idx="4986">13.1242499999999</cx:pt>
          <cx:pt idx="4987">13.1242499999999</cx:pt>
          <cx:pt idx="4988">11.625359999999899</cx:pt>
          <cx:pt idx="4989">13.1242499999999</cx:pt>
          <cx:pt idx="4990">13.1242499999999</cx:pt>
          <cx:pt idx="4991">17.24098</cx:pt>
          <cx:pt idx="4992">13.1242499999999</cx:pt>
          <cx:pt idx="4993">13.1242499999999</cx:pt>
          <cx:pt idx="4994">18.778979999999901</cx:pt>
          <cx:pt idx="4995">11.625359999999899</cx:pt>
          <cx:pt idx="4996">11.625359999999899</cx:pt>
          <cx:pt idx="4997">18.778979999999901</cx:pt>
          <cx:pt idx="4998">11.625359999999899</cx:pt>
          <cx:pt idx="4999">13.1242499999999</cx:pt>
          <cx:pt idx="5000">13.1242499999999</cx:pt>
          <cx:pt idx="5001">13.1242499999999</cx:pt>
          <cx:pt idx="5002">13.1242499999999</cx:pt>
          <cx:pt idx="5003">13.1242499999999</cx:pt>
          <cx:pt idx="5004">13.1242499999999</cx:pt>
          <cx:pt idx="5005">13.1242499999999</cx:pt>
          <cx:pt idx="5006">13.1242499999999</cx:pt>
          <cx:pt idx="5007">13.1242499999999</cx:pt>
          <cx:pt idx="5008">11.625359999999899</cx:pt>
          <cx:pt idx="5009">40.600569999999706</cx:pt>
          <cx:pt idx="5010">13.1242499999999</cx:pt>
          <cx:pt idx="5011">13.1242499999999</cx:pt>
          <cx:pt idx="5012">13.1242499999999</cx:pt>
          <cx:pt idx="5013">11.550380000000001</cx:pt>
          <cx:pt idx="5014">3.68391</cx:pt>
          <cx:pt idx="5015">13.1242499999999</cx:pt>
          <cx:pt idx="5016">13.1242499999999</cx:pt>
          <cx:pt idx="5017">13.1242499999999</cx:pt>
          <cx:pt idx="5018">13.1242499999999</cx:pt>
          <cx:pt idx="5019">13.1242499999999</cx:pt>
          <cx:pt idx="5020">13.1242499999999</cx:pt>
          <cx:pt idx="5021">13.1242499999999</cx:pt>
          <cx:pt idx="5022">9.890539999999989</cx:pt>
          <cx:pt idx="5023">13.1242499999999</cx:pt>
          <cx:pt idx="5024">15.04954</cx:pt>
          <cx:pt idx="5025">13.1242499999999</cx:pt>
          <cx:pt idx="5026">11.625359999999899</cx:pt>
          <cx:pt idx="5027">11.625359999999899</cx:pt>
          <cx:pt idx="5028">13.1242499999999</cx:pt>
          <cx:pt idx="5029">11.625359999999899</cx:pt>
          <cx:pt idx="5030">0.91021999999999992</cx:pt>
          <cx:pt idx="5031">13.1242499999999</cx:pt>
          <cx:pt idx="5032">11.625359999999899</cx:pt>
          <cx:pt idx="5033">13.1242499999999</cx:pt>
          <cx:pt idx="5034">13.1242499999999</cx:pt>
          <cx:pt idx="5035">15.04954</cx:pt>
          <cx:pt idx="5036">13.1242499999999</cx:pt>
          <cx:pt idx="5037">13.1242499999999</cx:pt>
          <cx:pt idx="5038">11.625359999999899</cx:pt>
          <cx:pt idx="5039">13.1242499999999</cx:pt>
          <cx:pt idx="5040">5.6781600000000001</cx:pt>
          <cx:pt idx="5041">17.24098</cx:pt>
          <cx:pt idx="5042">13.1242499999999</cx:pt>
          <cx:pt idx="5043">13.1242499999999</cx:pt>
          <cx:pt idx="5044">13.1242499999999</cx:pt>
          <cx:pt idx="5045">18.778979999999901</cx:pt>
          <cx:pt idx="5046">13.1242499999999</cx:pt>
          <cx:pt idx="5047">5.4309900000000004</cx:pt>
          <cx:pt idx="5048">13.1242499999999</cx:pt>
          <cx:pt idx="5049">13.1242499999999</cx:pt>
          <cx:pt idx="5050">19.547980000000003</cx:pt>
          <cx:pt idx="5051">5.8197600000000005</cx:pt>
          <cx:pt idx="5052">16.764200000000002</cx:pt>
          <cx:pt idx="5053">17.24098</cx:pt>
          <cx:pt idx="5054">11.625359999999899</cx:pt>
          <cx:pt idx="5055">13.1242499999999</cx:pt>
          <cx:pt idx="5056">13.1242499999999</cx:pt>
          <cx:pt idx="5057">11.625359999999899</cx:pt>
          <cx:pt idx="5058">11.625359999999899</cx:pt>
          <cx:pt idx="5059">13.1242499999999</cx:pt>
          <cx:pt idx="5060">13.1242499999999</cx:pt>
          <cx:pt idx="5061">13.1242499999999</cx:pt>
          <cx:pt idx="5062">11.625359999999899</cx:pt>
          <cx:pt idx="5063">13.1242499999999</cx:pt>
          <cx:pt idx="5064">13.1242499999999</cx:pt>
          <cx:pt idx="5065">11.625359999999899</cx:pt>
          <cx:pt idx="5066">13.1242499999999</cx:pt>
          <cx:pt idx="5067">13.1242499999999</cx:pt>
          <cx:pt idx="5068">13.1242499999999</cx:pt>
          <cx:pt idx="5069">13.1242499999999</cx:pt>
          <cx:pt idx="5070">17.24098</cx:pt>
          <cx:pt idx="5071">4.20472</cx:pt>
          <cx:pt idx="5072">13.1242499999999</cx:pt>
          <cx:pt idx="5073">13.1242499999999</cx:pt>
          <cx:pt idx="5074">13.1242499999999</cx:pt>
          <cx:pt idx="5075">13.1242499999999</cx:pt>
          <cx:pt idx="5076">13.1242499999999</cx:pt>
          <cx:pt idx="5077">13.1242499999999</cx:pt>
          <cx:pt idx="5078">13.1242499999999</cx:pt>
          <cx:pt idx="5079">13.1242499999999</cx:pt>
          <cx:pt idx="5080">13.1242499999999</cx:pt>
          <cx:pt idx="5081">13.1242499999999</cx:pt>
          <cx:pt idx="5082">13.1242499999999</cx:pt>
          <cx:pt idx="5083">11.625359999999899</cx:pt>
          <cx:pt idx="5084">13.1242499999999</cx:pt>
          <cx:pt idx="5085">13.1242499999999</cx:pt>
          <cx:pt idx="5086">13.1242499999999</cx:pt>
          <cx:pt idx="5087">11.625359999999899</cx:pt>
          <cx:pt idx="5088">13.1242499999999</cx:pt>
          <cx:pt idx="5089">13.1242499999999</cx:pt>
          <cx:pt idx="5090">13.1242499999999</cx:pt>
          <cx:pt idx="5091">13.1242499999999</cx:pt>
          <cx:pt idx="5092">13.1242499999999</cx:pt>
          <cx:pt idx="5093">13.1242499999999</cx:pt>
          <cx:pt idx="5094">13.1242499999999</cx:pt>
          <cx:pt idx="5095">13.1242499999999</cx:pt>
          <cx:pt idx="5096">13.1242499999999</cx:pt>
          <cx:pt idx="5097">13.1242499999999</cx:pt>
          <cx:pt idx="5098">13.1242499999999</cx:pt>
          <cx:pt idx="5099">13.1242499999999</cx:pt>
          <cx:pt idx="5100">18.778979999999901</cx:pt>
          <cx:pt idx="5101">13.1242499999999</cx:pt>
          <cx:pt idx="5102">13.1242499999999</cx:pt>
          <cx:pt idx="5103">13.1242499999999</cx:pt>
          <cx:pt idx="5104">13.1242499999999</cx:pt>
          <cx:pt idx="5105">9.7431400000000004</cx:pt>
          <cx:pt idx="5106">13.1242499999999</cx:pt>
          <cx:pt idx="5107">9.44834</cx:pt>
          <cx:pt idx="5108">15.04954</cx:pt>
          <cx:pt idx="5109">11.625359999999899</cx:pt>
          <cx:pt idx="5110">13.1242499999999</cx:pt>
          <cx:pt idx="5111">13.1242499999999</cx:pt>
          <cx:pt idx="5112">13.1242499999999</cx:pt>
          <cx:pt idx="5113">13.1242499999999</cx:pt>
          <cx:pt idx="5114">13.1242499999999</cx:pt>
          <cx:pt idx="5115">9.3201899999999789</cx:pt>
          <cx:pt idx="5116">11.625359999999899</cx:pt>
          <cx:pt idx="5117">11.625359999999899</cx:pt>
          <cx:pt idx="5118">12.839249999999899</cx:pt>
          <cx:pt idx="5119">13.1242499999999</cx:pt>
          <cx:pt idx="5120">13.1242499999999</cx:pt>
          <cx:pt idx="5121">18.778979999999901</cx:pt>
          <cx:pt idx="5122">13.1242499999999</cx:pt>
          <cx:pt idx="5123">13.1242499999999</cx:pt>
          <cx:pt idx="5124">18.778979999999901</cx:pt>
          <cx:pt idx="5125">13.1242499999999</cx:pt>
          <cx:pt idx="5126">13.1242499999999</cx:pt>
          <cx:pt idx="5127">13.1242499999999</cx:pt>
          <cx:pt idx="5128">13.1242499999999</cx:pt>
          <cx:pt idx="5129">14.75474</cx:pt>
          <cx:pt idx="5130">13.1242499999999</cx:pt>
          <cx:pt idx="5131">11.625359999999899</cx:pt>
          <cx:pt idx="5132">13.1242499999999</cx:pt>
          <cx:pt idx="5133">13.1242499999999</cx:pt>
          <cx:pt idx="5134">12.839249999999899</cx:pt>
          <cx:pt idx="5135">11.625359999999899</cx:pt>
          <cx:pt idx="5136">13.1242499999999</cx:pt>
          <cx:pt idx="5137">13.1242499999999</cx:pt>
          <cx:pt idx="5138">13.1242499999999</cx:pt>
          <cx:pt idx="5139">13.1242499999999</cx:pt>
          <cx:pt idx="5140">13.1242499999999</cx:pt>
          <cx:pt idx="5141">11.625359999999899</cx:pt>
          <cx:pt idx="5142">13.1242499999999</cx:pt>
          <cx:pt idx="5143">13.1242499999999</cx:pt>
          <cx:pt idx="5144">11.625359999999899</cx:pt>
          <cx:pt idx="5145">13.1242499999999</cx:pt>
          <cx:pt idx="5146">13.1242499999999</cx:pt>
          <cx:pt idx="5147">15.04954</cx:pt>
          <cx:pt idx="5148">56.722569999999692</cx:pt>
          <cx:pt idx="5149">12.839249999999899</cx:pt>
          <cx:pt idx="5150">13.1242499999999</cx:pt>
          <cx:pt idx="5151">13.1242499999999</cx:pt>
          <cx:pt idx="5152">13.1242499999999</cx:pt>
          <cx:pt idx="5153">12.839249999999899</cx:pt>
          <cx:pt idx="5154">12.839249999999899</cx:pt>
          <cx:pt idx="5155">13.1242499999999</cx:pt>
          <cx:pt idx="5156">11.625359999999899</cx:pt>
          <cx:pt idx="5157">13.1242499999999</cx:pt>
          <cx:pt idx="5158">13.1242499999999</cx:pt>
          <cx:pt idx="5159">13.1242499999999</cx:pt>
          <cx:pt idx="5160">13.1242499999999</cx:pt>
          <cx:pt idx="5161">13.1242499999999</cx:pt>
          <cx:pt idx="5162">13.1242499999999</cx:pt>
          <cx:pt idx="5163">18.778979999999901</cx:pt>
          <cx:pt idx="5164">13.1242499999999</cx:pt>
          <cx:pt idx="5165">12.3333599999999</cx:pt>
          <cx:pt idx="5166">18.778979999999901</cx:pt>
          <cx:pt idx="5167">13.1242499999999</cx:pt>
          <cx:pt idx="5168">13.1242499999999</cx:pt>
          <cx:pt idx="5169">13.1242499999999</cx:pt>
          <cx:pt idx="5170">13.1242499999999</cx:pt>
          <cx:pt idx="5171">13.1242499999999</cx:pt>
          <cx:pt idx="5172">15.04954</cx:pt>
          <cx:pt idx="5173">13.1242499999999</cx:pt>
          <cx:pt idx="5174">13.1242499999999</cx:pt>
          <cx:pt idx="5175">15.04954</cx:pt>
          <cx:pt idx="5176">13.1242499999999</cx:pt>
          <cx:pt idx="5177">13.1242499999999</cx:pt>
          <cx:pt idx="5178">13.1242499999999</cx:pt>
          <cx:pt idx="5179">13.1242499999999</cx:pt>
          <cx:pt idx="5180">13.1242499999999</cx:pt>
          <cx:pt idx="5181">13.1242499999999</cx:pt>
          <cx:pt idx="5182">13.1242499999999</cx:pt>
          <cx:pt idx="5183">13.1242499999999</cx:pt>
          <cx:pt idx="5184">13.1242499999999</cx:pt>
          <cx:pt idx="5185">13.1242499999999</cx:pt>
          <cx:pt idx="5186">13.1242499999999</cx:pt>
          <cx:pt idx="5187">12.839249999999899</cx:pt>
          <cx:pt idx="5188">13.1242499999999</cx:pt>
          <cx:pt idx="5189">13.1242499999999</cx:pt>
          <cx:pt idx="5190">13.1242499999999</cx:pt>
          <cx:pt idx="5191">13.1242499999999</cx:pt>
          <cx:pt idx="5192">12.3333599999999</cx:pt>
          <cx:pt idx="5193">13.1242499999999</cx:pt>
          <cx:pt idx="5194">13.1242499999999</cx:pt>
          <cx:pt idx="5195">14.75474</cx:pt>
          <cx:pt idx="5196">13.1242499999999</cx:pt>
          <cx:pt idx="5197">13.1242499999999</cx:pt>
          <cx:pt idx="5198">12.839249999999899</cx:pt>
          <cx:pt idx="5199">13.1242499999999</cx:pt>
          <cx:pt idx="5200">18.778979999999901</cx:pt>
          <cx:pt idx="5201">13.1242499999999</cx:pt>
          <cx:pt idx="5202">13.1242499999999</cx:pt>
          <cx:pt idx="5203">12.839249999999899</cx:pt>
          <cx:pt idx="5204">12.839249999999899</cx:pt>
          <cx:pt idx="5205">13.1242499999999</cx:pt>
          <cx:pt idx="5206">13.1242499999999</cx:pt>
          <cx:pt idx="5207">13.1242499999999</cx:pt>
          <cx:pt idx="5208">13.1242499999999</cx:pt>
          <cx:pt idx="5209">13.1242499999999</cx:pt>
          <cx:pt idx="5210">13.1242499999999</cx:pt>
          <cx:pt idx="5211">13.1242499999999</cx:pt>
          <cx:pt idx="5212">13.1242499999999</cx:pt>
          <cx:pt idx="5213">13.1242499999999</cx:pt>
          <cx:pt idx="5214">13.1242499999999</cx:pt>
          <cx:pt idx="5215">13.1242499999999</cx:pt>
          <cx:pt idx="5216">13.1242499999999</cx:pt>
          <cx:pt idx="5217">15.04954</cx:pt>
          <cx:pt idx="5218">13.1242499999999</cx:pt>
          <cx:pt idx="5219">13.1242499999999</cx:pt>
          <cx:pt idx="5220">13.1242499999999</cx:pt>
          <cx:pt idx="5221">13.1242499999999</cx:pt>
          <cx:pt idx="5222">17.24098</cx:pt>
          <cx:pt idx="5223">13.1242499999999</cx:pt>
          <cx:pt idx="5224">13.1242499999999</cx:pt>
          <cx:pt idx="5225">13.1242499999999</cx:pt>
          <cx:pt idx="5226">13.1242499999999</cx:pt>
          <cx:pt idx="5227">13.1242499999999</cx:pt>
          <cx:pt idx="5228">13.1242499999999</cx:pt>
          <cx:pt idx="5229">13.1242499999999</cx:pt>
          <cx:pt idx="5230">11.625359999999899</cx:pt>
          <cx:pt idx="5231">11.625359999999899</cx:pt>
          <cx:pt idx="5232">13.1242499999999</cx:pt>
          <cx:pt idx="5233">13.1242499999999</cx:pt>
          <cx:pt idx="5234">13.1242499999999</cx:pt>
          <cx:pt idx="5235">13.1242499999999</cx:pt>
          <cx:pt idx="5236">13.1242499999999</cx:pt>
          <cx:pt idx="5237">12.050159999999901</cx:pt>
          <cx:pt idx="5238">13.1242499999999</cx:pt>
          <cx:pt idx="5239">13.1242499999999</cx:pt>
          <cx:pt idx="5240">13.1242499999999</cx:pt>
          <cx:pt idx="5241">12.839249999999899</cx:pt>
          <cx:pt idx="5242">13.1242499999999</cx:pt>
          <cx:pt idx="5243">11.625359999999899</cx:pt>
          <cx:pt idx="5244">13.1242499999999</cx:pt>
          <cx:pt idx="5245">13.1242499999999</cx:pt>
          <cx:pt idx="5246">13.1242499999999</cx:pt>
          <cx:pt idx="5247">12.839249999999899</cx:pt>
          <cx:pt idx="5248">13.1242499999999</cx:pt>
          <cx:pt idx="5249">11.625359999999899</cx:pt>
          <cx:pt idx="5250">10.92234</cx:pt>
          <cx:pt idx="5251">13.1242499999999</cx:pt>
          <cx:pt idx="5252">13.1242499999999</cx:pt>
          <cx:pt idx="5253">13.1242499999999</cx:pt>
          <cx:pt idx="5254">13.1242499999999</cx:pt>
          <cx:pt idx="5255">11.625359999999899</cx:pt>
          <cx:pt idx="5256">3.94611</cx:pt>
          <cx:pt idx="5257">13.1242499999999</cx:pt>
          <cx:pt idx="5258">13.1242499999999</cx:pt>
          <cx:pt idx="5259">13.1242499999999</cx:pt>
          <cx:pt idx="5260">13.1242499999999</cx:pt>
          <cx:pt idx="5261">30.1212699999999</cx:pt>
          <cx:pt idx="5262">37.913569999999702</cx:pt>
          <cx:pt idx="5263">13.1242499999999</cx:pt>
          <cx:pt idx="5264">13.1242499999999</cx:pt>
          <cx:pt idx="5265">18.4713799999999</cx:pt>
          <cx:pt idx="5266">13.1242499999999</cx:pt>
          <cx:pt idx="5267">13.1242499999999</cx:pt>
          <cx:pt idx="5268">13.1242499999999</cx:pt>
          <cx:pt idx="5269">13.1242499999999</cx:pt>
          <cx:pt idx="5270">13.1242499999999</cx:pt>
          <cx:pt idx="5271">13.1242499999999</cx:pt>
          <cx:pt idx="5272">13.1242499999999</cx:pt>
          <cx:pt idx="5273">13.1242499999999</cx:pt>
          <cx:pt idx="5274">18.778979999999901</cx:pt>
          <cx:pt idx="5275">13.1242499999999</cx:pt>
          <cx:pt idx="5276">13.1242499999999</cx:pt>
          <cx:pt idx="5277">12.3333599999999</cx:pt>
          <cx:pt idx="5278">13.1242499999999</cx:pt>
          <cx:pt idx="5279">13.1242499999999</cx:pt>
          <cx:pt idx="5280">13.1242499999999</cx:pt>
          <cx:pt idx="5281">13.2421799999999</cx:pt>
          <cx:pt idx="5282">13.1242499999999</cx:pt>
          <cx:pt idx="5283">13.1242499999999</cx:pt>
          <cx:pt idx="5284">13.1242499999999</cx:pt>
          <cx:pt idx="5285">13.1242499999999</cx:pt>
          <cx:pt idx="5286">13.1242499999999</cx:pt>
          <cx:pt idx="5287">15.04954</cx:pt>
          <cx:pt idx="5288">18.778979999999901</cx:pt>
          <cx:pt idx="5289">11.625359999999899</cx:pt>
          <cx:pt idx="5290">13.1242499999999</cx:pt>
          <cx:pt idx="5291">13.1242499999999</cx:pt>
          <cx:pt idx="5292">13.1242499999999</cx:pt>
          <cx:pt idx="5293">13.1242499999999</cx:pt>
          <cx:pt idx="5294">13.1242499999999</cx:pt>
          <cx:pt idx="5295">13.1242499999999</cx:pt>
          <cx:pt idx="5296">17.24098</cx:pt>
          <cx:pt idx="5297">15.04954</cx:pt>
          <cx:pt idx="5298">13.1242499999999</cx:pt>
          <cx:pt idx="5299">18.778979999999901</cx:pt>
          <cx:pt idx="5300">28.509069999999898</cx:pt>
          <cx:pt idx="5301">13.1242499999999</cx:pt>
          <cx:pt idx="5302">12.3333599999999</cx:pt>
          <cx:pt idx="5303">11.625359999999899</cx:pt>
          <cx:pt idx="5304">15.04954</cx:pt>
          <cx:pt idx="5305">13.1242499999999</cx:pt>
          <cx:pt idx="5306">13.1242499999999</cx:pt>
          <cx:pt idx="5307">13.1242499999999</cx:pt>
          <cx:pt idx="5308">13.1242499999999</cx:pt>
          <cx:pt idx="5309">13.1242499999999</cx:pt>
          <cx:pt idx="5310">4.3399200000000002</cx:pt>
          <cx:pt idx="5311">11.625359999999899</cx:pt>
          <cx:pt idx="5312">13.1242499999999</cx:pt>
          <cx:pt idx="5313">3.34601999999999</cx:pt>
          <cx:pt idx="5314">13.1242499999999</cx:pt>
          <cx:pt idx="5315">11.625359999999899</cx:pt>
          <cx:pt idx="5316">13.1242499999999</cx:pt>
          <cx:pt idx="5317">15.04954</cx:pt>
          <cx:pt idx="5318">13.1242499999999</cx:pt>
          <cx:pt idx="5319">15.04954</cx:pt>
          <cx:pt idx="5320">15.04954</cx:pt>
          <cx:pt idx="5321">13.1242499999999</cx:pt>
          <cx:pt idx="5322">13.1242499999999</cx:pt>
          <cx:pt idx="5323">13.1242499999999</cx:pt>
          <cx:pt idx="5324">13.1242499999999</cx:pt>
          <cx:pt idx="5325">13.1242499999999</cx:pt>
          <cx:pt idx="5326">13.1242499999999</cx:pt>
          <cx:pt idx="5327">13.1242499999999</cx:pt>
          <cx:pt idx="5328">12.3333599999999</cx:pt>
          <cx:pt idx="5329">15.04954</cx:pt>
          <cx:pt idx="5330">13.1242499999999</cx:pt>
          <cx:pt idx="5331">15.04954</cx:pt>
          <cx:pt idx="5332">11.85798</cx:pt>
          <cx:pt idx="5333">13.1242499999999</cx:pt>
          <cx:pt idx="5334">13.1242499999999</cx:pt>
          <cx:pt idx="5335">13.1242499999999</cx:pt>
          <cx:pt idx="5336">6.8106600000000004</cx:pt>
          <cx:pt idx="5337">11.625359999999899</cx:pt>
          <cx:pt idx="5338">13.1242499999999</cx:pt>
          <cx:pt idx="5339">13.1242499999999</cx:pt>
          <cx:pt idx="5340">15.04954</cx:pt>
          <cx:pt idx="5341">13.1242499999999</cx:pt>
          <cx:pt idx="5342">13.1242499999999</cx:pt>
          <cx:pt idx="5343">39.525770000000001</cx:pt>
          <cx:pt idx="5344">18.009979999999899</cx:pt>
          <cx:pt idx="5345">12.3333599999999</cx:pt>
          <cx:pt idx="5346">5.4309900000000004</cx:pt>
          <cx:pt idx="5347">15.04954</cx:pt>
          <cx:pt idx="5348">15.786539999999999</cx:pt>
          <cx:pt idx="5349">13.1242499999999</cx:pt>
          <cx:pt idx="5350">13.1242499999999</cx:pt>
          <cx:pt idx="5351">13.1242499999999</cx:pt>
          <cx:pt idx="5352">13.1242499999999</cx:pt>
          <cx:pt idx="5353">15.04954</cx:pt>
          <cx:pt idx="5354">13.1242499999999</cx:pt>
          <cx:pt idx="5355">13.1242499999999</cx:pt>
          <cx:pt idx="5356">13.1242499999999</cx:pt>
          <cx:pt idx="5357">13.1242499999999</cx:pt>
          <cx:pt idx="5358">13.1242499999999</cx:pt>
          <cx:pt idx="5359">11.625359999999899</cx:pt>
          <cx:pt idx="5360">13.1242499999999</cx:pt>
          <cx:pt idx="5361">17.24098</cx:pt>
          <cx:pt idx="5362">11.328000000000001</cx:pt>
          <cx:pt idx="5363">9.3201899999999789</cx:pt>
          <cx:pt idx="5364">11.625359999999899</cx:pt>
          <cx:pt idx="5365">13.1242499999999</cx:pt>
          <cx:pt idx="5366">13.1242499999999</cx:pt>
          <cx:pt idx="5367">15.786539999999999</cx:pt>
          <cx:pt idx="5368">13.1242499999999</cx:pt>
          <cx:pt idx="5369">35.495269999999898</cx:pt>
          <cx:pt idx="5370">18.778979999999901</cx:pt>
          <cx:pt idx="5371">18.778979999999901</cx:pt>
          <cx:pt idx="5372">11.625359999999899</cx:pt>
          <cx:pt idx="5373">13.1242499999999</cx:pt>
          <cx:pt idx="5374">17.24098</cx:pt>
          <cx:pt idx="5375">15.786539999999999</cx:pt>
          <cx:pt idx="5376">13.1242499999999</cx:pt>
          <cx:pt idx="5377">13.1242499999999</cx:pt>
          <cx:pt idx="5378">13.1242499999999</cx:pt>
          <cx:pt idx="5379">18.3175799999999</cx:pt>
          <cx:pt idx="5380">13.1242499999999</cx:pt>
          <cx:pt idx="5381">13.1242499999999</cx:pt>
          <cx:pt idx="5382">13.1242499999999</cx:pt>
          <cx:pt idx="5383">13.1242499999999</cx:pt>
          <cx:pt idx="5384">13.1242499999999</cx:pt>
          <cx:pt idx="5385">13.1242499999999</cx:pt>
          <cx:pt idx="5386">11.625359999999899</cx:pt>
          <cx:pt idx="5387">11.625359999999899</cx:pt>
          <cx:pt idx="5388">18.778979999999901</cx:pt>
          <cx:pt idx="5389">13.1242499999999</cx:pt>
          <cx:pt idx="5390">17.24098</cx:pt>
          <cx:pt idx="5391">15.04954</cx:pt>
          <cx:pt idx="5392">13.1242499999999</cx:pt>
          <cx:pt idx="5393">13.1242499999999</cx:pt>
          <cx:pt idx="5394">13.1242499999999</cx:pt>
          <cx:pt idx="5395">13.1242499999999</cx:pt>
          <cx:pt idx="5396">13.1242499999999</cx:pt>
          <cx:pt idx="5397">25.822069999999904</cx:pt>
          <cx:pt idx="5398">13.1242499999999</cx:pt>
          <cx:pt idx="5399">3.81501</cx:pt>
          <cx:pt idx="5400">13.1242499999999</cx:pt>
          <cx:pt idx="5401">15.04954</cx:pt>
          <cx:pt idx="5402">13.1242499999999</cx:pt>
          <cx:pt idx="5403">13.1242499999999</cx:pt>
          <cx:pt idx="5404">35.495269999999898</cx:pt>
          <cx:pt idx="5405">13.1242499999999</cx:pt>
          <cx:pt idx="5406">13.1242499999999</cx:pt>
          <cx:pt idx="5407">13.1242499999999</cx:pt>
          <cx:pt idx="5408">13.1242499999999</cx:pt>
          <cx:pt idx="5409">13.1242499999999</cx:pt>
          <cx:pt idx="5410">40.600569999999706</cx:pt>
          <cx:pt idx="5411">13.1242499999999</cx:pt>
          <cx:pt idx="5412">13.1242499999999</cx:pt>
          <cx:pt idx="5413">18.778979999999901</cx:pt>
          <cx:pt idx="5414">13.1242499999999</cx:pt>
          <cx:pt idx="5415">13.1242499999999</cx:pt>
          <cx:pt idx="5416">13.1242499999999</cx:pt>
          <cx:pt idx="5417">18.778979999999901</cx:pt>
          <cx:pt idx="5418">11.625359999999899</cx:pt>
          <cx:pt idx="5419">11.625359999999899</cx:pt>
          <cx:pt idx="5420">13.1242499999999</cx:pt>
          <cx:pt idx="5421">11.625359999999899</cx:pt>
          <cx:pt idx="5422">13.1242499999999</cx:pt>
          <cx:pt idx="5423">13.1242499999999</cx:pt>
          <cx:pt idx="5424">13.1242499999999</cx:pt>
          <cx:pt idx="5425">13.1242499999999</cx:pt>
          <cx:pt idx="5426">13.1242499999999</cx:pt>
          <cx:pt idx="5427">11.625359999999899</cx:pt>
          <cx:pt idx="5428">13.1242499999999</cx:pt>
          <cx:pt idx="5429">13.1242499999999</cx:pt>
          <cx:pt idx="5430">15.04954</cx:pt>
          <cx:pt idx="5431">11.625359999999899</cx:pt>
          <cx:pt idx="5432">13.1242499999999</cx:pt>
          <cx:pt idx="5433">13.1242499999999</cx:pt>
          <cx:pt idx="5434">13.1242499999999</cx:pt>
          <cx:pt idx="5435">13.1242499999999</cx:pt>
          <cx:pt idx="5436">11.625359999999899</cx:pt>
          <cx:pt idx="5437">15.491739999999901</cx:pt>
          <cx:pt idx="5438">13.1242499999999</cx:pt>
          <cx:pt idx="5439">11.625359999999899</cx:pt>
          <cx:pt idx="5440">14.8873999999999</cx:pt>
          <cx:pt idx="5441">17.24098</cx:pt>
          <cx:pt idx="5442">11.625359999999899</cx:pt>
          <cx:pt idx="5443">13.1242499999999</cx:pt>
          <cx:pt idx="5444">11.625359999999899</cx:pt>
          <cx:pt idx="5445">13.1242499999999</cx:pt>
          <cx:pt idx="5446">11.625359999999899</cx:pt>
          <cx:pt idx="5447">13.1242499999999</cx:pt>
          <cx:pt idx="5448">40.600569999999706</cx:pt>
          <cx:pt idx="5449">13.1242499999999</cx:pt>
          <cx:pt idx="5450">13.1242499999999</cx:pt>
          <cx:pt idx="5451">14.472579999999899</cx:pt>
          <cx:pt idx="5452">13.1242499999999</cx:pt>
          <cx:pt idx="5453">15.04954</cx:pt>
          <cx:pt idx="5454">13.1242499999999</cx:pt>
          <cx:pt idx="5455">13.1242499999999</cx:pt>
          <cx:pt idx="5456">13.1242499999999</cx:pt>
          <cx:pt idx="5457">13.1242499999999</cx:pt>
          <cx:pt idx="5458">13.1242499999999</cx:pt>
          <cx:pt idx="5459">13.1242499999999</cx:pt>
          <cx:pt idx="5460">15.04954</cx:pt>
          <cx:pt idx="5461">15.04954</cx:pt>
          <cx:pt idx="5462">13.1242499999999</cx:pt>
          <cx:pt idx="5463">5.63729999999999</cx:pt>
          <cx:pt idx="5464">5.89949999999999</cx:pt>
          <cx:pt idx="5465">13.1242499999999</cx:pt>
          <cx:pt idx="5466">13.1242499999999</cx:pt>
          <cx:pt idx="5467">13.1242499999999</cx:pt>
          <cx:pt idx="5468">15.04954</cx:pt>
          <cx:pt idx="5469">13.1242499999999</cx:pt>
          <cx:pt idx="5470">35.495269999999898</cx:pt>
          <cx:pt idx="5471">13.1242499999999</cx:pt>
          <cx:pt idx="5472">13.1242499999999</cx:pt>
          <cx:pt idx="5473">13.1242499999999</cx:pt>
          <cx:pt idx="5474">13.1242499999999</cx:pt>
          <cx:pt idx="5475">11.625359999999899</cx:pt>
          <cx:pt idx="5476">13.1242499999999</cx:pt>
          <cx:pt idx="5477">15.04954</cx:pt>
          <cx:pt idx="5478">13.1242499999999</cx:pt>
          <cx:pt idx="5479">11.625359999999899</cx:pt>
          <cx:pt idx="5480">13.1242499999999</cx:pt>
          <cx:pt idx="5481">18.778979999999901</cx:pt>
          <cx:pt idx="5482">13.1242499999999</cx:pt>
          <cx:pt idx="5483">13.1242499999999</cx:pt>
          <cx:pt idx="5484">11.625359999999899</cx:pt>
          <cx:pt idx="5485">15.04954</cx:pt>
          <cx:pt idx="5486">11.625359999999899</cx:pt>
          <cx:pt idx="5487">13.1242499999999</cx:pt>
          <cx:pt idx="5488">13.1242499999999</cx:pt>
          <cx:pt idx="5489">13.1242499999999</cx:pt>
          <cx:pt idx="5490">13.1242499999999</cx:pt>
          <cx:pt idx="5491">13.1242499999999</cx:pt>
          <cx:pt idx="5492">13.881599999999999</cx:pt>
          <cx:pt idx="5493">13.1242499999999</cx:pt>
          <cx:pt idx="5494">13.1242499999999</cx:pt>
          <cx:pt idx="5495">13.1242499999999</cx:pt>
          <cx:pt idx="5496">13.1242499999999</cx:pt>
          <cx:pt idx="5497">13.1242499999999</cx:pt>
          <cx:pt idx="5498">13.1242499999999</cx:pt>
          <cx:pt idx="5499">13.1242499999999</cx:pt>
          <cx:pt idx="5500">13.1242499999999</cx:pt>
          <cx:pt idx="5501">4.20472</cx:pt>
          <cx:pt idx="5502">13.1242499999999</cx:pt>
          <cx:pt idx="5503">13.1242499999999</cx:pt>
          <cx:pt idx="5504">28.240369999999999</cx:pt>
          <cx:pt idx="5505">13.1242499999999</cx:pt>
          <cx:pt idx="5506">13.1242499999999</cx:pt>
          <cx:pt idx="5507">13.1242499999999</cx:pt>
          <cx:pt idx="5508">13.1242499999999</cx:pt>
          <cx:pt idx="5509">13.1242499999999</cx:pt>
          <cx:pt idx="5510">13.1242499999999</cx:pt>
          <cx:pt idx="5511">13.1242499999999</cx:pt>
          <cx:pt idx="5512">13.1242499999999</cx:pt>
          <cx:pt idx="5513">13.1242499999999</cx:pt>
          <cx:pt idx="5514">13.1242499999999</cx:pt>
          <cx:pt idx="5515">11.625359999999899</cx:pt>
          <cx:pt idx="5516">13.1242499999999</cx:pt>
          <cx:pt idx="5517">13.1242499999999</cx:pt>
          <cx:pt idx="5518">18.778979999999901</cx:pt>
          <cx:pt idx="5519">13.1242499999999</cx:pt>
          <cx:pt idx="5520">13.1242499999999</cx:pt>
          <cx:pt idx="5521">3.81501</cx:pt>
          <cx:pt idx="5522">13.1242499999999</cx:pt>
          <cx:pt idx="5523">13.1242499999999</cx:pt>
          <cx:pt idx="5524">15.786539999999999</cx:pt>
          <cx:pt idx="5525">13.1242499999999</cx:pt>
          <cx:pt idx="5526">13.1242499999999</cx:pt>
          <cx:pt idx="5527">13.1242499999999</cx:pt>
          <cx:pt idx="5528">13.1242499999999</cx:pt>
          <cx:pt idx="5529">13.1242499999999</cx:pt>
          <cx:pt idx="5530">13.1242499999999</cx:pt>
          <cx:pt idx="5531">13.1242499999999</cx:pt>
          <cx:pt idx="5532">13.1242499999999</cx:pt>
          <cx:pt idx="5533">13.1242499999999</cx:pt>
          <cx:pt idx="5534">13.1242499999999</cx:pt>
          <cx:pt idx="5535">13.1242499999999</cx:pt>
          <cx:pt idx="5536">13.1242499999999</cx:pt>
          <cx:pt idx="5537">15.786539999999999</cx:pt>
          <cx:pt idx="5538">13.1242499999999</cx:pt>
          <cx:pt idx="5539">13.1242499999999</cx:pt>
          <cx:pt idx="5540">12.3333599999999</cx:pt>
          <cx:pt idx="5541">13.1242499999999</cx:pt>
          <cx:pt idx="5542">13.1242499999999</cx:pt>
          <cx:pt idx="5543">13.1242499999999</cx:pt>
          <cx:pt idx="5544">13.1242499999999</cx:pt>
          <cx:pt idx="5545">13.1242499999999</cx:pt>
          <cx:pt idx="5546">13.1242499999999</cx:pt>
          <cx:pt idx="5547">13.1242499999999</cx:pt>
          <cx:pt idx="5548">13.1242499999999</cx:pt>
          <cx:pt idx="5549">13.1242499999999</cx:pt>
          <cx:pt idx="5550">11.625359999999899</cx:pt>
          <cx:pt idx="5551">13.1242499999999</cx:pt>
          <cx:pt idx="5552">13.1242499999999</cx:pt>
          <cx:pt idx="5553">4.3588000000000005</cx:pt>
          <cx:pt idx="5554">13.1242499999999</cx:pt>
          <cx:pt idx="5555">13.1242499999999</cx:pt>
          <cx:pt idx="5556">13.1242499999999</cx:pt>
          <cx:pt idx="5557">13.1242499999999</cx:pt>
          <cx:pt idx="5558">13.1242499999999</cx:pt>
          <cx:pt idx="5559">13.1242499999999</cx:pt>
          <cx:pt idx="5560">13.1242499999999</cx:pt>
          <cx:pt idx="5561">13.1242499999999</cx:pt>
          <cx:pt idx="5562">15.786539999999999</cx:pt>
          <cx:pt idx="5563">13.1242499999999</cx:pt>
          <cx:pt idx="5564">11.625359999999899</cx:pt>
          <cx:pt idx="5565">18.778979999999901</cx:pt>
          <cx:pt idx="5566">13.1242499999999</cx:pt>
          <cx:pt idx="5567">13.1242499999999</cx:pt>
          <cx:pt idx="5568">13.1242499999999</cx:pt>
          <cx:pt idx="5569">13.1242499999999</cx:pt>
          <cx:pt idx="5570">11.625359999999899</cx:pt>
          <cx:pt idx="5571">13.1242499999999</cx:pt>
          <cx:pt idx="5572">13.1242499999999</cx:pt>
          <cx:pt idx="5573">13.1242499999999</cx:pt>
          <cx:pt idx="5574">15.04954</cx:pt>
          <cx:pt idx="5575">13.1242499999999</cx:pt>
          <cx:pt idx="5576">12.3333599999999</cx:pt>
          <cx:pt idx="5577">13.1242499999999</cx:pt>
          <cx:pt idx="5578">13.1242499999999</cx:pt>
          <cx:pt idx="5579">13.1242499999999</cx:pt>
          <cx:pt idx="5580">11.625359999999899</cx:pt>
          <cx:pt idx="5581">13.1242499999999</cx:pt>
          <cx:pt idx="5582">13.1242499999999</cx:pt>
          <cx:pt idx="5583">13.1242499999999</cx:pt>
          <cx:pt idx="5584">13.1242499999999</cx:pt>
          <cx:pt idx="5585">13.1242499999999</cx:pt>
          <cx:pt idx="5586">13.1242499999999</cx:pt>
          <cx:pt idx="5587">11.625359999999899</cx:pt>
          <cx:pt idx="5588">11.625359999999899</cx:pt>
          <cx:pt idx="5589">13.1242499999999</cx:pt>
          <cx:pt idx="5590">18.778979999999901</cx:pt>
          <cx:pt idx="5591">13.1242499999999</cx:pt>
          <cx:pt idx="5592">13.1242499999999</cx:pt>
          <cx:pt idx="5593">13.1242499999999</cx:pt>
          <cx:pt idx="5594">13.1242499999999</cx:pt>
          <cx:pt idx="5595">3.68391</cx:pt>
          <cx:pt idx="5596">13.1242499999999</cx:pt>
          <cx:pt idx="5597">9.44834</cx:pt>
          <cx:pt idx="5598">13.1242499999999</cx:pt>
          <cx:pt idx="5599">12.3333599999999</cx:pt>
          <cx:pt idx="5600">13.1242499999999</cx:pt>
          <cx:pt idx="5601">13.1242499999999</cx:pt>
          <cx:pt idx="5602">13.1242499999999</cx:pt>
          <cx:pt idx="5603">13.1242499999999</cx:pt>
          <cx:pt idx="5604">13.1242499999999</cx:pt>
          <cx:pt idx="5605">13.1242499999999</cx:pt>
          <cx:pt idx="5606">13.1242499999999</cx:pt>
          <cx:pt idx="5607">11.625359999999899</cx:pt>
          <cx:pt idx="5608">17.24098</cx:pt>
          <cx:pt idx="5609">13.1242499999999</cx:pt>
          <cx:pt idx="5610">13.1242499999999</cx:pt>
          <cx:pt idx="5611">13.1242499999999</cx:pt>
          <cx:pt idx="5612">13.1242499999999</cx:pt>
          <cx:pt idx="5613">13.1242499999999</cx:pt>
          <cx:pt idx="5614">13.1242499999999</cx:pt>
          <cx:pt idx="5615">13.1242499999999</cx:pt>
          <cx:pt idx="5616">13.1242499999999</cx:pt>
          <cx:pt idx="5617">13.1242499999999</cx:pt>
          <cx:pt idx="5618">13.1242499999999</cx:pt>
          <cx:pt idx="5619">13.1242499999999</cx:pt>
          <cx:pt idx="5620">13.1242499999999</cx:pt>
          <cx:pt idx="5621">13.1242499999999</cx:pt>
          <cx:pt idx="5622">38.182270000000003</cx:pt>
          <cx:pt idx="5623">13.1242499999999</cx:pt>
          <cx:pt idx="5624">13.1242499999999</cx:pt>
          <cx:pt idx="5625">13.1242499999999</cx:pt>
          <cx:pt idx="5626">13.1242499999999</cx:pt>
          <cx:pt idx="5627">17.24098</cx:pt>
          <cx:pt idx="5628">13.1242499999999</cx:pt>
          <cx:pt idx="5629">13.1242499999999</cx:pt>
          <cx:pt idx="5630">15.04954</cx:pt>
          <cx:pt idx="5631">13.1242499999999</cx:pt>
          <cx:pt idx="5632">46.243269999999995</cx:pt>
          <cx:pt idx="5633">13.1242499999999</cx:pt>
          <cx:pt idx="5634">13.1242499999999</cx:pt>
          <cx:pt idx="5635">13.1242499999999</cx:pt>
          <cx:pt idx="5636">11.625359999999899</cx:pt>
          <cx:pt idx="5637">13.1242499999999</cx:pt>
          <cx:pt idx="5638">13.1242499999999</cx:pt>
          <cx:pt idx="5639">13.1242499999999</cx:pt>
          <cx:pt idx="5640">13.1242499999999</cx:pt>
          <cx:pt idx="5641">13.1242499999999</cx:pt>
          <cx:pt idx="5642">13.1242499999999</cx:pt>
          <cx:pt idx="5643">13.1242499999999</cx:pt>
          <cx:pt idx="5644">13.1242499999999</cx:pt>
          <cx:pt idx="5645">13.1242499999999</cx:pt>
          <cx:pt idx="5646">18.778979999999901</cx:pt>
          <cx:pt idx="5647">7.7063999999999995</cx:pt>
          <cx:pt idx="5648">28.509069999999898</cx:pt>
          <cx:pt idx="5649">13.1242499999999</cx:pt>
          <cx:pt idx="5650">40.86927</cx:pt>
          <cx:pt idx="5651">11.625359999999899</cx:pt>
          <cx:pt idx="5652">34.930999999999997</cx:pt>
          <cx:pt idx="5653">11.625359999999899</cx:pt>
          <cx:pt idx="5654">13.1242499999999</cx:pt>
          <cx:pt idx="5655">17.24098</cx:pt>
          <cx:pt idx="5656">13.1242499999999</cx:pt>
          <cx:pt idx="5657">13.1242499999999</cx:pt>
          <cx:pt idx="5658">11.625359999999899</cx:pt>
          <cx:pt idx="5659">13.1242499999999</cx:pt>
          <cx:pt idx="5660">13.1242499999999</cx:pt>
          <cx:pt idx="5661">13.1242499999999</cx:pt>
          <cx:pt idx="5662">13.1242499999999</cx:pt>
          <cx:pt idx="5663">11.625359999999899</cx:pt>
          <cx:pt idx="5664">5.9613599999999902</cx:pt>
          <cx:pt idx="5665">13.1242499999999</cx:pt>
          <cx:pt idx="5666">11.625359999999899</cx:pt>
          <cx:pt idx="5667">13.1242499999999</cx:pt>
          <cx:pt idx="5668">13.1242499999999</cx:pt>
          <cx:pt idx="5669">13.1242499999999</cx:pt>
          <cx:pt idx="5670">13.1242499999999</cx:pt>
          <cx:pt idx="5671">15.04954</cx:pt>
          <cx:pt idx="5672">13.1242499999999</cx:pt>
          <cx:pt idx="5673">11.625359999999899</cx:pt>
          <cx:pt idx="5674">15.04954</cx:pt>
          <cx:pt idx="5675">28.777769999999904</cx:pt>
          <cx:pt idx="5676">13.1242499999999</cx:pt>
          <cx:pt idx="5677">13.1242499999999</cx:pt>
          <cx:pt idx="5678">13.1242499999999</cx:pt>
          <cx:pt idx="5679">13.1242499999999</cx:pt>
          <cx:pt idx="5680">13.1242499999999</cx:pt>
          <cx:pt idx="5681">13.1242499999999</cx:pt>
          <cx:pt idx="5682">13.1242499999999</cx:pt>
          <cx:pt idx="5683">17.24098</cx:pt>
          <cx:pt idx="5684">13.1242499999999</cx:pt>
          <cx:pt idx="5685">13.1242499999999</cx:pt>
          <cx:pt idx="5686">13.1242499999999</cx:pt>
          <cx:pt idx="5687">12.3333599999999</cx:pt>
          <cx:pt idx="5688">11.625359999999899</cx:pt>
          <cx:pt idx="5689">18.778979999999901</cx:pt>
          <cx:pt idx="5690">4.3399200000000002</cx:pt>
          <cx:pt idx="5691">13.1242499999999</cx:pt>
          <cx:pt idx="5692">11.625359999999899</cx:pt>
          <cx:pt idx="5693">13.1242499999999</cx:pt>
          <cx:pt idx="5694">11.625359999999899</cx:pt>
          <cx:pt idx="5695">15.04954</cx:pt>
          <cx:pt idx="5696">13.1242499999999</cx:pt>
          <cx:pt idx="5697">11.625359999999899</cx:pt>
          <cx:pt idx="5698">13.1242499999999</cx:pt>
          <cx:pt idx="5699">13.1242499999999</cx:pt>
          <cx:pt idx="5700">11.625359999999899</cx:pt>
          <cx:pt idx="5701">13.1242499999999</cx:pt>
          <cx:pt idx="5702">13.1242499999999</cx:pt>
          <cx:pt idx="5703">13.1242499999999</cx:pt>
          <cx:pt idx="5704">13.1242499999999</cx:pt>
          <cx:pt idx="5705">13.1242499999999</cx:pt>
          <cx:pt idx="5706">13.1242499999999</cx:pt>
          <cx:pt idx="5707">13.1242499999999</cx:pt>
          <cx:pt idx="5708">13.1242499999999</cx:pt>
          <cx:pt idx="5709">11.625359999999899</cx:pt>
          <cx:pt idx="5710">13.1242499999999</cx:pt>
          <cx:pt idx="5711">12.3333599999999</cx:pt>
          <cx:pt idx="5712">11.625359999999899</cx:pt>
          <cx:pt idx="5713">13.1242499999999</cx:pt>
          <cx:pt idx="5714">13.1242499999999</cx:pt>
          <cx:pt idx="5715">17.24098</cx:pt>
          <cx:pt idx="5716">13.1242499999999</cx:pt>
          <cx:pt idx="5717">11.625359999999899</cx:pt>
          <cx:pt idx="5718">13.1242499999999</cx:pt>
          <cx:pt idx="5719">13.1242499999999</cx:pt>
          <cx:pt idx="5720">11.625359999999899</cx:pt>
          <cx:pt idx="5721">45.141599999999997</cx:pt>
          <cx:pt idx="5722">15.04954</cx:pt>
          <cx:pt idx="5723">16.779579999999999</cx:pt>
          <cx:pt idx="5724">13.1242499999999</cx:pt>
          <cx:pt idx="5725">11.625359999999899</cx:pt>
          <cx:pt idx="5726">13.1242499999999</cx:pt>
          <cx:pt idx="5727">13.1242499999999</cx:pt>
          <cx:pt idx="5728">13.1242499999999</cx:pt>
          <cx:pt idx="5729">13.1242499999999</cx:pt>
          <cx:pt idx="5730">13.1242499999999</cx:pt>
          <cx:pt idx="5731">13.1242499999999</cx:pt>
          <cx:pt idx="5732">11.625359999999899</cx:pt>
          <cx:pt idx="5733">11.625359999999899</cx:pt>
          <cx:pt idx="5734">11.625359999999899</cx:pt>
          <cx:pt idx="5735">13.1242499999999</cx:pt>
          <cx:pt idx="5736">13.1242499999999</cx:pt>
          <cx:pt idx="5737">12.3333599999999</cx:pt>
          <cx:pt idx="5738">13.1242499999999</cx:pt>
          <cx:pt idx="5739">13.1242499999999</cx:pt>
          <cx:pt idx="5740">18.778979999999901</cx:pt>
          <cx:pt idx="5741">13.1242499999999</cx:pt>
          <cx:pt idx="5742">11.625359999999899</cx:pt>
          <cx:pt idx="5743">13.1242499999999</cx:pt>
          <cx:pt idx="5744">11.625359999999899</cx:pt>
          <cx:pt idx="5745">13.1242499999999</cx:pt>
          <cx:pt idx="5746">13.1242499999999</cx:pt>
          <cx:pt idx="5747">11.625359999999899</cx:pt>
          <cx:pt idx="5748">10.92234</cx:pt>
          <cx:pt idx="5749">12.0117799999999</cx:pt>
          <cx:pt idx="5750">15.04954</cx:pt>
          <cx:pt idx="5751">13.1242499999999</cx:pt>
          <cx:pt idx="5752">13.1242499999999</cx:pt>
          <cx:pt idx="5753">13.1242499999999</cx:pt>
          <cx:pt idx="5754">13.1242499999999</cx:pt>
          <cx:pt idx="5755">13.1242499999999</cx:pt>
          <cx:pt idx="5756">13.1242499999999</cx:pt>
          <cx:pt idx="5757">13.1242499999999</cx:pt>
          <cx:pt idx="5758">15.04954</cx:pt>
          <cx:pt idx="5759">13.1242499999999</cx:pt>
          <cx:pt idx="5760">13.1242499999999</cx:pt>
          <cx:pt idx="5761">13.1242499999999</cx:pt>
          <cx:pt idx="5762">13.1242499999999</cx:pt>
          <cx:pt idx="5763">13.1242499999999</cx:pt>
          <cx:pt idx="5764">11.625359999999899</cx:pt>
          <cx:pt idx="5765">13.1242499999999</cx:pt>
          <cx:pt idx="5766">13.1242499999999</cx:pt>
          <cx:pt idx="5767">13.1242499999999</cx:pt>
          <cx:pt idx="5768">13.1242499999999</cx:pt>
          <cx:pt idx="5769">17.24098</cx:pt>
          <cx:pt idx="5770">15.04954</cx:pt>
          <cx:pt idx="5771">13.1242499999999</cx:pt>
          <cx:pt idx="5772">13.1242499999999</cx:pt>
          <cx:pt idx="5773">13.1242499999999</cx:pt>
          <cx:pt idx="5774">13.1242499999999</cx:pt>
          <cx:pt idx="5775">11.625359999999899</cx:pt>
          <cx:pt idx="5776">13.1242499999999</cx:pt>
          <cx:pt idx="5777">10.7091899999999</cx:pt>
          <cx:pt idx="5778">13.1242499999999</cx:pt>
          <cx:pt idx="5779">13.1242499999999</cx:pt>
          <cx:pt idx="5780">13.1242499999999</cx:pt>
          <cx:pt idx="5781">13.1242499999999</cx:pt>
          <cx:pt idx="5782">13.1242499999999</cx:pt>
          <cx:pt idx="5783">13.1242499999999</cx:pt>
          <cx:pt idx="5784">13.1242499999999</cx:pt>
          <cx:pt idx="5785">13.1242499999999</cx:pt>
          <cx:pt idx="5786">11.625359999999899</cx:pt>
          <cx:pt idx="5787">17.24098</cx:pt>
          <cx:pt idx="5788">11.625359999999899</cx:pt>
          <cx:pt idx="5789">13.1242499999999</cx:pt>
          <cx:pt idx="5790">11.625359999999899</cx:pt>
          <cx:pt idx="5791">13.1242499999999</cx:pt>
          <cx:pt idx="5792">13.1242499999999</cx:pt>
          <cx:pt idx="5793">13.1242499999999</cx:pt>
          <cx:pt idx="5794">13.1242499999999</cx:pt>
          <cx:pt idx="5795">13.1242499999999</cx:pt>
          <cx:pt idx="5796">5.8197600000000005</cx:pt>
          <cx:pt idx="5797">13.1242499999999</cx:pt>
          <cx:pt idx="5798">13.1242499999999</cx:pt>
          <cx:pt idx="5799">11.625359999999899</cx:pt>
          <cx:pt idx="5800">13.1242499999999</cx:pt>
          <cx:pt idx="5801">13.1242499999999</cx:pt>
          <cx:pt idx="5802">12.3333599999999</cx:pt>
          <cx:pt idx="5803">13.1242499999999</cx:pt>
          <cx:pt idx="5804">5.4309900000000004</cx:pt>
          <cx:pt idx="5805">13.1242499999999</cx:pt>
          <cx:pt idx="5806">11.625359999999899</cx:pt>
          <cx:pt idx="5807">13.1242499999999</cx:pt>
          <cx:pt idx="5808">13.1242499999999</cx:pt>
          <cx:pt idx="5809">13.1242499999999</cx:pt>
          <cx:pt idx="5810">13.1242499999999</cx:pt>
          <cx:pt idx="5811">11.625359999999899</cx:pt>
          <cx:pt idx="5812">12.3333599999999</cx:pt>
          <cx:pt idx="5813">13.1242499999999</cx:pt>
          <cx:pt idx="5814">13.1242499999999</cx:pt>
          <cx:pt idx="5815">13.1242499999999</cx:pt>
          <cx:pt idx="5816">15.04954</cx:pt>
          <cx:pt idx="5817">13.1242499999999</cx:pt>
          <cx:pt idx="5818">13.1242499999999</cx:pt>
          <cx:pt idx="5819">13.1242499999999</cx:pt>
          <cx:pt idx="5820">11.625359999999899</cx:pt>
          <cx:pt idx="5821">13.1242499999999</cx:pt>
          <cx:pt idx="5822">13.1242499999999</cx:pt>
          <cx:pt idx="5823">13.1242499999999</cx:pt>
          <cx:pt idx="5824">13.1242499999999</cx:pt>
          <cx:pt idx="5825">13.1242499999999</cx:pt>
          <cx:pt idx="5826">13.1242499999999</cx:pt>
          <cx:pt idx="5827">11.625359999999899</cx:pt>
          <cx:pt idx="5828">11.625359999999899</cx:pt>
          <cx:pt idx="5829">13.1242499999999</cx:pt>
          <cx:pt idx="5830">13.1242499999999</cx:pt>
          <cx:pt idx="5831">11.625359999999899</cx:pt>
          <cx:pt idx="5832">13.1242499999999</cx:pt>
          <cx:pt idx="5833">13.1242499999999</cx:pt>
          <cx:pt idx="5834">11.625359999999899</cx:pt>
          <cx:pt idx="5835">14.75474</cx:pt>
          <cx:pt idx="5836">13.1242499999999</cx:pt>
          <cx:pt idx="5837">13.1242499999999</cx:pt>
          <cx:pt idx="5838">6.1616999999999997</cx:pt>
          <cx:pt idx="5839">13.1242499999999</cx:pt>
          <cx:pt idx="5840">13.1242499999999</cx:pt>
          <cx:pt idx="5841">13.1242499999999</cx:pt>
          <cx:pt idx="5842">11.625359999999899</cx:pt>
          <cx:pt idx="5843">1.16662</cx:pt>
          <cx:pt idx="5844">13.1242499999999</cx:pt>
          <cx:pt idx="5845">13.1242499999999</cx:pt>
          <cx:pt idx="5846">11.625359999999899</cx:pt>
          <cx:pt idx="5847">13.1242499999999</cx:pt>
          <cx:pt idx="5848">48.097299999999699</cx:pt>
          <cx:pt idx="5849">13.1242499999999</cx:pt>
          <cx:pt idx="5850">13.1242499999999</cx:pt>
          <cx:pt idx="5851">13.1242499999999</cx:pt>
          <cx:pt idx="5852">13.1242499999999</cx:pt>
          <cx:pt idx="5853">13.1242499999999</cx:pt>
          <cx:pt idx="5854">13.1242499999999</cx:pt>
          <cx:pt idx="5855">13.1242499999999</cx:pt>
          <cx:pt idx="5856">3.68391</cx:pt>
          <cx:pt idx="5857">13.1242499999999</cx:pt>
          <cx:pt idx="5858">11.625359999999899</cx:pt>
          <cx:pt idx="5859">37.913569999999702</cx:pt>
          <cx:pt idx="5860">13.1242499999999</cx:pt>
          <cx:pt idx="5861">13.1242499999999</cx:pt>
          <cx:pt idx="5862">11.625359999999899</cx:pt>
          <cx:pt idx="5863">13.1242499999999</cx:pt>
          <cx:pt idx="5864">13.1242499999999</cx:pt>
          <cx:pt idx="5865">13.1242499999999</cx:pt>
          <cx:pt idx="5866">13.1242499999999</cx:pt>
          <cx:pt idx="5867">13.1242499999999</cx:pt>
          <cx:pt idx="5868">13.1242499999999</cx:pt>
          <cx:pt idx="5869">15.786539999999999</cx:pt>
          <cx:pt idx="5870">13.1242499999999</cx:pt>
          <cx:pt idx="5871">15.04954</cx:pt>
          <cx:pt idx="5872">13.1242499999999</cx:pt>
          <cx:pt idx="5873">13.1242499999999</cx:pt>
          <cx:pt idx="5874">13.1242499999999</cx:pt>
          <cx:pt idx="5875">13.1242499999999</cx:pt>
          <cx:pt idx="5876">11.625359999999899</cx:pt>
          <cx:pt idx="5877">10.92234</cx:pt>
          <cx:pt idx="5878">13.1242499999999</cx:pt>
          <cx:pt idx="5879">13.1242499999999</cx:pt>
          <cx:pt idx="5880">13.1242499999999</cx:pt>
          <cx:pt idx="5881">13.1242499999999</cx:pt>
          <cx:pt idx="5882">13.1242499999999</cx:pt>
          <cx:pt idx="5883">13.1242499999999</cx:pt>
          <cx:pt idx="5884">13.1242499999999</cx:pt>
          <cx:pt idx="5885">13.1242499999999</cx:pt>
          <cx:pt idx="5886">13.1242499999999</cx:pt>
          <cx:pt idx="5887">13.1242499999999</cx:pt>
          <cx:pt idx="5888">13.1242499999999</cx:pt>
          <cx:pt idx="5889">13.1242499999999</cx:pt>
          <cx:pt idx="5890">13.1242499999999</cx:pt>
          <cx:pt idx="5891">13.1242499999999</cx:pt>
          <cx:pt idx="5892">13.1242499999999</cx:pt>
          <cx:pt idx="5893">13.1242499999999</cx:pt>
          <cx:pt idx="5894">13.1242499999999</cx:pt>
          <cx:pt idx="5895">13.1242499999999</cx:pt>
          <cx:pt idx="5896">11.625359999999899</cx:pt>
          <cx:pt idx="5897">12.3333599999999</cx:pt>
          <cx:pt idx="5898">13.1242499999999</cx:pt>
          <cx:pt idx="5899">13.1242499999999</cx:pt>
          <cx:pt idx="5900">13.1242499999999</cx:pt>
          <cx:pt idx="5901">13.1242499999999</cx:pt>
          <cx:pt idx="5902">13.1242499999999</cx:pt>
          <cx:pt idx="5903">18.009979999999899</cx:pt>
          <cx:pt idx="5904">13.1242499999999</cx:pt>
          <cx:pt idx="5905">13.1242499999999</cx:pt>
          <cx:pt idx="5906">13.1242499999999</cx:pt>
          <cx:pt idx="5907">13.1242499999999</cx:pt>
          <cx:pt idx="5908">11.625359999999899</cx:pt>
          <cx:pt idx="5909">13.1242499999999</cx:pt>
          <cx:pt idx="5910">15.04954</cx:pt>
          <cx:pt idx="5911">13.1242499999999</cx:pt>
          <cx:pt idx="5912">13.1242499999999</cx:pt>
          <cx:pt idx="5913">13.1242499999999</cx:pt>
          <cx:pt idx="5914">13.1242499999999</cx:pt>
          <cx:pt idx="5915">13.1242499999999</cx:pt>
          <cx:pt idx="5916">15.786539999999999</cx:pt>
          <cx:pt idx="5917">13.1242499999999</cx:pt>
          <cx:pt idx="5918">13.1242499999999</cx:pt>
          <cx:pt idx="5919">13.1242499999999</cx:pt>
          <cx:pt idx="5920">11.625359999999899</cx:pt>
          <cx:pt idx="5921">38.182270000000003</cx:pt>
          <cx:pt idx="5922">13.1242499999999</cx:pt>
          <cx:pt idx="5923">13.1242499999999</cx:pt>
          <cx:pt idx="5924">13.1242499999999</cx:pt>
          <cx:pt idx="5925">11.625359999999899</cx:pt>
          <cx:pt idx="5926">13.1242499999999</cx:pt>
          <cx:pt idx="5927">13.1242499999999</cx:pt>
          <cx:pt idx="5928">11.625359999999899</cx:pt>
          <cx:pt idx="5929">18.778979999999901</cx:pt>
          <cx:pt idx="5930">15.786539999999999</cx:pt>
          <cx:pt idx="5931">13.1242499999999</cx:pt>
          <cx:pt idx="5932">13.1242499999999</cx:pt>
          <cx:pt idx="5933">13.1242499999999</cx:pt>
          <cx:pt idx="5934">5.7683999999999997</cx:pt>
          <cx:pt idx="5935">17.24098</cx:pt>
          <cx:pt idx="5936">13.1242499999999</cx:pt>
          <cx:pt idx="5937">13.1242499999999</cx:pt>
          <cx:pt idx="5938">13.1242499999999</cx:pt>
          <cx:pt idx="5939">13.1242499999999</cx:pt>
          <cx:pt idx="5940">1.9358199999999999</cx:pt>
          <cx:pt idx="5941">13.1242499999999</cx:pt>
          <cx:pt idx="5942">13.1242499999999</cx:pt>
          <cx:pt idx="5943">13.1242499999999</cx:pt>
          <cx:pt idx="5944">13.1242499999999</cx:pt>
          <cx:pt idx="5945">13.1242499999999</cx:pt>
          <cx:pt idx="5946">13.1242499999999</cx:pt>
          <cx:pt idx="5947">13.1242499999999</cx:pt>
          <cx:pt idx="5948">13.1242499999999</cx:pt>
          <cx:pt idx="5949">13.1242499999999</cx:pt>
          <cx:pt idx="5950">13.1242499999999</cx:pt>
          <cx:pt idx="5951">14.0406599999999</cx:pt>
          <cx:pt idx="5952">13.1242499999999</cx:pt>
          <cx:pt idx="5953">17.24098</cx:pt>
          <cx:pt idx="5954">9.3201899999999895</cx:pt>
          <cx:pt idx="5955">13.1242499999999</cx:pt>
          <cx:pt idx="5956">13.1242499999999</cx:pt>
          <cx:pt idx="5957">13.1242499999999</cx:pt>
          <cx:pt idx="5958">13.1242499999999</cx:pt>
          <cx:pt idx="5959">13.1242499999999</cx:pt>
          <cx:pt idx="5960">11.625359999999899</cx:pt>
          <cx:pt idx="5961">13.1242499999999</cx:pt>
          <cx:pt idx="5962">13.1242499999999</cx:pt>
          <cx:pt idx="5963">11.625359999999899</cx:pt>
          <cx:pt idx="5964">11.625359999999899</cx:pt>
          <cx:pt idx="5965">13.1242499999999</cx:pt>
          <cx:pt idx="5966">13.1242499999999</cx:pt>
          <cx:pt idx="5967">13.1242499999999</cx:pt>
          <cx:pt idx="5968">13.1242499999999</cx:pt>
          <cx:pt idx="5969">15.04954</cx:pt>
          <cx:pt idx="5970">11.625359999999899</cx:pt>
          <cx:pt idx="5971">13.1242499999999</cx:pt>
          <cx:pt idx="5972">13.1242499999999</cx:pt>
          <cx:pt idx="5973">13.1242499999999</cx:pt>
          <cx:pt idx="5974">15.04954</cx:pt>
          <cx:pt idx="5975">18.778979999999901</cx:pt>
          <cx:pt idx="5976">13.606859999999902</cx:pt>
          <cx:pt idx="5977">13.1242499999999</cx:pt>
          <cx:pt idx="5978">13.1242499999999</cx:pt>
          <cx:pt idx="5979">13.1242499999999</cx:pt>
          <cx:pt idx="5980">13.1242499999999</cx:pt>
          <cx:pt idx="5981">11.625359999999899</cx:pt>
          <cx:pt idx="5982">13.1242499999999</cx:pt>
          <cx:pt idx="5983">37.913569999999702</cx:pt>
          <cx:pt idx="5984">13.1242499999999</cx:pt>
          <cx:pt idx="5985">4.7562199999999999</cx:pt>
          <cx:pt idx="5986">15.04954</cx:pt>
          <cx:pt idx="5987">13.1242499999999</cx:pt>
          <cx:pt idx="5988">17.24098</cx:pt>
          <cx:pt idx="5989">13.1242499999999</cx:pt>
          <cx:pt idx="5990">13.1242499999999</cx:pt>
          <cx:pt idx="5991">13.1242499999999</cx:pt>
          <cx:pt idx="5992">13.1242499999999</cx:pt>
          <cx:pt idx="5993">13.1242499999999</cx:pt>
          <cx:pt idx="5994">3.4742199999999896</cx:pt>
          <cx:pt idx="5995">6.2927999999999997</cx:pt>
          <cx:pt idx="5996">4.4751199999999995</cx:pt>
          <cx:pt idx="5997">13.1242499999999</cx:pt>
          <cx:pt idx="5998">15.04954</cx:pt>
          <cx:pt idx="5999">13.1242499999999</cx:pt>
          <cx:pt idx="6000">13.1242499999999</cx:pt>
          <cx:pt idx="6001">4.4870000000000001</cx:pt>
          <cx:pt idx="6002">5.9613599999999902</cx:pt>
          <cx:pt idx="6003">3.68391</cx:pt>
          <cx:pt idx="6004">13.1242499999999</cx:pt>
          <cx:pt idx="6005">13.1242499999999</cx:pt>
          <cx:pt idx="6006">13.1242499999999</cx:pt>
          <cx:pt idx="6007">13.1242499999999</cx:pt>
          <cx:pt idx="6008">13.1242499999999</cx:pt>
          <cx:pt idx="6009">12.0117799999999</cx:pt>
          <cx:pt idx="6010">13.1242499999999</cx:pt>
          <cx:pt idx="6011">13.1242499999999</cx:pt>
          <cx:pt idx="6012">13.1242499999999</cx:pt>
          <cx:pt idx="6013">13.1242499999999</cx:pt>
          <cx:pt idx="6014">13.1242499999999</cx:pt>
          <cx:pt idx="6015">13.1242499999999</cx:pt>
          <cx:pt idx="6016">18.778979999999901</cx:pt>
          <cx:pt idx="6017">17.24098</cx:pt>
          <cx:pt idx="6018">13.1242499999999</cx:pt>
          <cx:pt idx="6019">13.1242499999999</cx:pt>
          <cx:pt idx="6020">13.1242499999999</cx:pt>
          <cx:pt idx="6021">13.1242499999999</cx:pt>
          <cx:pt idx="6022">13.1242499999999</cx:pt>
          <cx:pt idx="6023">11.625359999999899</cx:pt>
          <cx:pt idx="6024">13.1242499999999</cx:pt>
          <cx:pt idx="6025">14.472579999999899</cx:pt>
          <cx:pt idx="6026">15.04954</cx:pt>
          <cx:pt idx="6027">11.625359999999899</cx:pt>
          <cx:pt idx="6028">13.1242499999999</cx:pt>
          <cx:pt idx="6029">11.625359999999899</cx:pt>
          <cx:pt idx="6030">13.1242499999999</cx:pt>
          <cx:pt idx="6031">13.1242499999999</cx:pt>
          <cx:pt idx="6032">11.625359999999899</cx:pt>
          <cx:pt idx="6033">13.1242499999999</cx:pt>
          <cx:pt idx="6034">13.1242499999999</cx:pt>
          <cx:pt idx="6035">13.1242499999999</cx:pt>
          <cx:pt idx="6036">13.1242499999999</cx:pt>
          <cx:pt idx="6037">13.1242499999999</cx:pt>
          <cx:pt idx="6038">13.1242499999999</cx:pt>
          <cx:pt idx="6039">13.1242499999999</cx:pt>
          <cx:pt idx="6040">13.1242499999999</cx:pt>
          <cx:pt idx="6041">13.1242499999999</cx:pt>
          <cx:pt idx="6042">15.04954</cx:pt>
          <cx:pt idx="6043">13.1242499999999</cx:pt>
          <cx:pt idx="6044">13.1242499999999</cx:pt>
          <cx:pt idx="6045">13.1242499999999</cx:pt>
          <cx:pt idx="6046">13.1242499999999</cx:pt>
          <cx:pt idx="6047">13.1242499999999</cx:pt>
          <cx:pt idx="6048">11.625359999999899</cx:pt>
          <cx:pt idx="6049">13.1242499999999</cx:pt>
          <cx:pt idx="6050">13.1242499999999</cx:pt>
          <cx:pt idx="6051">13.1242499999999</cx:pt>
          <cx:pt idx="6052">13.1242499999999</cx:pt>
          <cx:pt idx="6053">13.1242499999999</cx:pt>
          <cx:pt idx="6054">17.08718</cx:pt>
          <cx:pt idx="6055">11.625359999999899</cx:pt>
          <cx:pt idx="6056">13.1242499999999</cx:pt>
          <cx:pt idx="6057">13.1242499999999</cx:pt>
          <cx:pt idx="6058">13.1242499999999</cx:pt>
          <cx:pt idx="6059">13.1242499999999</cx:pt>
          <cx:pt idx="6060">13.1242499999999</cx:pt>
          <cx:pt idx="6061">6.6992099999999999</cx:pt>
          <cx:pt idx="6062">11.625359999999899</cx:pt>
          <cx:pt idx="6063">35.495269999999898</cx:pt>
          <cx:pt idx="6064">13.1242499999999</cx:pt>
          <cx:pt idx="6065">13.1242499999999</cx:pt>
          <cx:pt idx="6066">44.899769999999997</cx:pt>
          <cx:pt idx="6067">13.1242499999999</cx:pt>
          <cx:pt idx="6068">13.1242499999999</cx:pt>
          <cx:pt idx="6069">13.1242499999999</cx:pt>
          <cx:pt idx="6070">13.1242499999999</cx:pt>
          <cx:pt idx="6071">40.600569999999706</cx:pt>
          <cx:pt idx="6072">11.625359999999899</cx:pt>
          <cx:pt idx="6073">13.1242499999999</cx:pt>
          <cx:pt idx="6074">13.1242499999999</cx:pt>
          <cx:pt idx="6075">13.1242499999999</cx:pt>
          <cx:pt idx="6076">17.24098</cx:pt>
          <cx:pt idx="6077">13.1242499999999</cx:pt>
          <cx:pt idx="6078">13.1242499999999</cx:pt>
          <cx:pt idx="6079">5.6781600000000001</cx:pt>
          <cx:pt idx="6080">13.1242499999999</cx:pt>
          <cx:pt idx="6081">18.778979999999901</cx:pt>
          <cx:pt idx="6082">11.625359999999899</cx:pt>
          <cx:pt idx="6083">13.1242499999999</cx:pt>
          <cx:pt idx="6084">13.1242499999999</cx:pt>
          <cx:pt idx="6085">13.1242499999999</cx:pt>
          <cx:pt idx="6086">13.1242499999999</cx:pt>
          <cx:pt idx="6087">13.1242499999999</cx:pt>
          <cx:pt idx="6088">13.1242499999999</cx:pt>
          <cx:pt idx="6089">15.786539999999999</cx:pt>
          <cx:pt idx="6090">13.1242499999999</cx:pt>
          <cx:pt idx="6091">13.1242499999999</cx:pt>
          <cx:pt idx="6092">13.1242499999999</cx:pt>
          <cx:pt idx="6093">13.1242499999999</cx:pt>
          <cx:pt idx="6094">14.318779999999901</cx:pt>
          <cx:pt idx="6095">13.1242499999999</cx:pt>
          <cx:pt idx="6096">13.1242499999999</cx:pt>
          <cx:pt idx="6097">11.625359999999899</cx:pt>
          <cx:pt idx="6098">13.1242499999999</cx:pt>
          <cx:pt idx="6099">13.1242499999999</cx:pt>
          <cx:pt idx="6100">13.1242499999999</cx:pt>
          <cx:pt idx="6101">13.1242499999999</cx:pt>
          <cx:pt idx="6102">13.1242499999999</cx:pt>
          <cx:pt idx="6103">13.1242499999999</cx:pt>
          <cx:pt idx="6104">11.625359999999899</cx:pt>
          <cx:pt idx="6105">13.1242499999999</cx:pt>
          <cx:pt idx="6106">13.1242499999999</cx:pt>
          <cx:pt idx="6107">13.1242499999999</cx:pt>
          <cx:pt idx="6108">13.1242499999999</cx:pt>
          <cx:pt idx="6109">17.24098</cx:pt>
          <cx:pt idx="6110">13.1242499999999</cx:pt>
          <cx:pt idx="6111">15.04954</cx:pt>
          <cx:pt idx="6112">18.778979999999901</cx:pt>
          <cx:pt idx="6113">13.1242499999999</cx:pt>
          <cx:pt idx="6114">13.1242499999999</cx:pt>
          <cx:pt idx="6115">17.24098</cx:pt>
          <cx:pt idx="6116">11.625359999999899</cx:pt>
          <cx:pt idx="6117">11.625359999999899</cx:pt>
          <cx:pt idx="6118">13.1242499999999</cx:pt>
          <cx:pt idx="6119">13.1242499999999</cx:pt>
          <cx:pt idx="6120">13.1242499999999</cx:pt>
          <cx:pt idx="6121">15.04954</cx:pt>
          <cx:pt idx="6122">13.1242499999999</cx:pt>
          <cx:pt idx="6123">13.1242499999999</cx:pt>
          <cx:pt idx="6124">13.1242499999999</cx:pt>
          <cx:pt idx="6125">13.1242499999999</cx:pt>
          <cx:pt idx="6126">13.1242499999999</cx:pt>
          <cx:pt idx="6127">13.1242499999999</cx:pt>
          <cx:pt idx="6128">13.1242499999999</cx:pt>
          <cx:pt idx="6129">13.1242499999999</cx:pt>
          <cx:pt idx="6130">13.1242499999999</cx:pt>
          <cx:pt idx="6131">13.1242499999999</cx:pt>
          <cx:pt idx="6132">13.1242499999999</cx:pt>
          <cx:pt idx="6133">13.1242499999999</cx:pt>
          <cx:pt idx="6134">13.1242499999999</cx:pt>
          <cx:pt idx="6135">15.04954</cx:pt>
          <cx:pt idx="6136">13.1242499999999</cx:pt>
          <cx:pt idx="6137">13.1242499999999</cx:pt>
          <cx:pt idx="6138">13.1242499999999</cx:pt>
          <cx:pt idx="6139">18.778979999999901</cx:pt>
          <cx:pt idx="6140">13.1242499999999</cx:pt>
          <cx:pt idx="6141">18.778979999999901</cx:pt>
          <cx:pt idx="6142">13.1242499999999</cx:pt>
          <cx:pt idx="6143">18.778979999999901</cx:pt>
          <cx:pt idx="6144">13.1242499999999</cx:pt>
          <cx:pt idx="6145">13.1242499999999</cx:pt>
          <cx:pt idx="6146">13.1242499999999</cx:pt>
          <cx:pt idx="6147">13.1242499999999</cx:pt>
          <cx:pt idx="6148">13.1242499999999</cx:pt>
          <cx:pt idx="6149">13.1242499999999</cx:pt>
          <cx:pt idx="6150">13.1242499999999</cx:pt>
          <cx:pt idx="6151">15.04954</cx:pt>
          <cx:pt idx="6152">13.1242499999999</cx:pt>
          <cx:pt idx="6153">13.1242499999999</cx:pt>
          <cx:pt idx="6154">11.625359999999899</cx:pt>
          <cx:pt idx="6155">11.625359999999899</cx:pt>
          <cx:pt idx="6156">13.1242499999999</cx:pt>
          <cx:pt idx="6157">13.1242499999999</cx:pt>
          <cx:pt idx="6158">13.1242499999999</cx:pt>
          <cx:pt idx="6159">15.04954</cx:pt>
          <cx:pt idx="6160">13.1242499999999</cx:pt>
          <cx:pt idx="6161">13.1242499999999</cx:pt>
          <cx:pt idx="6162">13.1242499999999</cx:pt>
          <cx:pt idx="6163">15.04954</cx:pt>
          <cx:pt idx="6164">13.1242499999999</cx:pt>
          <cx:pt idx="6165">13.1242499999999</cx:pt>
          <cx:pt idx="6166">13.1242499999999</cx:pt>
          <cx:pt idx="6167">12.3333599999999</cx:pt>
          <cx:pt idx="6168">13.1242499999999</cx:pt>
          <cx:pt idx="6169">13.1242499999999</cx:pt>
          <cx:pt idx="6170">18.778979999999901</cx:pt>
          <cx:pt idx="6171">13.1242499999999</cx:pt>
          <cx:pt idx="6172">2.7050200000000002</cx:pt>
          <cx:pt idx="6173">13.1242499999999</cx:pt>
          <cx:pt idx="6174">15.04954</cx:pt>
          <cx:pt idx="6175">13.1242499999999</cx:pt>
          <cx:pt idx="6176">13.1242499999999</cx:pt>
          <cx:pt idx="6177">13.1242499999999</cx:pt>
          <cx:pt idx="6178">13.1242499999999</cx:pt>
          <cx:pt idx="6179">13.1242499999999</cx:pt>
          <cx:pt idx="6180">17.24098</cx:pt>
          <cx:pt idx="6181">17.24098</cx:pt>
          <cx:pt idx="6182">15.04954</cx:pt>
          <cx:pt idx="6183">13.1242499999999</cx:pt>
          <cx:pt idx="6184">11.625359999999899</cx:pt>
          <cx:pt idx="6185">6.2927999999999997</cx:pt>
          <cx:pt idx="6186">13.1242499999999</cx:pt>
          <cx:pt idx="6187">13.1242499999999</cx:pt>
          <cx:pt idx="6188">13.1242499999999</cx:pt>
          <cx:pt idx="6189">3.4742199999999896</cx:pt>
          <cx:pt idx="6190">13.1242499999999</cx:pt>
          <cx:pt idx="6191">13.1242499999999</cx:pt>
          <cx:pt idx="6192">13.1242499999999</cx:pt>
          <cx:pt idx="6193">13.1242499999999</cx:pt>
          <cx:pt idx="6194">13.1242499999999</cx:pt>
          <cx:pt idx="6195">13.1242499999999</cx:pt>
          <cx:pt idx="6196">13.1242499999999</cx:pt>
          <cx:pt idx="6197">13.1242499999999</cx:pt>
          <cx:pt idx="6198">12.3333599999999</cx:pt>
          <cx:pt idx="6199">13.1242499999999</cx:pt>
          <cx:pt idx="6200">2.9614199999999999</cx:pt>
          <cx:pt idx="6201">13.1242499999999</cx:pt>
          <cx:pt idx="6202">13.1242499999999</cx:pt>
          <cx:pt idx="6203">36.032670000000003</cx:pt>
          <cx:pt idx="6204">13.1242499999999</cx:pt>
          <cx:pt idx="6205">3.42171</cx:pt>
          <cx:pt idx="6206">13.1242499999999</cx:pt>
          <cx:pt idx="6207">13.1242499999999</cx:pt>
          <cx:pt idx="6208">13.1242499999999</cx:pt>
          <cx:pt idx="6209">13.1242499999999</cx:pt>
          <cx:pt idx="6210">18.778979999999901</cx:pt>
          <cx:pt idx="6211">13.1242499999999</cx:pt>
          <cx:pt idx="6212">13.1242499999999</cx:pt>
          <cx:pt idx="6213">13.1242499999999</cx:pt>
          <cx:pt idx="6214">13.1242499999999</cx:pt>
          <cx:pt idx="6215">11.625359999999899</cx:pt>
          <cx:pt idx="6216">13.1242499999999</cx:pt>
          <cx:pt idx="6217">13.1242499999999</cx:pt>
          <cx:pt idx="6218">13.1242499999999</cx:pt>
          <cx:pt idx="6219">6.2927999999999997</cx:pt>
          <cx:pt idx="6220">13.1242499999999</cx:pt>
          <cx:pt idx="6221">13.1242499999999</cx:pt>
          <cx:pt idx="6222">13.1242499999999</cx:pt>
          <cx:pt idx="6223">15.786539999999999</cx:pt>
          <cx:pt idx="6224">13.1242499999999</cx:pt>
          <cx:pt idx="6225">35.495269999999898</cx:pt>
          <cx:pt idx="6226">13.1242499999999</cx:pt>
          <cx:pt idx="6227">13.1242499999999</cx:pt>
          <cx:pt idx="6228">13.1242499999999</cx:pt>
          <cx:pt idx="6229">13.1242499999999</cx:pt>
          <cx:pt idx="6230">13.1242499999999</cx:pt>
          <cx:pt idx="6231">13.1242499999999</cx:pt>
          <cx:pt idx="6232">18.778979999999901</cx:pt>
          <cx:pt idx="6233">15.04954</cx:pt>
          <cx:pt idx="6234">15.04954</cx:pt>
          <cx:pt idx="6235">13.1242499999999</cx:pt>
          <cx:pt idx="6236">13.1242499999999</cx:pt>
          <cx:pt idx="6237">17.24098</cx:pt>
          <cx:pt idx="6238">13.1242499999999</cx:pt>
          <cx:pt idx="6239">13.1242499999999</cx:pt>
          <cx:pt idx="6240">13.1242499999999</cx:pt>
          <cx:pt idx="6241">13.1242499999999</cx:pt>
          <cx:pt idx="6242">13.1242499999999</cx:pt>
          <cx:pt idx="6243">13.1242499999999</cx:pt>
          <cx:pt idx="6244">13.1242499999999</cx:pt>
          <cx:pt idx="6245">13.1242499999999</cx:pt>
          <cx:pt idx="6246">13.1242499999999</cx:pt>
          <cx:pt idx="6247">15.04954</cx:pt>
          <cx:pt idx="6248">11.625359999999899</cx:pt>
          <cx:pt idx="6249">13.1242499999999</cx:pt>
          <cx:pt idx="6250">13.1242499999999</cx:pt>
          <cx:pt idx="6251">13.1242499999999</cx:pt>
          <cx:pt idx="6252">3.55281</cx:pt>
          <cx:pt idx="6253">13.1242499999999</cx:pt>
          <cx:pt idx="6254">13.1242499999999</cx:pt>
          <cx:pt idx="6255">13.1242499999999</cx:pt>
          <cx:pt idx="6256">13.1242499999999</cx:pt>
          <cx:pt idx="6257">13.1242499999999</cx:pt>
          <cx:pt idx="6258">7.4359999999999999</cx:pt>
          <cx:pt idx="6259">12.3333599999999</cx:pt>
          <cx:pt idx="6260">18.778979999999901</cx:pt>
          <cx:pt idx="6261">30.1212699999999</cx:pt>
          <cx:pt idx="6262">11.625359999999899</cx:pt>
          <cx:pt idx="6263">13.1242499999999</cx:pt>
          <cx:pt idx="6264">15.04954</cx:pt>
          <cx:pt idx="6265">17.24098</cx:pt>
          <cx:pt idx="6266">12.3333599999999</cx:pt>
          <cx:pt idx="6267">11.625359999999899</cx:pt>
          <cx:pt idx="6268">13.1242499999999</cx:pt>
          <cx:pt idx="6269">10.92234</cx:pt>
          <cx:pt idx="6270">13.1242499999999</cx:pt>
          <cx:pt idx="6271">10.774939999999999</cx:pt>
          <cx:pt idx="6272">56.722569999999692</cx:pt>
          <cx:pt idx="6273">13.1242499999999</cx:pt>
          <cx:pt idx="6274">13.1242499999999</cx:pt>
          <cx:pt idx="6275">3.29061</cx:pt>
          <cx:pt idx="6276">13.1242499999999</cx:pt>
          <cx:pt idx="6277">15.04954</cx:pt>
          <cx:pt idx="6278">13.1242499999999</cx:pt>
          <cx:pt idx="6279">13.1242499999999</cx:pt>
          <cx:pt idx="6280">13.1242499999999</cx:pt>
          <cx:pt idx="6281">13.1242499999999</cx:pt>
          <cx:pt idx="6282">13.1242499999999</cx:pt>
          <cx:pt idx="6283">5.8197600000000005</cx:pt>
          <cx:pt idx="6284">13.1242499999999</cx:pt>
          <cx:pt idx="6285">13.1242499999999</cx:pt>
          <cx:pt idx="6286">11.625359999999899</cx:pt>
          <cx:pt idx="6287">15.04954</cx:pt>
          <cx:pt idx="6288">32.539569999999898</cx:pt>
          <cx:pt idx="6289">17.24098</cx:pt>
          <cx:pt idx="6290">13.1242499999999</cx:pt>
          <cx:pt idx="6291">13.1242499999999</cx:pt>
          <cx:pt idx="6292">13.1242499999999</cx:pt>
          <cx:pt idx="6293">11.625359999999899</cx:pt>
          <cx:pt idx="6294">13.1242499999999</cx:pt>
          <cx:pt idx="6295">5.8197600000000005</cx:pt>
          <cx:pt idx="6296">13.1242499999999</cx:pt>
          <cx:pt idx="6297">13.1242499999999</cx:pt>
          <cx:pt idx="6298">13.1242499999999</cx:pt>
          <cx:pt idx="6299">13.1242499999999</cx:pt>
          <cx:pt idx="6300">13.1242499999999</cx:pt>
          <cx:pt idx="6301">13.1242499999999</cx:pt>
          <cx:pt idx="6302">13.1242499999999</cx:pt>
          <cx:pt idx="6303">15.344340000000001</cx:pt>
          <cx:pt idx="6304">51.617269999999905</cx:pt>
          <cx:pt idx="6305">11.625359999999899</cx:pt>
          <cx:pt idx="6306">13.1242499999999</cx:pt>
          <cx:pt idx="6307">13.1242499999999</cx:pt>
          <cx:pt idx="6308">13.1242499999999</cx:pt>
          <cx:pt idx="6309">13.1242499999999</cx:pt>
          <cx:pt idx="6310">13.1242499999999</cx:pt>
          <cx:pt idx="6311">13.1242499999999</cx:pt>
          <cx:pt idx="6312">13.1242499999999</cx:pt>
          <cx:pt idx="6313">12.3333599999999</cx:pt>
          <cx:pt idx="6314">13.1242499999999</cx:pt>
          <cx:pt idx="6315">18.009979999999899</cx:pt>
          <cx:pt idx="6316">13.1242499999999</cx:pt>
          <cx:pt idx="6317">13.1242499999999</cx:pt>
          <cx:pt idx="6318">13.1242499999999</cx:pt>
          <cx:pt idx="6319">13.1242499999999</cx:pt>
          <cx:pt idx="6320">13.1242499999999</cx:pt>
          <cx:pt idx="6321">11.625359999999899</cx:pt>
          <cx:pt idx="6322">13.1242499999999</cx:pt>
          <cx:pt idx="6323">13.1242499999999</cx:pt>
          <cx:pt idx="6324">13.1242499999999</cx:pt>
          <cx:pt idx="6325">13.1242499999999</cx:pt>
          <cx:pt idx="6326">13.1242499999999</cx:pt>
          <cx:pt idx="6327">11.625359999999899</cx:pt>
          <cx:pt idx="6328">13.1242499999999</cx:pt>
          <cx:pt idx="6329">11.625359999999899</cx:pt>
          <cx:pt idx="6330">13.1242499999999</cx:pt>
          <cx:pt idx="6331">13.1242499999999</cx:pt>
          <cx:pt idx="6332">13.1242499999999</cx:pt>
          <cx:pt idx="6333">13.1242499999999</cx:pt>
          <cx:pt idx="6334">13.1242499999999</cx:pt>
          <cx:pt idx="6335">13.1242499999999</cx:pt>
          <cx:pt idx="6336">13.1242499999999</cx:pt>
          <cx:pt idx="6337">13.1242499999999</cx:pt>
          <cx:pt idx="6338">11.625359999999899</cx:pt>
          <cx:pt idx="6339">11.625359999999899</cx:pt>
          <cx:pt idx="6340">13.1242499999999</cx:pt>
          <cx:pt idx="6341">13.1242499999999</cx:pt>
          <cx:pt idx="6342">15.04954</cx:pt>
          <cx:pt idx="6343">13.1242499999999</cx:pt>
          <cx:pt idx="6344">13.1242499999999</cx:pt>
          <cx:pt idx="6345">13.1242499999999</cx:pt>
          <cx:pt idx="6346">12.3333599999999</cx:pt>
          <cx:pt idx="6347">13.1242499999999</cx:pt>
          <cx:pt idx="6348">13.1242499999999</cx:pt>
          <cx:pt idx="6349">13.1242499999999</cx:pt>
          <cx:pt idx="6350">13.1242499999999</cx:pt>
          <cx:pt idx="6351">13.1242499999999</cx:pt>
          <cx:pt idx="6352">1.42302</cx:pt>
          <cx:pt idx="6353">13.1242499999999</cx:pt>
          <cx:pt idx="6354">13.1242499999999</cx:pt>
          <cx:pt idx="6355">13.1242499999999</cx:pt>
          <cx:pt idx="6356">13.1242499999999</cx:pt>
          <cx:pt idx="6357">17.24098</cx:pt>
          <cx:pt idx="6358">18.778979999999901</cx:pt>
          <cx:pt idx="6359">13.1242499999999</cx:pt>
          <cx:pt idx="6360">18.778979999999901</cx:pt>
          <cx:pt idx="6361">13.1242499999999</cx:pt>
          <cx:pt idx="6362">15.04954</cx:pt>
          <cx:pt idx="6363">18.778979999999901</cx:pt>
          <cx:pt idx="6364">13.1242499999999</cx:pt>
          <cx:pt idx="6365">13.1242499999999</cx:pt>
          <cx:pt idx="6366">11.625359999999899</cx:pt>
          <cx:pt idx="6367">13.1242499999999</cx:pt>
          <cx:pt idx="6368">15.04954</cx:pt>
          <cx:pt idx="6369">13.1242499999999</cx:pt>
          <cx:pt idx="6370">13.1242499999999</cx:pt>
          <cx:pt idx="6371">11.625359999999899</cx:pt>
          <cx:pt idx="6372">18.778979999999901</cx:pt>
          <cx:pt idx="6373">13.1242499999999</cx:pt>
          <cx:pt idx="6374">11.625359999999899</cx:pt>
          <cx:pt idx="6375">13.1242499999999</cx:pt>
          <cx:pt idx="6376">11.625359999999899</cx:pt>
          <cx:pt idx="6377">13.1242499999999</cx:pt>
          <cx:pt idx="6378">15.04954</cx:pt>
          <cx:pt idx="6379">13.1242499999999</cx:pt>
          <cx:pt idx="6380">13.1242499999999</cx:pt>
          <cx:pt idx="6381">13.1242499999999</cx:pt>
          <cx:pt idx="6382">13.1242499999999</cx:pt>
          <cx:pt idx="6383">11.625359999999899</cx:pt>
          <cx:pt idx="6384">26.090769999999903</cx:pt>
          <cx:pt idx="6385">15.04954</cx:pt>
          <cx:pt idx="6386">13.1242499999999</cx:pt>
          <cx:pt idx="6387">11.625359999999899</cx:pt>
          <cx:pt idx="6388">13.1242499999999</cx:pt>
          <cx:pt idx="6389">13.1242499999999</cx:pt>
          <cx:pt idx="6390">13.1242499999999</cx:pt>
          <cx:pt idx="6391">13.1242499999999</cx:pt>
          <cx:pt idx="6392">17.24098</cx:pt>
          <cx:pt idx="6393">11.625359999999899</cx:pt>
          <cx:pt idx="6394">13.1242499999999</cx:pt>
          <cx:pt idx="6395">13.1242499999999</cx:pt>
          <cx:pt idx="6396">13.1242499999999</cx:pt>
          <cx:pt idx="6397">13.1242499999999</cx:pt>
          <cx:pt idx="6398">13.1242499999999</cx:pt>
          <cx:pt idx="6399">13.1242499999999</cx:pt>
          <cx:pt idx="6400">13.1242499999999</cx:pt>
          <cx:pt idx="6401">13.1242499999999</cx:pt>
          <cx:pt idx="6402">13.1242499999999</cx:pt>
          <cx:pt idx="6403">13.1242499999999</cx:pt>
          <cx:pt idx="6404">11.625359999999899</cx:pt>
          <cx:pt idx="6405">13.1242499999999</cx:pt>
          <cx:pt idx="6406">13.1242499999999</cx:pt>
          <cx:pt idx="6407">13.1242499999999</cx:pt>
          <cx:pt idx="6408">13.1242499999999</cx:pt>
          <cx:pt idx="6409">5.1511199999999997</cx:pt>
          <cx:pt idx="6410">11.625359999999899</cx:pt>
          <cx:pt idx="6411">13.1242499999999</cx:pt>
          <cx:pt idx="6412">13.1242499999999</cx:pt>
          <cx:pt idx="6413">11.625359999999899</cx:pt>
          <cx:pt idx="6414">11.625359999999899</cx:pt>
          <cx:pt idx="6415">13.1242499999999</cx:pt>
          <cx:pt idx="6416">13.1242499999999</cx:pt>
          <cx:pt idx="6417">13.1242499999999</cx:pt>
          <cx:pt idx="6418">13.1242499999999</cx:pt>
          <cx:pt idx="6419">13.1242499999999</cx:pt>
          <cx:pt idx="6420">13.1242499999999</cx:pt>
          <cx:pt idx="6421">13.1242499999999</cx:pt>
          <cx:pt idx="6422">13.1242499999999</cx:pt>
          <cx:pt idx="6423">14.164979999999899</cx:pt>
          <cx:pt idx="6424">15.04954</cx:pt>
          <cx:pt idx="6425">10.774939999999999</cx:pt>
          <cx:pt idx="6426">13.1242499999999</cx:pt>
          <cx:pt idx="6427">13.1242499999999</cx:pt>
          <cx:pt idx="6428">13.1242499999999</cx:pt>
          <cx:pt idx="6429">13.1242499999999</cx:pt>
          <cx:pt idx="6430">13.1242499999999</cx:pt>
          <cx:pt idx="6431">13.1242499999999</cx:pt>
          <cx:pt idx="6432">13.1242499999999</cx:pt>
          <cx:pt idx="6433">18.778979999999901</cx:pt>
          <cx:pt idx="6434">13.1242499999999</cx:pt>
          <cx:pt idx="6435">13.1242499999999</cx:pt>
          <cx:pt idx="6436">13.1242499999999</cx:pt>
          <cx:pt idx="6437">13.1242499999999</cx:pt>
          <cx:pt idx="6438">13.1242499999999</cx:pt>
          <cx:pt idx="6439">13.1242499999999</cx:pt>
          <cx:pt idx="6440">13.1242499999999</cx:pt>
          <cx:pt idx="6441">11.625359999999899</cx:pt>
          <cx:pt idx="6442">13.1242499999999</cx:pt>
          <cx:pt idx="6443">13.1242499999999</cx:pt>
          <cx:pt idx="6444">13.1242499999999</cx:pt>
          <cx:pt idx="6445">13.1242499999999</cx:pt>
          <cx:pt idx="6446">13.1242499999999</cx:pt>
          <cx:pt idx="6447">13.1242499999999</cx:pt>
          <cx:pt idx="6448">11.625359999999899</cx:pt>
          <cx:pt idx="6449">13.1242499999999</cx:pt>
          <cx:pt idx="6450">11.625359999999899</cx:pt>
          <cx:pt idx="6451">15.04954</cx:pt>
          <cx:pt idx="6452">13.1242499999999</cx:pt>
          <cx:pt idx="6453">13.1242499999999</cx:pt>
          <cx:pt idx="6454">13.1242499999999</cx:pt>
          <cx:pt idx="6455">13.1242499999999</cx:pt>
          <cx:pt idx="6456">13.1242499999999</cx:pt>
          <cx:pt idx="6457">17.24098</cx:pt>
          <cx:pt idx="6458">12.839249999999899</cx:pt>
          <cx:pt idx="6459">26.359469999999902</cx:pt>
          <cx:pt idx="6460">28.509069999999898</cx:pt>
          <cx:pt idx="6461">12.839249999999899</cx:pt>
          <cx:pt idx="6462">18.4713799999999</cx:pt>
          <cx:pt idx="6463">13.1242499999999</cx:pt>
          <cx:pt idx="6464">15.491739999999901</cx:pt>
          <cx:pt idx="6465">13.1242499999999</cx:pt>
          <cx:pt idx="6466">13.1242499999999</cx:pt>
          <cx:pt idx="6467">13.1242499999999</cx:pt>
          <cx:pt idx="6468">4.20472</cx:pt>
          <cx:pt idx="6469">15.04954</cx:pt>
          <cx:pt idx="6470">10.7091899999999</cx:pt>
          <cx:pt idx="6471">13.1242499999999</cx:pt>
          <cx:pt idx="6472">13.1242499999999</cx:pt>
          <cx:pt idx="6473">13.1242499999999</cx:pt>
          <cx:pt idx="6474">13.1242499999999</cx:pt>
          <cx:pt idx="6475">15.04954</cx:pt>
          <cx:pt idx="6476">13.1242499999999</cx:pt>
          <cx:pt idx="6477">18.778979999999901</cx:pt>
          <cx:pt idx="6478">11.625359999999899</cx:pt>
          <cx:pt idx="6479">13.1242499999999</cx:pt>
          <cx:pt idx="6480">13.1242499999999</cx:pt>
          <cx:pt idx="6481">13.1242499999999</cx:pt>
          <cx:pt idx="6482">13.1242499999999</cx:pt>
          <cx:pt idx="6483">10.48014</cx:pt>
          <cx:pt idx="6484">13.1242499999999</cx:pt>
          <cx:pt idx="6485">13.1242499999999</cx:pt>
          <cx:pt idx="6486">4.3399200000000002</cx:pt>
          <cx:pt idx="6487">15.786539999999999</cx:pt>
          <cx:pt idx="6488">15.04954</cx:pt>
          <cx:pt idx="6489">10.834199999999999</cx:pt>
          <cx:pt idx="6490">13.1242499999999</cx:pt>
          <cx:pt idx="6491">2.9614199999999999</cx:pt>
          <cx:pt idx="6492">16.93338</cx:pt>
          <cx:pt idx="6493">11.625359999999899</cx:pt>
          <cx:pt idx="6494">13.1242499999999</cx:pt>
          <cx:pt idx="6495">11.85798</cx:pt>
          <cx:pt idx="6496">11.625359999999899</cx:pt>
          <cx:pt idx="6497">13.1242499999999</cx:pt>
          <cx:pt idx="6498">11.625359999999899</cx:pt>
          <cx:pt idx="6499">11.625359999999899</cx:pt>
          <cx:pt idx="6500">10.92234</cx:pt>
          <cx:pt idx="6501">13.1242499999999</cx:pt>
          <cx:pt idx="6502">13.1242499999999</cx:pt>
          <cx:pt idx="6503">13.1242499999999</cx:pt>
          <cx:pt idx="6504">13.1242499999999</cx:pt>
          <cx:pt idx="6505">13.1242499999999</cx:pt>
          <cx:pt idx="6506">13.1242499999999</cx:pt>
          <cx:pt idx="6507">13.1242499999999</cx:pt>
          <cx:pt idx="6508">13.1242499999999</cx:pt>
          <cx:pt idx="6509">17.24098</cx:pt>
          <cx:pt idx="6510">13.1242499999999</cx:pt>
          <cx:pt idx="6511">13.1242499999999</cx:pt>
          <cx:pt idx="6512">13.1242499999999</cx:pt>
          <cx:pt idx="6513">11.625359999999899</cx:pt>
          <cx:pt idx="6514">13.1242499999999</cx:pt>
          <cx:pt idx="6515">36.838769999999897</cx:pt>
          <cx:pt idx="6516">40.86927</cx:pt>
          <cx:pt idx="6517">13.1242499999999</cx:pt>
          <cx:pt idx="6518">15.04954</cx:pt>
          <cx:pt idx="6519">36.838769999999997</cx:pt>
          <cx:pt idx="6520">13.1242499999999</cx:pt>
          <cx:pt idx="6521">13.1242499999999</cx:pt>
          <cx:pt idx="6522">13.1242499999999</cx:pt>
          <cx:pt idx="6523">13.1242499999999</cx:pt>
          <cx:pt idx="6524">5.89949999999999</cx:pt>
          <cx:pt idx="6525">11.625359999999899</cx:pt>
          <cx:pt idx="6526">11.625359999999899</cx:pt>
          <cx:pt idx="6527">13.1242499999999</cx:pt>
          <cx:pt idx="6528">3.81501</cx:pt>
          <cx:pt idx="6529">13.1242499999999</cx:pt>
          <cx:pt idx="6530">11.85798</cx:pt>
          <cx:pt idx="6531">13.1242499999999</cx:pt>
          <cx:pt idx="6532">13.1242499999999</cx:pt>
          <cx:pt idx="6533">13.1242499999999</cx:pt>
          <cx:pt idx="6534">13.1242499999999</cx:pt>
          <cx:pt idx="6535">10.037939999999999</cx:pt>
          <cx:pt idx="6536">11.625359999999899</cx:pt>
          <cx:pt idx="6537">11.625359999999899</cx:pt>
          <cx:pt idx="6538">12.3333599999999</cx:pt>
          <cx:pt idx="6539">12.3333599999999</cx:pt>
          <cx:pt idx="6540">13.1242499999999</cx:pt>
          <cx:pt idx="6541">18.778979999999901</cx:pt>
          <cx:pt idx="6542">13.1242499999999</cx:pt>
          <cx:pt idx="6543">17.24098</cx:pt>
          <cx:pt idx="6544">37.913569999999702</cx:pt>
          <cx:pt idx="6545">13.1242499999999</cx:pt>
          <cx:pt idx="6546">13.1242499999999</cx:pt>
          <cx:pt idx="6547">13.1242499999999</cx:pt>
          <cx:pt idx="6548">13.1242499999999</cx:pt>
          <cx:pt idx="6549">13.1242499999999</cx:pt>
          <cx:pt idx="6550">4.4751199999999898</cx:pt>
          <cx:pt idx="6551">13.1242499999999</cx:pt>
          <cx:pt idx="6552">13.1242499999999</cx:pt>
          <cx:pt idx="6553">13.1242499999999</cx:pt>
          <cx:pt idx="6554">13.1242499999999</cx:pt>
          <cx:pt idx="6555">13.1242499999999</cx:pt>
          <cx:pt idx="6556">13.1242499999999</cx:pt>
          <cx:pt idx="6557">13.1242499999999</cx:pt>
          <cx:pt idx="6558">15.04954</cx:pt>
          <cx:pt idx="6559">13.1242499999999</cx:pt>
          <cx:pt idx="6560">13.1242499999999</cx:pt>
          <cx:pt idx="6561">11.625359999999899</cx:pt>
          <cx:pt idx="6562">11.625359999999899</cx:pt>
          <cx:pt idx="6563">15.04954</cx:pt>
          <cx:pt idx="6564">17.24098</cx:pt>
          <cx:pt idx="6565">8.7113399999999999</cx:pt>
          <cx:pt idx="6566">13.1242499999999</cx:pt>
          <cx:pt idx="6567">11.625359999999899</cx:pt>
          <cx:pt idx="6568">13.1242499999999</cx:pt>
          <cx:pt idx="6569">13.1242499999999</cx:pt>
          <cx:pt idx="6570">37.91357</cx:pt>
          <cx:pt idx="6571">13.1242499999999</cx:pt>
          <cx:pt idx="6572">15.04954</cx:pt>
          <cx:pt idx="6573">13.1242499999999</cx:pt>
          <cx:pt idx="6574">3.81501</cx:pt>
          <cx:pt idx="6575">13.1242499999999</cx:pt>
          <cx:pt idx="6576">13.1242499999999</cx:pt>
          <cx:pt idx="6577">13.1242499999999</cx:pt>
          <cx:pt idx="6578">12.3333599999999</cx:pt>
          <cx:pt idx="6579">13.1242499999999</cx:pt>
          <cx:pt idx="6580">13.1242499999999</cx:pt>
          <cx:pt idx="6581">37.913569999999702</cx:pt>
          <cx:pt idx="6582">13.1242499999999</cx:pt>
          <cx:pt idx="6583">13.1242499999999</cx:pt>
          <cx:pt idx="6584">13.1242499999999</cx:pt>
          <cx:pt idx="6585">13.1242499999999</cx:pt>
          <cx:pt idx="6586">13.1242499999999</cx:pt>
          <cx:pt idx="6587">11.625359999999899</cx:pt>
          <cx:pt idx="6588">17.24098</cx:pt>
          <cx:pt idx="6589">11.625359999999899</cx:pt>
          <cx:pt idx="6590">13.1242499999999</cx:pt>
          <cx:pt idx="6591">13.1242499999999</cx:pt>
          <cx:pt idx="6592">13.1242499999999</cx:pt>
          <cx:pt idx="6593">13.1242499999999</cx:pt>
          <cx:pt idx="6594">11.625359999999899</cx:pt>
          <cx:pt idx="6595">6.4239000000000006</cx:pt>
          <cx:pt idx="6596">12.0117799999999</cx:pt>
          <cx:pt idx="6597">13.1242499999999</cx:pt>
          <cx:pt idx="6598">13.1242499999999</cx:pt>
          <cx:pt idx="6599">13.1242499999999</cx:pt>
          <cx:pt idx="6600">13.1242499999999</cx:pt>
          <cx:pt idx="6601">11.625359999999899</cx:pt>
          <cx:pt idx="6602">13.1242499999999</cx:pt>
          <cx:pt idx="6603">13.1242499999999</cx:pt>
          <cx:pt idx="6604">13.1242499999999</cx:pt>
          <cx:pt idx="6605">13.1242499999999</cx:pt>
          <cx:pt idx="6606">11.625359999999899</cx:pt>
          <cx:pt idx="6607">13.1242499999999</cx:pt>
          <cx:pt idx="6608">13.1242499999999</cx:pt>
          <cx:pt idx="6609">13.1242499999999</cx:pt>
          <cx:pt idx="6610">13.1242499999999</cx:pt>
          <cx:pt idx="6611">11.625359999999899</cx:pt>
          <cx:pt idx="6612">13.1242499999999</cx:pt>
          <cx:pt idx="6613">13.1242499999999</cx:pt>
          <cx:pt idx="6614">13.1242499999999</cx:pt>
          <cx:pt idx="6615">13.1242499999999</cx:pt>
          <cx:pt idx="6616">17.24098</cx:pt>
          <cx:pt idx="6617">13.1242499999999</cx:pt>
          <cx:pt idx="6618">13.1242499999999</cx:pt>
          <cx:pt idx="6619">11.625359999999899</cx:pt>
          <cx:pt idx="6620">13.1242499999999</cx:pt>
          <cx:pt idx="6621">13.1242499999999</cx:pt>
          <cx:pt idx="6622">13.1242499999999</cx:pt>
          <cx:pt idx="6623">11.625359999999899</cx:pt>
          <cx:pt idx="6624">13.1242499999999</cx:pt>
          <cx:pt idx="6625">13.1242499999999</cx:pt>
          <cx:pt idx="6626">17.24098</cx:pt>
          <cx:pt idx="6627">18.778979999999901</cx:pt>
          <cx:pt idx="6628">13.1242499999999</cx:pt>
          <cx:pt idx="6629">13.1242499999999</cx:pt>
          <cx:pt idx="6630">18.778979999999901</cx:pt>
          <cx:pt idx="6631">13.1242499999999</cx:pt>
          <cx:pt idx="6632">13.1242499999999</cx:pt>
          <cx:pt idx="6633">13.1242499999999</cx:pt>
          <cx:pt idx="6634">3.94611</cx:pt>
          <cx:pt idx="6635">11.625359999999899</cx:pt>
          <cx:pt idx="6636">13.1242499999999</cx:pt>
          <cx:pt idx="6637">17.24098</cx:pt>
          <cx:pt idx="6638">13.1242499999999</cx:pt>
          <cx:pt idx="6639">13.1242499999999</cx:pt>
          <cx:pt idx="6640">13.1242499999999</cx:pt>
          <cx:pt idx="6641">13.1242499999999</cx:pt>
          <cx:pt idx="6642">13.1242499999999</cx:pt>
          <cx:pt idx="6643">11.625359999999899</cx:pt>
          <cx:pt idx="6644">13.1242499999999</cx:pt>
          <cx:pt idx="6645">13.1242499999999</cx:pt>
          <cx:pt idx="6646">11.625359999999899</cx:pt>
          <cx:pt idx="6647">13.1242499999999</cx:pt>
          <cx:pt idx="6648">13.1242499999999</cx:pt>
          <cx:pt idx="6649">13.1242499999999</cx:pt>
          <cx:pt idx="6650">13.1242499999999</cx:pt>
          <cx:pt idx="6651">13.1242499999999</cx:pt>
          <cx:pt idx="6652">11.625359999999899</cx:pt>
          <cx:pt idx="6653">12.050159999999901</cx:pt>
          <cx:pt idx="6654">13.1242499999999</cx:pt>
          <cx:pt idx="6655">13.1242499999999</cx:pt>
          <cx:pt idx="6656">11.625359999999899</cx:pt>
          <cx:pt idx="6657">11.625359999999899</cx:pt>
          <cx:pt idx="6658">13.1242499999999</cx:pt>
          <cx:pt idx="6659">13.1242499999999</cx:pt>
          <cx:pt idx="6660">11.625359999999899</cx:pt>
          <cx:pt idx="6661">13.1242499999999</cx:pt>
          <cx:pt idx="6662">13.1242499999999</cx:pt>
          <cx:pt idx="6663">12.01178</cx:pt>
          <cx:pt idx="6664">13.1242499999999</cx:pt>
          <cx:pt idx="6665">10.18534</cx:pt>
          <cx:pt idx="6666">11.625359999999899</cx:pt>
          <cx:pt idx="6667">13.1242499999999</cx:pt>
          <cx:pt idx="6668">13.1242499999999</cx:pt>
          <cx:pt idx="6669">13.1242499999999</cx:pt>
          <cx:pt idx="6670">11.625359999999899</cx:pt>
          <cx:pt idx="6671">11.625359999999899</cx:pt>
          <cx:pt idx="6672">13.1242499999999</cx:pt>
          <cx:pt idx="6673">13.1242499999999</cx:pt>
          <cx:pt idx="6674">15.04954</cx:pt>
          <cx:pt idx="6675">25.822069999999904</cx:pt>
          <cx:pt idx="6676">11.625359999999899</cx:pt>
          <cx:pt idx="6677">13.1242499999999</cx:pt>
          <cx:pt idx="6678">13.1242499999999</cx:pt>
          <cx:pt idx="6679">13.1242499999999</cx:pt>
          <cx:pt idx="6680">5.1511199999999997</cx:pt>
          <cx:pt idx="6681">6.6992099999999999</cx:pt>
          <cx:pt idx="6682">13.1242499999999</cx:pt>
          <cx:pt idx="6683">11.625359999999899</cx:pt>
          <cx:pt idx="6684">13.1242499999999</cx:pt>
          <cx:pt idx="6685">13.1242499999999</cx:pt>
          <cx:pt idx="6686">17.24098</cx:pt>
          <cx:pt idx="6687">13.1242499999999</cx:pt>
          <cx:pt idx="6688">13.1242499999999</cx:pt>
          <cx:pt idx="6689">18.778979999999901</cx:pt>
          <cx:pt idx="6690">13.1242499999999</cx:pt>
          <cx:pt idx="6691">13.1242499999999</cx:pt>
          <cx:pt idx="6692">13.1242499999999</cx:pt>
          <cx:pt idx="6693">11.625359999999899</cx:pt>
          <cx:pt idx="6694">13.1242499999999</cx:pt>
          <cx:pt idx="6695">13.1242499999999</cx:pt>
          <cx:pt idx="6696">13.1242499999999</cx:pt>
          <cx:pt idx="6697">13.1242499999999</cx:pt>
          <cx:pt idx="6698">15.04954</cx:pt>
          <cx:pt idx="6699">13.1242499999999</cx:pt>
          <cx:pt idx="6700">13.1242499999999</cx:pt>
          <cx:pt idx="6701">10.774939999999999</cx:pt>
          <cx:pt idx="6702">2.7050200000000002</cx:pt>
          <cx:pt idx="6703">13.1242499999999</cx:pt>
          <cx:pt idx="6704">13.1242499999999</cx:pt>
          <cx:pt idx="6705">5.8197600000000005</cx:pt>
          <cx:pt idx="6706">13.1242499999999</cx:pt>
          <cx:pt idx="6707">3.9741999999999997</cx:pt>
          <cx:pt idx="6708">40.600569999999706</cx:pt>
          <cx:pt idx="6709">13.1242499999999</cx:pt>
          <cx:pt idx="6710">11.625359999999899</cx:pt>
          <cx:pt idx="6711">10.7091899999999</cx:pt>
          <cx:pt idx="6712">15.04954</cx:pt>
          <cx:pt idx="6713">1.42302</cx:pt>
          <cx:pt idx="6714">12.3333599999999</cx:pt>
          <cx:pt idx="6715">38.719669999999702</cx:pt>
          <cx:pt idx="6716">1.42302</cx:pt>
          <cx:pt idx="6717">13.1242499999999</cx:pt>
          <cx:pt idx="6718">57.797369999999702</cx:pt>
          <cx:pt idx="6719">1.42302</cx:pt>
          <cx:pt idx="6720">1.42302</cx:pt>
          <cx:pt idx="6721">12.3333599999999</cx:pt>
          <cx:pt idx="6722">37.644869999999706</cx:pt>
          <cx:pt idx="6723">1.42302</cx:pt>
          <cx:pt idx="6724">12.3333599999999</cx:pt>
          <cx:pt idx="6725">1.42302</cx:pt>
          <cx:pt idx="6726">1.42302</cx:pt>
          <cx:pt idx="6727">39.794469999999698</cx:pt>
          <cx:pt idx="6728">10.7091899999999</cx:pt>
          <cx:pt idx="6729">1.42302</cx:pt>
          <cx:pt idx="6730">9.3201899999999789</cx:pt>
          <cx:pt idx="6731">40.600569999999706</cx:pt>
          <cx:pt idx="6732">40.600569999999706</cx:pt>
          <cx:pt idx="6733">38.988369999999698</cx:pt>
          <cx:pt idx="6734">12.3333599999999</cx:pt>
          <cx:pt idx="6735">36.570069999999703</cx:pt>
          <cx:pt idx="6736">15.04954</cx:pt>
          <cx:pt idx="6737">10.7091899999999</cx:pt>
          <cx:pt idx="6738">40.600569999999706</cx:pt>
          <cx:pt idx="6739">11.625359999999899</cx:pt>
          <cx:pt idx="6740">38.4509699999997</cx:pt>
          <cx:pt idx="6741">40.600569999999706</cx:pt>
          <cx:pt idx="6742">11.625359999999899</cx:pt>
          <cx:pt idx="6743">46.780669999999702</cx:pt>
          <cx:pt idx="6744">40.600569999999706</cx:pt>
          <cx:pt idx="6745">1.80762</cx:pt>
          <cx:pt idx="6746">40.600569999999706</cx:pt>
          <cx:pt idx="6747">13.606859999999902</cx:pt>
          <cx:pt idx="6748">40.600569999999706</cx:pt>
          <cx:pt idx="6749">40.600569999999706</cx:pt>
          <cx:pt idx="6750">1.42302</cx:pt>
          <cx:pt idx="6751">1.42302</cx:pt>
          <cx:pt idx="6752">44.093669999999705</cx:pt>
          <cx:pt idx="6753">1.42302</cx:pt>
        </cx:lvl>
      </cx:numDim>
    </cx:data>
  </cx:chartData>
  <cx:chart>
    <cx:plotArea>
      <cx:plotAreaRegion>
        <cx:series layoutId="boxWhisker" uniqueId="{A9133BE5-B9FE-4327-AB14-41AD5A03715B}">
          <cx:tx>
            <cx:txData>
              <cx:f>US_Region_Box_Plots!$D$1</cx:f>
              <cx:v>Global Accounts</cx:v>
            </cx:txData>
          </cx:tx>
          <cx:spPr>
            <a:ln w="28575"/>
          </cx:spPr>
          <cx:dataId val="0"/>
          <cx:layoutPr>
            <cx:visibility meanLine="1" meanMarker="1" nonoutliers="0" outliers="1"/>
            <cx:statistics quartileMethod="exclusive"/>
          </cx:layoutPr>
        </cx:series>
        <cx:series layoutId="boxWhisker" uniqueId="{63769A63-AE0E-47F5-8307-87B89FDBD5A9}">
          <cx:tx>
            <cx:txData>
              <cx:f>US_Region_Box_Plots!$E$1</cx:f>
              <cx:v>A</cx:v>
            </cx:txData>
          </cx:tx>
          <cx:spPr>
            <a:ln w="28575"/>
          </cx:spPr>
          <cx:dataId val="1"/>
          <cx:layoutPr>
            <cx:visibility meanLine="1" meanMarker="1" nonoutliers="0" outliers="1"/>
            <cx:statistics quartileMethod="exclusive"/>
          </cx:layoutPr>
        </cx:series>
        <cx:series layoutId="boxWhisker" uniqueId="{7DC2951C-2020-4723-8EFF-CFCF39240569}">
          <cx:tx>
            <cx:txData>
              <cx:f>US_Region_Box_Plots!$F$1</cx:f>
              <cx:v>B1</cx:v>
            </cx:txData>
          </cx:tx>
          <cx:spPr>
            <a:ln w="28575"/>
          </cx:spPr>
          <cx:dataId val="2"/>
          <cx:layoutPr>
            <cx:visibility meanLine="1" meanMarker="1" nonoutliers="0" outliers="1"/>
            <cx:statistics quartileMethod="exclusive"/>
          </cx:layoutPr>
        </cx:series>
        <cx:series layoutId="boxWhisker" uniqueId="{E216B0E1-3740-4E6D-A74B-FD3AC55D3B17}">
          <cx:tx>
            <cx:txData>
              <cx:f>US_Region_Box_Plots!$G$1</cx:f>
              <cx:v>B2</cx:v>
            </cx:txData>
          </cx:tx>
          <cx:spPr>
            <a:solidFill>
              <a:schemeClr val="accent6"/>
            </a:solidFill>
            <a:ln w="28575">
              <a:solidFill>
                <a:srgbClr val="009268"/>
              </a:solidFill>
            </a:ln>
          </cx:spPr>
          <cx:dataId val="3"/>
          <cx:layoutPr>
            <cx:visibility meanLine="1" meanMarker="1" nonoutliers="0" outliers="1"/>
            <cx:statistics quartileMethod="exclusive"/>
          </cx:layoutPr>
        </cx:series>
        <cx:series layoutId="boxWhisker" uniqueId="{C36540C6-6624-456F-8400-840F1C18CFF2}">
          <cx:tx>
            <cx:txData>
              <cx:f>US_Region_Box_Plots!$H$1</cx:f>
              <cx:v>B2 Grow</cx:v>
            </cx:txData>
          </cx:tx>
          <cx:spPr>
            <a:solidFill>
              <a:schemeClr val="accent1">
                <a:lumMod val="50000"/>
              </a:schemeClr>
            </a:solidFill>
            <a:ln w="28575">
              <a:solidFill>
                <a:srgbClr val="003F58"/>
              </a:solidFill>
            </a:ln>
          </cx:spPr>
          <cx:dataId val="4"/>
          <cx:layoutPr>
            <cx:visibility meanLine="1" meanMarker="1" nonoutliers="0" outliers="1"/>
            <cx:statistics quartileMethod="exclusive"/>
          </cx:layoutPr>
        </cx:series>
        <cx:series layoutId="boxWhisker" uniqueId="{5909BB11-BC98-4C83-B449-2F24F220AA46}">
          <cx:tx>
            <cx:txData>
              <cx:f>US_Region_Box_Plots!$I$1</cx:f>
              <cx:v>B2 Retain</cx:v>
            </cx:txData>
          </cx:tx>
          <cx:spPr>
            <a:solidFill>
              <a:schemeClr val="accent2">
                <a:lumMod val="50000"/>
              </a:schemeClr>
            </a:solidFill>
            <a:ln w="28575">
              <a:solidFill>
                <a:srgbClr val="000E26"/>
              </a:solidFill>
            </a:ln>
          </cx:spPr>
          <cx:dataId val="5"/>
          <cx:layoutPr>
            <cx:visibility meanLine="1" meanMarker="1" nonoutliers="0" outliers="1"/>
            <cx:statistics quartileMethod="exclusive"/>
          </cx:layoutPr>
        </cx:series>
        <cx:series layoutId="boxWhisker" uniqueId="{1BD3647F-DAD2-466C-88BB-3B8DDB1B1E04}">
          <cx:tx>
            <cx:txData>
              <cx:f>US_Region_Box_Plots!$J$1</cx:f>
              <cx:v>B3</cx:v>
            </cx:txData>
          </cx:tx>
          <cx:spPr>
            <a:solidFill>
              <a:schemeClr val="accent3">
                <a:lumMod val="50000"/>
              </a:schemeClr>
            </a:solidFill>
            <a:ln w="28575">
              <a:solidFill>
                <a:srgbClr val="16011D"/>
              </a:solidFill>
            </a:ln>
          </cx:spPr>
          <cx:dataId val="6"/>
          <cx:layoutPr>
            <cx:visibility meanLine="1" meanMarker="1" nonoutliers="0" outliers="1"/>
            <cx:statistics quartileMethod="exclusive"/>
          </cx:layoutPr>
        </cx:series>
        <cx:series layoutId="boxWhisker" uniqueId="{AC6FEB47-9771-43B4-B5D8-59CEA654F179}">
          <cx:tx>
            <cx:txData>
              <cx:f>US_Region_Box_Plots!$K$1</cx:f>
              <cx:v>B3 Grow</cx:v>
            </cx:txData>
          </cx:tx>
          <cx:spPr>
            <a:solidFill>
              <a:schemeClr val="accent4">
                <a:lumMod val="50000"/>
              </a:schemeClr>
            </a:solidFill>
            <a:ln w="28575">
              <a:solidFill>
                <a:srgbClr val="540026"/>
              </a:solidFill>
            </a:ln>
          </cx:spPr>
          <cx:dataId val="7"/>
          <cx:layoutPr>
            <cx:visibility meanLine="1" meanMarker="1" nonoutliers="0" outliers="1"/>
            <cx:statistics quartileMethod="exclusive"/>
          </cx:layoutPr>
        </cx:series>
        <cx:series layoutId="boxWhisker" uniqueId="{269A594C-0782-4DE8-8218-1A7D49E7746C}">
          <cx:tx>
            <cx:txData>
              <cx:f>US_Region_Box_Plots!$L$1</cx:f>
              <cx:v>B3 Retain</cx:v>
            </cx:txData>
          </cx:tx>
          <cx:spPr>
            <a:solidFill>
              <a:schemeClr val="accent5">
                <a:lumMod val="50000"/>
              </a:schemeClr>
            </a:solidFill>
            <a:ln w="28575" cmpd="sng">
              <a:solidFill>
                <a:srgbClr val="643C00">
                  <a:alpha val="89804"/>
                </a:srgbClr>
              </a:solidFill>
            </a:ln>
          </cx:spPr>
          <cx:dataId val="8"/>
          <cx:layoutPr>
            <cx:visibility meanLine="1" meanMarker="1" nonoutliers="0" outliers="1"/>
            <cx:statistics quartileMethod="exclusive"/>
          </cx:layoutPr>
        </cx:series>
        <cx:series layoutId="boxWhisker" uniqueId="{C39C5FC4-E881-4C6F-9938-FD8C7FC21BB5}">
          <cx:tx>
            <cx:txData>
              <cx:f>US_Region_Box_Plots!$M$1</cx:f>
              <cx:v>C</cx:v>
            </cx:txData>
          </cx:tx>
          <cx:spPr>
            <a:solidFill>
              <a:schemeClr val="accent6">
                <a:lumMod val="50000"/>
              </a:schemeClr>
            </a:solidFill>
            <a:ln w="28575">
              <a:solidFill>
                <a:srgbClr val="00543C"/>
              </a:solidFill>
            </a:ln>
          </cx:spPr>
          <cx:dataId val="9"/>
          <cx:layoutPr>
            <cx:visibility meanLine="1" meanMarker="1" nonoutliers="0" outliers="1"/>
            <cx:statistics quartileMethod="exclusive"/>
          </cx:layoutPr>
        </cx:series>
        <cx:series layoutId="boxWhisker" uniqueId="{EB0291A5-BC71-4887-A9CC-4A981590C506}">
          <cx:tx>
            <cx:txData>
              <cx:f>US_Region_Box_Plots!$N$1</cx:f>
              <cx:v>D</cx:v>
            </cx:txData>
          </cx:tx>
          <cx:spPr>
            <a:solidFill>
              <a:srgbClr val="00B0F0"/>
            </a:solidFill>
            <a:ln w="28575">
              <a:solidFill>
                <a:srgbClr val="00B0F0"/>
              </a:solidFill>
            </a:ln>
          </cx:spPr>
          <cx:dataId val="10"/>
          <cx:layoutPr>
            <cx:visibility meanLine="1" meanMarker="1" nonoutliers="0" outliers="1"/>
            <cx:statistics quartileMethod="exclusive"/>
          </cx:layoutPr>
        </cx:series>
      </cx:plotAreaRegion>
      <cx:axis id="0" hidden="1">
        <cx:catScaling gapWidth="0"/>
        <cx:tickLabels/>
      </cx:axis>
      <cx:axis id="1">
        <cx:valScaling/>
        <cx:tickLabels/>
      </cx:axis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UK_Region_Box_Plots!$D$2:$D$1153</cx:f>
        <cx:lvl ptCount="1152" formatCode="_(* #,##0_);_(* \(#,##0\);_(* &quot;-&quot;??_);_(@_)">
          <cx:pt idx="0">50.246899999999904</cx:pt>
          <cx:pt idx="1">5.8077300000000198</cx:pt>
          <cx:pt idx="2">2.7050200000000002</cx:pt>
          <cx:pt idx="3">15.476999999999999</cx:pt>
          <cx:pt idx="4">17.840799999999902</cx:pt>
          <cx:pt idx="5">15.476999999999999</cx:pt>
          <cx:pt idx="6">7.5712000000000002</cx:pt>
          <cx:pt idx="7">2.3075999999999999</cx:pt>
          <cx:pt idx="8">52.665199999999999</cx:pt>
          <cx:pt idx="9">7.1655999999999995</cx:pt>
          <cx:pt idx="10">17.2256</cx:pt>
          <cx:pt idx="11">5.1279999999999903</cx:pt>
          <cx:pt idx="12">4.1023999999999994</cx:pt>
          <cx:pt idx="13">11.752799999999999</cx:pt>
          <cx:pt idx="14">8.9232000000000014</cx:pt>
          <cx:pt idx="15">13.447799999999999</cx:pt>
          <cx:pt idx="16">10.139699999999999</cx:pt>
          <cx:pt idx="17">11.328000000000001</cx:pt>
          <cx:pt idx="18">10.139699999999999</cx:pt>
          <cx:pt idx="19">7.4359999999999999</cx:pt>
          <cx:pt idx="20">59.678269999999898</cx:pt>
          <cx:pt idx="21">10.139699999999999</cx:pt>
          <cx:pt idx="22">17.687000000000001</cx:pt>
          <cx:pt idx="23">16.764200000000002</cx:pt>
          <cx:pt idx="24">60.726199999999999</cx:pt>
          <cx:pt idx="25">8.2472000000000012</cx:pt>
          <cx:pt idx="26">65.294099999999702</cx:pt>
          <cx:pt idx="27">6.5549999999999997</cx:pt>
          <cx:pt idx="28">70.936800000000005</cx:pt>
          <cx:pt idx="29">18.148399999999899</cx:pt>
          <cx:pt idx="30">12.319199999999899</cx:pt>
          <cx:pt idx="31">4.4870000000000001</cx:pt>
          <cx:pt idx="32">5.89949999999999</cx:pt>
          <cx:pt idx="33">12.319199999999899</cx:pt>
          <cx:pt idx="34">4.3716200000000001</cx:pt>
          <cx:pt idx="35">13.910520000000002</cx:pt>
          <cx:pt idx="36">6.4239000000000006</cx:pt>
          <cx:pt idx="37">44.899769999999698</cx:pt>
        </cx:lvl>
      </cx:numDim>
    </cx:data>
    <cx:data id="1">
      <cx:numDim type="val">
        <cx:f>UK_Region_Box_Plots!$E$2:$E$1153</cx:f>
        <cx:lvl ptCount="1152" formatCode="_(* #,##0_);_(* \(#,##0\);_(* &quot;-&quot;??_);_(@_)">
          <cx:pt idx="0">17.840799999999902</cx:pt>
          <cx:pt idx="1">14.0261999999999</cx:pt>
          <cx:pt idx="2">10.973099999999999</cx:pt>
          <cx:pt idx="3">4.3716200000000001</cx:pt>
          <cx:pt idx="4">11.894399999999999</cx:pt>
          <cx:pt idx="5">38.424100000000003</cx:pt>
          <cx:pt idx="6">44.872899999999902</cx:pt>
          <cx:pt idx="7">8.6527999999999992</cx:pt>
          <cx:pt idx="8">2.1794000000000002</cx:pt>
          <cx:pt idx="9">1.80762</cx:pt>
          <cx:pt idx="10">12.177599999999899</cx:pt>
          <cx:pt idx="11">41.917200000000001</cx:pt>
          <cx:pt idx="12">10.4175</cx:pt>
          <cx:pt idx="13">4.7433999999999994</cx:pt>
          <cx:pt idx="14">7.1655999999999995</cx:pt>
          <cx:pt idx="15">42.481469999999902</cx:pt>
          <cx:pt idx="16">10.973099999999999</cx:pt>
          <cx:pt idx="17">37.080599999999905</cx:pt>
          <cx:pt idx="18">19.378799999999998</cx:pt>
          <cx:pt idx="19">44.604199999999999</cx:pt>
          <cx:pt idx="20">46.485100000000003</cx:pt>
          <cx:pt idx="21">18.302199999999999</cx:pt>
          <cx:pt idx="22">18.794359999999998</cx:pt>
          <cx:pt idx="23">4.9998000000000005</cx:pt>
          <cx:pt idx="24">11.90856</cx:pt>
          <cx:pt idx="25">7.5712000000000002</cx:pt>
          <cx:pt idx="26">10.6952999999999</cx:pt>
          <cx:pt idx="27">6.6860999999999908</cx:pt>
          <cx:pt idx="28">7.8415999999999997</cx:pt>
          <cx:pt idx="29">10.139699999999999</cx:pt>
          <cx:pt idx="30">8.9232000000000014</cx:pt>
          <cx:pt idx="31">6.6860999999999908</cx:pt>
          <cx:pt idx="32">14.055119999999999</cx:pt>
          <cx:pt idx="33">3.08962</cx:pt>
          <cx:pt idx="34">15.771799999999999</cx:pt>
          <cx:pt idx="35">5.6504099999999999</cx:pt>
          <cx:pt idx="36">2.4358</cx:pt>
          <cx:pt idx="37">5.7683999999999997</cx:pt>
          <cx:pt idx="38">18.009979999999899</cx:pt>
          <cx:pt idx="39">18.148399999999899</cx:pt>
          <cx:pt idx="40">17.3794</cx:pt>
          <cx:pt idx="41">7.5712000000000002</cx:pt>
          <cx:pt idx="42">37.080599999999905</cx:pt>
          <cx:pt idx="43">13.447799999999999</cx:pt>
          <cx:pt idx="44">19.225000000000001</cx:pt>
          <cx:pt idx="45">18.456</cx:pt>
          <cx:pt idx="46">38.1554</cx:pt>
          <cx:pt idx="47">8.6527999999999992</cx:pt>
          <cx:pt idx="48">7.3008000000000006</cx:pt>
          <cx:pt idx="49">17.563960000000002</cx:pt>
          <cx:pt idx="50">7.1655999999999995</cx:pt>
          <cx:pt idx="51">10.0008</cx:pt>
          <cx:pt idx="52">13.109999999999999</cx:pt>
          <cx:pt idx="53">10.6952999999999</cx:pt>
          <cx:pt idx="54">41.917200000000001</cx:pt>
          <cx:pt idx="55">11.752799999999999</cx:pt>
          <cx:pt idx="56">5.7683999999999997</cx:pt>
          <cx:pt idx="57">12.333360000000001</cx:pt>
          <cx:pt idx="58">8.2472000000000012</cx:pt>
          <cx:pt idx="59">7.1655999999999995</cx:pt>
          <cx:pt idx="60">6.1616999999999997</cx:pt>
          <cx:pt idx="61">15.476999999999999</cx:pt>
          <cx:pt idx="62">7.1655999999999995</cx:pt>
          <cx:pt idx="63">7.5712000000000002</cx:pt>
          <cx:pt idx="64">36.059539999999998</cx:pt>
          <cx:pt idx="65">10.834199999999999</cx:pt>
          <cx:pt idx="66">50.515599999999907</cx:pt>
          <cx:pt idx="67">7.8415999999999997</cx:pt>
          <cx:pt idx="68">10.278600000000001</cx:pt>
          <cx:pt idx="69">7.1655999999999995</cx:pt>
          <cx:pt idx="70">15.9192</cx:pt>
          <cx:pt idx="71">6.4239000000000006</cx:pt>
          <cx:pt idx="72">37.886699999999998</cx:pt>
          <cx:pt idx="73">7.7063999999999995</cx:pt>
          <cx:pt idx="74">8.3823999999999987</cx:pt>
          <cx:pt idx="75">10.0008</cx:pt>
          <cx:pt idx="76">6.3059099999999892</cx:pt>
          <cx:pt idx="77">80.072599999999909</cx:pt>
          <cx:pt idx="78">11.894399999999999</cx:pt>
          <cx:pt idx="79">9.5840999999999994</cx:pt>
          <cx:pt idx="80">18.7636</cx:pt>
          <cx:pt idx="81">8.1120000000000001</cx:pt>
          <cx:pt idx="82">5.63729999999999</cx:pt>
          <cx:pt idx="83">10.973099999999999</cx:pt>
          <cx:pt idx="84">10.834199999999999</cx:pt>
          <cx:pt idx="85">12.177599999999899</cx:pt>
          <cx:pt idx="86">12.460799999999999</cx:pt>
          <cx:pt idx="87">11.328000000000001</cx:pt>
          <cx:pt idx="88">9.722999999999999</cx:pt>
          <cx:pt idx="89">56.426999999999907</cx:pt>
          <cx:pt idx="90">19.225000000000001</cx:pt>
          <cx:pt idx="91">4.8715999999999999</cx:pt>
          <cx:pt idx="92">11.639520000000001</cx:pt>
          <cx:pt idx="93">10.973099999999999</cx:pt>
          <cx:pt idx="94">59.973840000000003</cx:pt>
          <cx:pt idx="95">7.8415999999999997</cx:pt>
          <cx:pt idx="96">38.1554</cx:pt>
          <cx:pt idx="97">3.7306199999999996</cx:pt>
          <cx:pt idx="98">17.994599999999998</cx:pt>
          <cx:pt idx="99">35.737099999999998</cx:pt>
          <cx:pt idx="100">3.08962</cx:pt>
          <cx:pt idx="101">6.1616999999999997</cx:pt>
          <cx:pt idx="102">3.4742199999999896</cx:pt>
          <cx:pt idx="103">5.7683999999999997</cx:pt>
          <cx:pt idx="104">5.1279999999999903</cx:pt>
          <cx:pt idx="105">18.456</cx:pt>
          <cx:pt idx="106">4.4870000000000001</cx:pt>
          <cx:pt idx="107">7.1655999999999995</cx:pt>
          <cx:pt idx="108">13.31766</cx:pt>
          <cx:pt idx="109">5.7683999999999997</cx:pt>
          <cx:pt idx="110">18.7636</cx:pt>
          <cx:pt idx="111">13.896059999999999</cx:pt>
          <cx:pt idx="112">5.2561999999999998</cx:pt>
          <cx:pt idx="113">4.8844199999999995</cx:pt>
          <cx:pt idx="114">15.476999999999999</cx:pt>
          <cx:pt idx="115">15.182200000000002</cx:pt>
          <cx:pt idx="116">7.4359999999999999</cx:pt>
          <cx:pt idx="117">5.89949999999999</cx:pt>
          <cx:pt idx="118">7.7063999999999995</cx:pt>
          <cx:pt idx="119">4.4870000000000001</cx:pt>
          <cx:pt idx="120">12.036</cx:pt>
          <cx:pt idx="121">12.19176</cx:pt>
          <cx:pt idx="122">8.7880000000000003</cx:pt>
          <cx:pt idx="123">9.4451999999999998</cx:pt>
          <cx:pt idx="124">6.2927999999999997</cx:pt>
          <cx:pt idx="125">7.4359999999999999</cx:pt>
          <cx:pt idx="126">4.8715999999999999</cx:pt>
          <cx:pt idx="127">12.825000000000001</cx:pt>
          <cx:pt idx="128">7.9767999999999892</cx:pt>
          <cx:pt idx="129">3.4742199999999896</cx:pt>
          <cx:pt idx="130">10.5564</cx:pt>
          <cx:pt idx="131">6.8171999999999997</cx:pt>
          <cx:pt idx="132">6.3059099999999892</cx:pt>
          <cx:pt idx="133">8.7880000000000003</cx:pt>
          <cx:pt idx="134">8.2472000000000012</cx:pt>
          <cx:pt idx="135">8.5175999999999998</cx:pt>
          <cx:pt idx="136">13.5924</cx:pt>
          <cx:pt idx="137">13.447799999999999</cx:pt>
          <cx:pt idx="138">11.328000000000001</cx:pt>
          <cx:pt idx="139">8.3823999999999987</cx:pt>
          <cx:pt idx="140">8.5175999999999998</cx:pt>
          <cx:pt idx="141">7.1791200000000002</cx:pt>
          <cx:pt idx="142">13.736999999999998</cx:pt>
          <cx:pt idx="143">19.532599999999999</cx:pt>
          <cx:pt idx="144">9.1535399999999907</cx:pt>
          <cx:pt idx="145">10.4175</cx:pt>
          <cx:pt idx="146">4.20472</cx:pt>
          <cx:pt idx="147">45.947700000000005</cx:pt>
          <cx:pt idx="148">11.4696</cx:pt>
          <cx:pt idx="149">4.6151999999999997</cx:pt>
          <cx:pt idx="150">14.3154</cx:pt>
          <cx:pt idx="151">8.2472000000000012</cx:pt>
          <cx:pt idx="152">6.5549999999999997</cx:pt>
          <cx:pt idx="153">6.1616999999999997</cx:pt>
          <cx:pt idx="154">8.6527999999999992</cx:pt>
          <cx:pt idx="155">14.1708</cx:pt>
          <cx:pt idx="156">15.771799999999999</cx:pt>
          <cx:pt idx="157">7.3008000000000006</cx:pt>
          <cx:pt idx="158">17.0718</cx:pt>
          <cx:pt idx="159">15.786539999999999</cx:pt>
          <cx:pt idx="160">19.086580000000001</cx:pt>
          <cx:pt idx="161">36.838769999999997</cx:pt>
          <cx:pt idx="162">56.722569999999891</cx:pt>
          <cx:pt idx="163">15.329599999999999</cx:pt>
          <cx:pt idx="164">19.225000000000001</cx:pt>
          <cx:pt idx="165">52.127799999999901</cx:pt>
          <cx:pt idx="166">62.338399999999908</cx:pt>
          <cx:pt idx="167">5.89949999999999</cx:pt>
          <cx:pt idx="168">8.2472000000000012</cx:pt>
          <cx:pt idx="169">14.0261999999999</cx:pt>
          <cx:pt idx="170">6.5549999999999997</cx:pt>
          <cx:pt idx="171">38.424100000000003</cx:pt>
          <cx:pt idx="172">37.376169999999995</cx:pt>
          <cx:pt idx="173">15.476999999999999</cx:pt>
          <cx:pt idx="174">73.355099999999695</cx:pt>
          <cx:pt idx="175">19.225000000000001</cx:pt>
          <cx:pt idx="176">14.1708</cx:pt>
          <cx:pt idx="177">8.3823999999999987</cx:pt>
          <cx:pt idx="178">38.1554</cx:pt>
          <cx:pt idx="179">7.7063999999999995</cx:pt>
          <cx:pt idx="180">6.8171999999999997</cx:pt>
          <cx:pt idx="181">15.6244</cx:pt>
          <cx:pt idx="182">14.0261999999999</cx:pt>
          <cx:pt idx="183">8.7880000000000003</cx:pt>
          <cx:pt idx="184">14.3154</cx:pt>
          <cx:pt idx="185">7.5712000000000002</cx:pt>
          <cx:pt idx="186">9.722999999999999</cx:pt>
          <cx:pt idx="187">8.1120000000000001</cx:pt>
          <cx:pt idx="188">34.662300000000002</cx:pt>
        </cx:lvl>
      </cx:numDim>
    </cx:data>
    <cx:data id="2">
      <cx:numDim type="val">
        <cx:f>UK_Region_Box_Plots!$F$2:$F$1153</cx:f>
        <cx:lvl ptCount="1152" formatCode="_(* #,##0_);_(* \(#,##0\);_(* &quot;-&quot;??_);_(@_)">
          <cx:pt idx="0">52.692069999999703</cx:pt>
          <cx:pt idx="1">3.2906099999999898</cx:pt>
          <cx:pt idx="2">15.344340000000001</cx:pt>
          <cx:pt idx="3">15.6244</cx:pt>
          <cx:pt idx="4">18.6098</cx:pt>
          <cx:pt idx="5">15.6244</cx:pt>
          <cx:pt idx="6">41.1111</cx:pt>
          <cx:pt idx="7">52.960769999999904</cx:pt>
          <cx:pt idx="8">10.139699999999999</cx:pt>
          <cx:pt idx="9">15.476999999999999</cx:pt>
          <cx:pt idx="10">5.89949999999999</cx:pt>
          <cx:pt idx="11">46.485100000000003</cx:pt>
          <cx:pt idx="12">3.2178199999999997</cx:pt>
          <cx:pt idx="13">14.3154</cx:pt>
          <cx:pt idx="14">49.4676699999997</cx:pt>
          <cx:pt idx="15">41.1111</cx:pt>
          <cx:pt idx="16">8.5175999999999998</cx:pt>
          <cx:pt idx="17">12.177599999999899</cx:pt>
          <cx:pt idx="18">5.89949999999999</cx:pt>
          <cx:pt idx="19">9.3201899999999895</cx:pt>
          <cx:pt idx="20">18.009979999999899</cx:pt>
          <cx:pt idx="21">19.378799999999998</cx:pt>
          <cx:pt idx="22">4.3588000000000005</cx:pt>
          <cx:pt idx="23">19.071199999999997</cx:pt>
        </cx:lvl>
      </cx:numDim>
    </cx:data>
    <cx:data id="3">
      <cx:numDim type="val">
        <cx:f>UK_Region_Box_Plots!$G$2:$G$1153</cx:f>
        <cx:lvl ptCount="1152" formatCode="_(* #,##0_);_(* \(#,##0\);_(* &quot;-&quot;??_);_(@_)">
          <cx:pt idx="0">11.894399999999999</cx:pt>
          <cx:pt idx="1">15.771799999999999</cx:pt>
          <cx:pt idx="2">16.917999999999999</cx:pt>
          <cx:pt idx="3">10.0008</cx:pt>
          <cx:pt idx="4">15.04954</cx:pt>
          <cx:pt idx="5">11.328000000000001</cx:pt>
          <cx:pt idx="6">9.4451999999999998</cx:pt>
          <cx:pt idx="7">6.2927999999999997</cx:pt>
          <cx:pt idx="8">13.109999999999999</cx:pt>
          <cx:pt idx="9">3.8460000000000001</cx:pt>
          <cx:pt idx="10">10.139699999999999</cx:pt>
          <cx:pt idx="11">4.3588000000000005</cx:pt>
          <cx:pt idx="12">14.8873999999999</cx:pt>
          <cx:pt idx="13">5.2561999999999998</cx:pt>
          <cx:pt idx="14">37.886699999999998</cx:pt>
          <cx:pt idx="15">10.0008</cx:pt>
          <cx:pt idx="16">10.139699999999999</cx:pt>
          <cx:pt idx="17">6.5549999999999997</cx:pt>
          <cx:pt idx="18">9.8619000000000003</cx:pt>
          <cx:pt idx="19">6.2927999999999997</cx:pt>
          <cx:pt idx="20">41.917200000000001</cx:pt>
          <cx:pt idx="21">3.9741999999999997</cx:pt>
          <cx:pt idx="22">4.2305999999999999</cx:pt>
          <cx:pt idx="23">8.5175999999999998</cx:pt>
          <cx:pt idx="24">8.1120000000000001</cx:pt>
          <cx:pt idx="25">4.3588000000000005</cx:pt>
          <cx:pt idx="26">9.8619000000000003</cx:pt>
          <cx:pt idx="27">3.9741999999999997</cx:pt>
          <cx:pt idx="28">7.3008000000000006</cx:pt>
          <cx:pt idx="29">6.4239000000000006</cx:pt>
          <cx:pt idx="30">51.590400000000002</cx:pt>
          <cx:pt idx="31">3.9741999999999997</cx:pt>
          <cx:pt idx="32">10.0008</cx:pt>
          <cx:pt idx="33">10.139699999999999</cx:pt>
          <cx:pt idx="34">10.278600000000001</cx:pt>
          <cx:pt idx="35">5.9126099999999893</cx:pt>
          <cx:pt idx="36">15.9192</cx:pt>
          <cx:pt idx="37">15.034799999999901</cx:pt>
          <cx:pt idx="38">10.0008</cx:pt>
          <cx:pt idx="39">3.4613999999999998</cx:pt>
          <cx:pt idx="40">5.5061999999999998</cx:pt>
          <cx:pt idx="41">4.2305999999999999</cx:pt>
          <cx:pt idx="42">2.0511999999999997</cx:pt>
          <cx:pt idx="43">4.1023999999999994</cx:pt>
          <cx:pt idx="44">9.4451999999999998</cx:pt>
          <cx:pt idx="45">8.5175999999999998</cx:pt>
          <cx:pt idx="46">4.6151999999999997</cx:pt>
          <cx:pt idx="47">6.4239000000000006</cx:pt>
          <cx:pt idx="48">14.74</cx:pt>
          <cx:pt idx="49">8.6527999999999992</cx:pt>
          <cx:pt idx="50">10.6952999999999</cx:pt>
          <cx:pt idx="51">9.4451999999999998</cx:pt>
          <cx:pt idx="52">7.1655999999999995</cx:pt>
          <cx:pt idx="53">7.5847200000000008</cx:pt>
          <cx:pt idx="54">6.4239000000000006</cx:pt>
          <cx:pt idx="55">13.881599999999999</cx:pt>
          <cx:pt idx="56">2.3204199999999999</cx:pt>
          <cx:pt idx="57">4.2305999999999999</cx:pt>
          <cx:pt idx="58">17.994599999999998</cx:pt>
          <cx:pt idx="59">9.4451999999999998</cx:pt>
          <cx:pt idx="60">4.3399200000000002</cx:pt>
          <cx:pt idx="61">7.3008000000000006</cx:pt>
          <cx:pt idx="62">10.278600000000001</cx:pt>
          <cx:pt idx="63">4.3399200000000002</cx:pt>
          <cx:pt idx="64">10.5564</cx:pt>
          <cx:pt idx="65">38.1554</cx:pt>
          <cx:pt idx="66">5.1279999999999903</cx:pt>
          <cx:pt idx="67">18.7636</cx:pt>
          <cx:pt idx="68">40.305</cx:pt>
          <cx:pt idx="69">5.89949999999999</cx:pt>
        </cx:lvl>
      </cx:numDim>
    </cx:data>
    <cx:data id="4">
      <cx:numDim type="val">
        <cx:f>UK_Region_Box_Plots!$H$2:$H$1153</cx:f>
        <cx:lvl ptCount="1152" formatCode="_(* #,##0_);_(* \(#,##0\);_(* &quot;-&quot;??_);_(@_)">
          <cx:pt idx="0">17.702379999999902</cx:pt>
          <cx:pt idx="1">55.620899999999693</cx:pt>
          <cx:pt idx="2">18.4713799999999</cx:pt>
          <cx:pt idx="3">6.03059999999999</cx:pt>
          <cx:pt idx="4">34.930999999999997</cx:pt>
          <cx:pt idx="5">51.859100000000005</cx:pt>
          <cx:pt idx="6">15.801279999999901</cx:pt>
          <cx:pt idx="7">40.305</cx:pt>
          <cx:pt idx="8">48.93027</cx:pt>
          <cx:pt idx="9">50.784299999999902</cx:pt>
          <cx:pt idx="10">39.498899999999999</cx:pt>
          <cx:pt idx="11">40.600570000000005</cx:pt>
          <cx:pt idx="12">45.947700000000005</cx:pt>
          <cx:pt idx="13">64.756699999999697</cx:pt>
          <cx:pt idx="14">13.5924</cx:pt>
          <cx:pt idx="15">37.618000000000002</cx:pt>
          <cx:pt idx="16">57.501799999999903</cx:pt>
          <cx:pt idx="17">42.454599999999999</cx:pt>
          <cx:pt idx="18">48.097299999999898</cx:pt>
          <cx:pt idx="19">10.848089999999901</cx:pt>
          <cx:pt idx="20">43.2607</cx:pt>
          <cx:pt idx="21">40.573700000000002</cx:pt>
          <cx:pt idx="22">53.202599999999997</cx:pt>
          <cx:pt idx="23">63.413199999999904</cx:pt>
          <cx:pt idx="24">34.662300000000002</cx:pt>
          <cx:pt idx="25">15.771799999999999</cx:pt>
          <cx:pt idx="26">43.2607</cx:pt>
          <cx:pt idx="27">11.4696</cx:pt>
          <cx:pt idx="28">61.263599999999997</cx:pt>
          <cx:pt idx="29">37.080599999999905</cx:pt>
          <cx:pt idx="30">50.515599999999907</cx:pt>
          <cx:pt idx="31">40.842399999999998</cx:pt>
          <cx:pt idx="32">39.767599999999995</cx:pt>
          <cx:pt idx="33">61.800999999999995</cx:pt>
          <cx:pt idx="34">2.3075999999999999</cx:pt>
          <cx:pt idx="35">36.301369999999999</cx:pt>
          <cx:pt idx="36">43.2607</cx:pt>
          <cx:pt idx="37">58.307900000000004</cx:pt>
          <cx:pt idx="38">42.454599999999999</cx:pt>
          <cx:pt idx="39">18.6098</cx:pt>
          <cx:pt idx="40">18.302199999999999</cx:pt>
          <cx:pt idx="41">40.573700000000002</cx:pt>
          <cx:pt idx="42">42.750169999999898</cx:pt>
          <cx:pt idx="43">67.228739999999704</cx:pt>
          <cx:pt idx="44">18.6098</cx:pt>
          <cx:pt idx="45">72.548999999999694</cx:pt>
          <cx:pt idx="46">56.695699999999704</cx:pt>
          <cx:pt idx="47">41.1111</cx:pt>
          <cx:pt idx="48">59.113999999999997</cx:pt>
          <cx:pt idx="49">35.1997</cx:pt>
          <cx:pt idx="50">44.872899999999902</cx:pt>
          <cx:pt idx="51">19.225000000000001</cx:pt>
          <cx:pt idx="52">14.1852599999999</cx:pt>
          <cx:pt idx="53">40.06317</cx:pt>
          <cx:pt idx="54">15.329599999999999</cx:pt>
          <cx:pt idx="55">15.771799999999999</cx:pt>
          <cx:pt idx="56">47.022500000000001</cx:pt>
          <cx:pt idx="57">13.5924</cx:pt>
          <cx:pt idx="58">15.771799999999999</cx:pt>
          <cx:pt idx="59">45.678999999999995</cx:pt>
          <cx:pt idx="60">49.440800000000003</cx:pt>
          <cx:pt idx="61">14.0261999999999</cx:pt>
        </cx:lvl>
      </cx:numDim>
    </cx:data>
    <cx:data id="5">
      <cx:numDim type="val">
        <cx:f>UK_Region_Box_Plots!$I$2:$I$1153</cx:f>
        <cx:lvl ptCount="1152" formatCode="_(* #,##0_);_(* \(#,##0\);_(* &quot;-&quot;??_);_(@_)">
          <cx:pt idx="0">19.686400000000003</cx:pt>
          <cx:pt idx="1">48.661569999999998</cx:pt>
          <cx:pt idx="2">3.9741999999999997</cx:pt>
          <cx:pt idx="3">4.1023999999999994</cx:pt>
          <cx:pt idx="4">7.3008000000000006</cx:pt>
          <cx:pt idx="5">4.3588000000000005</cx:pt>
          <cx:pt idx="6">8.6527999999999992</cx:pt>
          <cx:pt idx="7">12.967500000000001</cx:pt>
          <cx:pt idx="8">36.543199999999999</cx:pt>
          <cx:pt idx="9">5.7683999999999997</cx:pt>
          <cx:pt idx="10">12.460799999999999</cx:pt>
          <cx:pt idx="11">15.6244</cx:pt>
          <cx:pt idx="12">17.687000000000001</cx:pt>
          <cx:pt idx="13">4.8715999999999999</cx:pt>
          <cx:pt idx="14">8.5175999999999998</cx:pt>
          <cx:pt idx="15">10.0146899999999</cx:pt>
          <cx:pt idx="16">11.90856</cx:pt>
          <cx:pt idx="17">6.6860999999999908</cx:pt>
          <cx:pt idx="18">8.1120000000000001</cx:pt>
          <cx:pt idx="19">8.2472000000000012</cx:pt>
          <cx:pt idx="20">7.8415999999999997</cx:pt>
          <cx:pt idx="21">3.8588200000000001</cx:pt>
          <cx:pt idx="22">13.5924</cx:pt>
          <cx:pt idx="23">5.7683999999999997</cx:pt>
          <cx:pt idx="24">15.182200000000002</cx:pt>
          <cx:pt idx="25">5.89949999999999</cx:pt>
          <cx:pt idx="26">6.03059999999999</cx:pt>
          <cx:pt idx="27">12.98175</cx:pt>
          <cx:pt idx="28">14.1708</cx:pt>
          <cx:pt idx="29">10.834199999999999</cx:pt>
          <cx:pt idx="30">5.2561999999999998</cx:pt>
          <cx:pt idx="31">11.611199999999899</cx:pt>
          <cx:pt idx="32">14.1708</cx:pt>
          <cx:pt idx="33">14.607339999999899</cx:pt>
          <cx:pt idx="34">3.7178000000000004</cx:pt>
          <cx:pt idx="35">13.109999999999999</cx:pt>
          <cx:pt idx="36">9.5840999999999994</cx:pt>
          <cx:pt idx="37">8.6527999999999992</cx:pt>
          <cx:pt idx="38">16.917999999999999</cx:pt>
          <cx:pt idx="39">19.225000000000001</cx:pt>
          <cx:pt idx="40">4.4870000000000001</cx:pt>
          <cx:pt idx="41">7.9767999999999892</cx:pt>
          <cx:pt idx="42">7.1791200000000002</cx:pt>
          <cx:pt idx="43">40.842399999999998</cx:pt>
          <cx:pt idx="44">10.834199999999999</cx:pt>
          <cx:pt idx="45">9.3201899999999895</cx:pt>
          <cx:pt idx="46">17.24098</cx:pt>
          <cx:pt idx="47">11.752799999999999</cx:pt>
          <cx:pt idx="48">11.894399999999999</cx:pt>
          <cx:pt idx="49">8.2742400000000202</cx:pt>
          <cx:pt idx="50">8.7880000000000003</cx:pt>
          <cx:pt idx="51">8.1120000000000001</cx:pt>
        </cx:lvl>
      </cx:numDim>
    </cx:data>
    <cx:data id="6">
      <cx:numDim type="val">
        <cx:f>UK_Region_Box_Plots!$J$2:$J$1153</cx:f>
        <cx:lvl ptCount="1152" formatCode="_(* #,##0_);_(* \(#,##0\);_(* &quot;-&quot;??_);_(@_)">
          <cx:pt idx="0">4.8715999999999999</cx:pt>
          <cx:pt idx="1">6.6860999999999908</cx:pt>
          <cx:pt idx="2">4.4870000000000001</cx:pt>
          <cx:pt idx="3">3.0768</cx:pt>
          <cx:pt idx="4">12.177599999999899</cx:pt>
          <cx:pt idx="5">7.9767999999999892</cx:pt>
          <cx:pt idx="6">7.7063999999999995</cx:pt>
          <cx:pt idx="7">7.9767999999999892</cx:pt>
          <cx:pt idx="8">35.226570000000002</cx:pt>
          <cx:pt idx="9">5.5061999999999998</cx:pt>
          <cx:pt idx="10">6.5549999999999997</cx:pt>
          <cx:pt idx="11">4.2305999999999999</cx:pt>
          <cx:pt idx="12">4.3588000000000005</cx:pt>
          <cx:pt idx="13">4.3588000000000005</cx:pt>
          <cx:pt idx="14">8.2472000000000012</cx:pt>
          <cx:pt idx="15">16.764200000000002</cx:pt>
          <cx:pt idx="16">8.5175999999999998</cx:pt>
          <cx:pt idx="17">11.611199999999899</cx:pt>
          <cx:pt idx="18">36.865639999999999</cx:pt>
          <cx:pt idx="19">5.5061999999999998</cx:pt>
          <cx:pt idx="20">3.2178199999999997</cx:pt>
          <cx:pt idx="21">8.7880000000000003</cx:pt>
          <cx:pt idx="22">13.857379999999999</cx:pt>
          <cx:pt idx="23">10.4175</cx:pt>
          <cx:pt idx="24">3.9741999999999997</cx:pt>
          <cx:pt idx="25">5.2561999999999998</cx:pt>
          <cx:pt idx="26">11.328000000000001</cx:pt>
          <cx:pt idx="27">6.1616999999999997</cx:pt>
          <cx:pt idx="28">5.63729999999999</cx:pt>
          <cx:pt idx="29">3.9741999999999997</cx:pt>
          <cx:pt idx="30">6.4239000000000006</cx:pt>
          <cx:pt idx="31">17.840799999999902</cx:pt>
          <cx:pt idx="32">16.764200000000002</cx:pt>
          <cx:pt idx="33">4.2305999999999999</cx:pt>
          <cx:pt idx="34">10.278600000000001</cx:pt>
          <cx:pt idx="35">9.5840999999999994</cx:pt>
          <cx:pt idx="36">3.5895999999999999</cx:pt>
          <cx:pt idx="37">5.63729999999999</cx:pt>
          <cx:pt idx="38">5.2561999999999998</cx:pt>
          <cx:pt idx="39">4.4870000000000001</cx:pt>
          <cx:pt idx="40">8.5175999999999998</cx:pt>
          <cx:pt idx="41">8.2472000000000012</cx:pt>
          <cx:pt idx="42">6.4239000000000006</cx:pt>
          <cx:pt idx="43">5.7683999999999997</cx:pt>
          <cx:pt idx="44">6.1616999999999997</cx:pt>
          <cx:pt idx="45">10.5564</cx:pt>
          <cx:pt idx="46">3.5895999999999999</cx:pt>
          <cx:pt idx="47">4.2305999999999999</cx:pt>
          <cx:pt idx="48">15.329599999999999</cx:pt>
          <cx:pt idx="49">10.973099999999999</cx:pt>
          <cx:pt idx="50">13.109999999999999</cx:pt>
          <cx:pt idx="51">9.0583999999999989</cx:pt>
          <cx:pt idx="52">10.4175</cx:pt>
          <cx:pt idx="53">8.2472000000000012</cx:pt>
          <cx:pt idx="54">9.0583999999999989</cx:pt>
          <cx:pt idx="55">12.319199999999899</cx:pt>
          <cx:pt idx="56">10.4175</cx:pt>
          <cx:pt idx="57">10.139699999999999</cx:pt>
          <cx:pt idx="58">8.2472000000000012</cx:pt>
          <cx:pt idx="59">6.2927999999999997</cx:pt>
          <cx:pt idx="60">5.7683999999999997</cx:pt>
          <cx:pt idx="61">10.0008</cx:pt>
          <cx:pt idx="62">48.634699999999697</cx:pt>
          <cx:pt idx="63">4.9998000000000005</cx:pt>
          <cx:pt idx="64">2.9614199999999999</cx:pt>
          <cx:pt idx="65">9.1535399999999907</cx:pt>
          <cx:pt idx="66">7.7063999999999995</cx:pt>
          <cx:pt idx="67">5.7683999999999997</cx:pt>
          <cx:pt idx="68">3.9741999999999997</cx:pt>
          <cx:pt idx="69">6.4239000000000006</cx:pt>
          <cx:pt idx="70">5.5061999999999998</cx:pt>
          <cx:pt idx="71">5.89949999999999</cx:pt>
          <cx:pt idx="72">8.3823999999999987</cx:pt>
          <cx:pt idx="73">3.7178000000000004</cx:pt>
          <cx:pt idx="74">12.460799999999999</cx:pt>
          <cx:pt idx="75">10.5564</cx:pt>
          <cx:pt idx="76">18.009979999999899</cx:pt>
          <cx:pt idx="77">3.9741999999999997</cx:pt>
          <cx:pt idx="78">8.6527999999999992</cx:pt>
          <cx:pt idx="79">4.9998000000000005</cx:pt>
          <cx:pt idx="80">3.7178000000000004</cx:pt>
          <cx:pt idx="81">5.2561999999999998</cx:pt>
          <cx:pt idx="82">8.1120000000000001</cx:pt>
          <cx:pt idx="83">3.55281</cx:pt>
          <cx:pt idx="84">6.03059999999999</cx:pt>
          <cx:pt idx="85">26.628170000000001</cx:pt>
          <cx:pt idx="86">5.63729999999999</cx:pt>
          <cx:pt idx="87">8.1120000000000001</cx:pt>
          <cx:pt idx="88">2.9485999999999999</cx:pt>
          <cx:pt idx="89">4.4870000000000001</cx:pt>
          <cx:pt idx="90">6.6860999999999908</cx:pt>
          <cx:pt idx="91">12.825000000000001</cx:pt>
          <cx:pt idx="92">10.834199999999999</cx:pt>
          <cx:pt idx="93">39.498899999999999</cx:pt>
          <cx:pt idx="94">13.447799999999999</cx:pt>
          <cx:pt idx="95">7.3008000000000006</cx:pt>
          <cx:pt idx="96">4.2305999999999999</cx:pt>
          <cx:pt idx="97">8.1120000000000001</cx:pt>
          <cx:pt idx="98">8.5175999999999998</cx:pt>
          <cx:pt idx="99">15.034799999999901</cx:pt>
          <cx:pt idx="100">8.9232000000000014</cx:pt>
          <cx:pt idx="101">11.328000000000001</cx:pt>
          <cx:pt idx="102">6.1616999999999997</cx:pt>
          <cx:pt idx="103">44.872899999999902</cx:pt>
          <cx:pt idx="104">3.0768</cx:pt>
          <cx:pt idx="105">8.5639399999999899</cx:pt>
          <cx:pt idx="106">5.89949999999999</cx:pt>
          <cx:pt idx="107">5.7683999999999997</cx:pt>
          <cx:pt idx="108">18.917400000000001</cx:pt>
          <cx:pt idx="109">4.8715999999999999</cx:pt>
          <cx:pt idx="110">5.7683999999999997</cx:pt>
          <cx:pt idx="111">4.1023999999999994</cx:pt>
          <cx:pt idx="112">4.6151999999999997</cx:pt>
          <cx:pt idx="113">6.03059999999999</cx:pt>
          <cx:pt idx="114">4.1023999999999994</cx:pt>
        </cx:lvl>
      </cx:numDim>
    </cx:data>
    <cx:data id="7">
      <cx:numDim type="val">
        <cx:f>UK_Region_Box_Plots!$K$2:$K$1153</cx:f>
        <cx:lvl ptCount="1152" formatCode="_(* #,##0_);_(* \(#,##0\);_(* &quot;-&quot;??_);_(@_)">
          <cx:pt idx="0">37.080599999999905</cx:pt>
          <cx:pt idx="1">2.0640200000000002</cx:pt>
          <cx:pt idx="2">14.1708</cx:pt>
          <cx:pt idx="3">15.9192</cx:pt>
          <cx:pt idx="4">35.495269999999898</cx:pt>
          <cx:pt idx="5">10.6952999999999</cx:pt>
          <cx:pt idx="6">44.066799999999901</cx:pt>
          <cx:pt idx="7">34.662300000000002</cx:pt>
          <cx:pt idx="8">52.127799999999901</cx:pt>
          <cx:pt idx="9">36.005800000000001</cx:pt>
          <cx:pt idx="10">51.3216999999999</cx:pt>
          <cx:pt idx="11">43.529399999999903</cx:pt>
          <cx:pt idx="12">9.4451999999999998</cx:pt>
          <cx:pt idx="13">41.917200000000001</cx:pt>
          <cx:pt idx="14">9.5840999999999994</cx:pt>
          <cx:pt idx="15">13.881599999999999</cx:pt>
          <cx:pt idx="16">17.533199999999997</cx:pt>
          <cx:pt idx="17">43.798099999999998</cx:pt>
          <cx:pt idx="18">37.618000000000002</cx:pt>
          <cx:pt idx="19">8.1120000000000001</cx:pt>
          <cx:pt idx="20">4.6151999999999997</cx:pt>
          <cx:pt idx="21">45.4102999999999</cx:pt>
          <cx:pt idx="22">6.0437099999999999</cx:pt>
          <cx:pt idx="23">46.216399999999901</cx:pt>
          <cx:pt idx="24">11.4696</cx:pt>
          <cx:pt idx="25">9.0583999999999989</cx:pt>
          <cx:pt idx="26">5.4309900000000004</cx:pt>
          <cx:pt idx="27">16.764200000000002</cx:pt>
          <cx:pt idx="28">17.687000000000001</cx:pt>
          <cx:pt idx="29">19.225000000000001</cx:pt>
          <cx:pt idx="30">18.6098</cx:pt>
          <cx:pt idx="31">38.1554</cx:pt>
          <cx:pt idx="32">6.2927999999999997</cx:pt>
          <cx:pt idx="33">17.0718</cx:pt>
          <cx:pt idx="34">43.2607</cx:pt>
          <cx:pt idx="35">41.379800000000003</cx:pt>
          <cx:pt idx="36">40.305</cx:pt>
          <cx:pt idx="37">36.543199999999999</cx:pt>
          <cx:pt idx="38">41.137970000000003</cx:pt>
          <cx:pt idx="39">8.5175999999999998</cx:pt>
          <cx:pt idx="40">8.9232000000000014</cx:pt>
          <cx:pt idx="41">10.834199999999999</cx:pt>
          <cx:pt idx="42">18.302199999999999</cx:pt>
          <cx:pt idx="43">41.917200000000001</cx:pt>
          <cx:pt idx="44">38.424100000000003</cx:pt>
          <cx:pt idx="45">18.6098</cx:pt>
          <cx:pt idx="46">46.243269999999995</cx:pt>
          <cx:pt idx="47">50.784299999999902</cx:pt>
          <cx:pt idx="48">45.437170000000002</cx:pt>
          <cx:pt idx="49">39.767599999999995</cx:pt>
          <cx:pt idx="50">8.5175999999999998</cx:pt>
          <cx:pt idx="51">10.834199999999999</cx:pt>
          <cx:pt idx="52">44.872899999999902</cx:pt>
          <cx:pt idx="53">50.246899999999904</cx:pt>
          <cx:pt idx="54">54.8147999999997</cx:pt>
          <cx:pt idx="55">19.071199999999997</cx:pt>
          <cx:pt idx="56">18.302199999999999</cx:pt>
          <cx:pt idx="57">8.2472000000000012</cx:pt>
          <cx:pt idx="58">8.3823999999999987</cx:pt>
          <cx:pt idx="59">5.5061999999999998</cx:pt>
          <cx:pt idx="60">9.4451999999999998</cx:pt>
          <cx:pt idx="61">52.127799999999901</cx:pt>
          <cx:pt idx="62">15.9192</cx:pt>
          <cx:pt idx="63">19.071199999999997</cx:pt>
          <cx:pt idx="64">19.686400000000003</cx:pt>
          <cx:pt idx="65">18.917400000000001</cx:pt>
          <cx:pt idx="66">18.6098</cx:pt>
          <cx:pt idx="67">38.424100000000003</cx:pt>
          <cx:pt idx="68">35.737099999999998</cx:pt>
          <cx:pt idx="69">18.7636</cx:pt>
          <cx:pt idx="70">13.881599999999999</cx:pt>
          <cx:pt idx="71">18.148399999999899</cx:pt>
          <cx:pt idx="72">17.840799999999902</cx:pt>
          <cx:pt idx="73">18.009979999999899</cx:pt>
          <cx:pt idx="74">41.675370000000001</cx:pt>
          <cx:pt idx="75">37.886699999999998</cx:pt>
          <cx:pt idx="76">3.5895999999999999</cx:pt>
          <cx:pt idx="77">15.182200000000002</cx:pt>
          <cx:pt idx="78">19.532599999999999</cx:pt>
          <cx:pt idx="79">19.532599999999999</cx:pt>
          <cx:pt idx="80">3.4613999999999998</cx:pt>
          <cx:pt idx="81">10.139699999999999</cx:pt>
          <cx:pt idx="82">18.148399999999899</cx:pt>
          <cx:pt idx="83">19.532599999999999</cx:pt>
          <cx:pt idx="84">10.139699999999999</cx:pt>
          <cx:pt idx="85">6.6860999999999908</cx:pt>
          <cx:pt idx="86">45.141599999999698</cx:pt>
          <cx:pt idx="87">9.4451999999999998</cx:pt>
          <cx:pt idx="88">48.903400000000005</cx:pt>
          <cx:pt idx="89">36.543199999999999</cx:pt>
          <cx:pt idx="90">4.6151999999999997</cx:pt>
          <cx:pt idx="91">10.6952999999999</cx:pt>
          <cx:pt idx="92">45.678999999999697</cx:pt>
          <cx:pt idx="93">44.872899999999902</cx:pt>
          <cx:pt idx="94">36.005800000000001</cx:pt>
          <cx:pt idx="95">14.3154</cx:pt>
          <cx:pt idx="96">18.148399999999899</cx:pt>
          <cx:pt idx="97">5.63729999999999</cx:pt>
          <cx:pt idx="98">40.573700000000002</cx:pt>
          <cx:pt idx="99">7.3008000000000006</cx:pt>
          <cx:pt idx="100">12.825000000000001</cx:pt>
          <cx:pt idx="101">6.03059999999999</cx:pt>
          <cx:pt idx="102">39.525770000000001</cx:pt>
          <cx:pt idx="103">7.5712000000000002</cx:pt>
          <cx:pt idx="104">17.08718</cx:pt>
          <cx:pt idx="105">4.2305999999999999</cx:pt>
          <cx:pt idx="106">41.648499999999999</cx:pt>
          <cx:pt idx="107">4.3588000000000005</cx:pt>
          <cx:pt idx="108">55.083499999999994</cx:pt>
          <cx:pt idx="109">43.798099999999998</cx:pt>
          <cx:pt idx="110">51.052999999999905</cx:pt>
          <cx:pt idx="111">70.130699999999706</cx:pt>
          <cx:pt idx="112">15.476999999999999</cx:pt>
          <cx:pt idx="113">54.572969999999998</cx:pt>
          <cx:pt idx="114">37.618000000000002</cx:pt>
          <cx:pt idx="115">40.573700000000002</cx:pt>
          <cx:pt idx="116">18.456</cx:pt>
          <cx:pt idx="117">4.4870000000000001</cx:pt>
          <cx:pt idx="118">41.648499999999999</cx:pt>
          <cx:pt idx="119">43.2607</cx:pt>
          <cx:pt idx="120">9.4451999999999998</cx:pt>
          <cx:pt idx="121">70.399399999999702</cx:pt>
          <cx:pt idx="122">36.005800000000001</cx:pt>
          <cx:pt idx="123">38.424100000000003</cx:pt>
          <cx:pt idx="124">16.917999999999999</cx:pt>
          <cx:pt idx="125">6.8171999999999997</cx:pt>
          <cx:pt idx="126">7.5982400000000201</cx:pt>
          <cx:pt idx="127">1.6794199999999999</cx:pt>
          <cx:pt idx="128">55.889599999999994</cx:pt>
          <cx:pt idx="129">3.3332000000000002</cx:pt>
          <cx:pt idx="130">50.273769999999999</cx:pt>
          <cx:pt idx="131">14.3154</cx:pt>
          <cx:pt idx="132">34.930999999999997</cx:pt>
          <cx:pt idx="133">53.202599999999698</cx:pt>
          <cx:pt idx="134">15.6244</cx:pt>
          <cx:pt idx="135">40.036300000000004</cx:pt>
          <cx:pt idx="136">5.63729999999999</cx:pt>
          <cx:pt idx="137">18.917400000000001</cx:pt>
          <cx:pt idx="138">17.548580000000001</cx:pt>
          <cx:pt idx="139">40.573700000000002</cx:pt>
          <cx:pt idx="140">18.302199999999999</cx:pt>
          <cx:pt idx="141">49.978200000000001</cx:pt>
          <cx:pt idx="142">54.814799999999998</cx:pt>
          <cx:pt idx="143">5.7815099999999902</cx:pt>
          <cx:pt idx="144">18.4713799999999</cx:pt>
          <cx:pt idx="145">15.344340000000001</cx:pt>
          <cx:pt idx="146">9.4451999999999998</cx:pt>
          <cx:pt idx="147">35.495269999999898</cx:pt>
          <cx:pt idx="148">45.678999999999995</cx:pt>
          <cx:pt idx="149">5.1279999999999903</cx:pt>
          <cx:pt idx="150">7.4495199999999997</cx:pt>
          <cx:pt idx="151">44.066799999999901</cx:pt>
          <cx:pt idx="152">17.3794</cx:pt>
          <cx:pt idx="153">2.8203999999999998</cx:pt>
          <cx:pt idx="154">18.917400000000001</cx:pt>
          <cx:pt idx="155">5.5061999999999998</cx:pt>
          <cx:pt idx="156">18.456</cx:pt>
          <cx:pt idx="157">3.8460000000000001</cx:pt>
          <cx:pt idx="158">17.687000000000001</cx:pt>
          <cx:pt idx="159">9.0583999999999989</cx:pt>
          <cx:pt idx="160">37.618000000000002</cx:pt>
        </cx:lvl>
      </cx:numDim>
    </cx:data>
    <cx:data id="8">
      <cx:numDim type="val">
        <cx:f>UK_Region_Box_Plots!$L$2:$L$1153</cx:f>
        <cx:lvl ptCount="1152" formatCode="_(* #,##0_);_(* \(#,##0\);_(* &quot;-&quot;??_);_(@_)">
          <cx:pt idx="0">38.961499999999901</cx:pt>
          <cx:pt idx="1">6.03059999999999</cx:pt>
          <cx:pt idx="2">12.967500000000001</cx:pt>
          <cx:pt idx="3">8.9232000000000014</cx:pt>
          <cx:pt idx="4">3.8460000000000001</cx:pt>
          <cx:pt idx="5">6.1616999999999997</cx:pt>
          <cx:pt idx="6">12.177599999999899</cx:pt>
          <cx:pt idx="7">5.89949999999999</cx:pt>
          <cx:pt idx="8">8.5175999999999998</cx:pt>
          <cx:pt idx="9">44.872899999999902</cx:pt>
          <cx:pt idx="10">5.1408199999999997</cx:pt>
          <cx:pt idx="11">41.675370000000001</cx:pt>
          <cx:pt idx="12">7.7063999999999995</cx:pt>
          <cx:pt idx="13">7.4359999999999999</cx:pt>
          <cx:pt idx="14">6.1616999999999997</cx:pt>
          <cx:pt idx="15">6.2927999999999997</cx:pt>
          <cx:pt idx="16">8.1120000000000001</cx:pt>
          <cx:pt idx="17">3.9741999999999997</cx:pt>
          <cx:pt idx="18">6.6860999999999908</cx:pt>
          <cx:pt idx="19">8.2472000000000012</cx:pt>
          <cx:pt idx="20">2.7050200000000002</cx:pt>
          <cx:pt idx="21">7.9767999999999892</cx:pt>
          <cx:pt idx="22">5.89949999999999</cx:pt>
          <cx:pt idx="23">6.6992099999999999</cx:pt>
        </cx:lvl>
      </cx:numDim>
    </cx:data>
    <cx:data id="9">
      <cx:numDim type="val">
        <cx:f>UK_Region_Box_Plots!$M$2:$M$1153</cx:f>
        <cx:lvl ptCount="1152" formatCode="_(* #,##0_);_(* \(#,##0\);_(* &quot;-&quot;??_);_(@_)">
          <cx:pt idx="0">5.89949999999999</cx:pt>
          <cx:pt idx="1">8.1120000000000001</cx:pt>
          <cx:pt idx="2">10.4175</cx:pt>
          <cx:pt idx="3">6.03059999999999</cx:pt>
          <cx:pt idx="4">7.4359999999999999</cx:pt>
          <cx:pt idx="5">8.2472000000000012</cx:pt>
          <cx:pt idx="6">7.1655999999999995</cx:pt>
          <cx:pt idx="7">9.722999999999999</cx:pt>
          <cx:pt idx="8">11.894399999999999</cx:pt>
          <cx:pt idx="9">7.3008000000000006</cx:pt>
          <cx:pt idx="10">19.225000000000001</cx:pt>
          <cx:pt idx="11">11.611199999999899</cx:pt>
          <cx:pt idx="12">6.03059999999999</cx:pt>
          <cx:pt idx="13">6.1616999999999997</cx:pt>
          <cx:pt idx="14">37.080599999999905</cx:pt>
          <cx:pt idx="15">4.4870000000000001</cx:pt>
          <cx:pt idx="16">15.04954</cx:pt>
          <cx:pt idx="17">10.6952999999999</cx:pt>
          <cx:pt idx="18">10.6952999999999</cx:pt>
          <cx:pt idx="19">40.06317</cx:pt>
          <cx:pt idx="20">8.2472000000000012</cx:pt>
          <cx:pt idx="21">5.1279999999999903</cx:pt>
          <cx:pt idx="22">10.5564</cx:pt>
          <cx:pt idx="23">28.777769999999904</cx:pt>
          <cx:pt idx="24">50.246899999999904</cx:pt>
          <cx:pt idx="25">10.139699999999999</cx:pt>
          <cx:pt idx="26">12.83925</cx:pt>
          <cx:pt idx="27">9.722999999999999</cx:pt>
          <cx:pt idx="28">4.9998000000000005</cx:pt>
          <cx:pt idx="29">12.460799999999999</cx:pt>
          <cx:pt idx="30">10.5564</cx:pt>
          <cx:pt idx="31">7.3008000000000006</cx:pt>
          <cx:pt idx="32">4.8715999999999999</cx:pt>
          <cx:pt idx="33">9.8619000000000003</cx:pt>
          <cx:pt idx="34">10.973099999999999</cx:pt>
          <cx:pt idx="35">6.03059999999999</cx:pt>
          <cx:pt idx="36">7.4359999999999999</cx:pt>
          <cx:pt idx="37">10.278600000000001</cx:pt>
          <cx:pt idx="38">4.6151999999999997</cx:pt>
          <cx:pt idx="39">8.1120000000000001</cx:pt>
          <cx:pt idx="40">13.5924</cx:pt>
          <cx:pt idx="41">16.917999999999999</cx:pt>
          <cx:pt idx="42">8.1120000000000001</cx:pt>
          <cx:pt idx="43">6.0568200000000196</cx:pt>
          <cx:pt idx="44">9.0583999999999989</cx:pt>
          <cx:pt idx="45">6.1616999999999997</cx:pt>
          <cx:pt idx="46">10.5564</cx:pt>
          <cx:pt idx="47">12.19176</cx:pt>
          <cx:pt idx="48">11.752799999999999</cx:pt>
          <cx:pt idx="49">7.4359999999999999</cx:pt>
          <cx:pt idx="50">6.5549999999999997</cx:pt>
          <cx:pt idx="51">6.03059999999999</cx:pt>
          <cx:pt idx="52">13.881599999999899</cx:pt>
          <cx:pt idx="53">8.3823999999999987</cx:pt>
          <cx:pt idx="54">10.5564</cx:pt>
          <cx:pt idx="55">12.602399999999999</cx:pt>
          <cx:pt idx="56">30.121269999999999</cx:pt>
          <cx:pt idx="57">6.03059999999999</cx:pt>
          <cx:pt idx="58">7.7063999999999995</cx:pt>
          <cx:pt idx="59">12.62698</cx:pt>
          <cx:pt idx="60">5.63729999999999</cx:pt>
          <cx:pt idx="61">5.7683999999999997</cx:pt>
          <cx:pt idx="62">5.7683999999999997</cx:pt>
          <cx:pt idx="63">4.2305999999999999</cx:pt>
          <cx:pt idx="64">5.7683999999999997</cx:pt>
          <cx:pt idx="65">31.196069999999899</cx:pt>
          <cx:pt idx="66">12.036</cx:pt>
          <cx:pt idx="67">6.1616999999999997</cx:pt>
          <cx:pt idx="68">3.7306199999999996</cx:pt>
          <cx:pt idx="69">10.5564</cx:pt>
          <cx:pt idx="70">11.752799999999999</cx:pt>
          <cx:pt idx="71">15.182200000000002</cx:pt>
          <cx:pt idx="72">6.2927999999999997</cx:pt>
          <cx:pt idx="73">10.6952999999999</cx:pt>
          <cx:pt idx="74">15.034799999999901</cx:pt>
          <cx:pt idx="75">17.2256</cx:pt>
          <cx:pt idx="76">6.8171999999999997</cx:pt>
          <cx:pt idx="77">11.4696</cx:pt>
          <cx:pt idx="78">6.8171999999999997</cx:pt>
          <cx:pt idx="79">11.4696</cx:pt>
          <cx:pt idx="80">7.5712000000000002</cx:pt>
          <cx:pt idx="81">2.6922000000000001</cx:pt>
          <cx:pt idx="82">5.5061999999999998</cx:pt>
          <cx:pt idx="83">4.2305999999999999</cx:pt>
          <cx:pt idx="84">18.302199999999999</cx:pt>
          <cx:pt idx="85">4.3588000000000005</cx:pt>
          <cx:pt idx="86">11.611199999999899</cx:pt>
          <cx:pt idx="87">6.1616999999999997</cx:pt>
          <cx:pt idx="88">8.5175999999999998</cx:pt>
          <cx:pt idx="89">11.4696</cx:pt>
          <cx:pt idx="90">12.036</cx:pt>
          <cx:pt idx="91">12.825000000000001</cx:pt>
          <cx:pt idx="92">8.5175999999999998</cx:pt>
          <cx:pt idx="93">17.533199999999997</cx:pt>
          <cx:pt idx="94">6.1616999999999997</cx:pt>
          <cx:pt idx="95">13.109999999999999</cx:pt>
          <cx:pt idx="96">6.03059999999999</cx:pt>
          <cx:pt idx="97">10.6952999999999</cx:pt>
          <cx:pt idx="98">6.03059999999999</cx:pt>
          <cx:pt idx="99">6.03059999999999</cx:pt>
          <cx:pt idx="100">7.5712000000000002</cx:pt>
          <cx:pt idx="101">5.2561999999999998</cx:pt>
          <cx:pt idx="102">5.5061999999999998</cx:pt>
          <cx:pt idx="103">9.5840999999999994</cx:pt>
          <cx:pt idx="104">10.0008</cx:pt>
          <cx:pt idx="105">9.5979900000000011</cx:pt>
          <cx:pt idx="106">10.973099999999999</cx:pt>
          <cx:pt idx="107">7.4359999999999999</cx:pt>
          <cx:pt idx="108">2.4358</cx:pt>
          <cx:pt idx="109">4.9998000000000005</cx:pt>
          <cx:pt idx="110">7.9767999999999892</cx:pt>
          <cx:pt idx="111">7.5712000000000002</cx:pt>
          <cx:pt idx="112">6.4239000000000006</cx:pt>
          <cx:pt idx="113">5.5061999999999998</cx:pt>
          <cx:pt idx="114">9.8757900000000003</cx:pt>
          <cx:pt idx="115">5.5061999999999998</cx:pt>
          <cx:pt idx="116">9.8619000000000003</cx:pt>
          <cx:pt idx="117">9.5840999999999994</cx:pt>
          <cx:pt idx="118">5.89949999999999</cx:pt>
          <cx:pt idx="119">11.611199999999899</cx:pt>
          <cx:pt idx="120">10.6952999999999</cx:pt>
          <cx:pt idx="121">5.63729999999999</cx:pt>
          <cx:pt idx="122">4.4870000000000001</cx:pt>
          <cx:pt idx="123">6.03059999999999</cx:pt>
          <cx:pt idx="124">8.6527999999999992</cx:pt>
          <cx:pt idx="125">10.973099999999999</cx:pt>
          <cx:pt idx="126">6.4239000000000006</cx:pt>
          <cx:pt idx="127">5.5061999999999998</cx:pt>
          <cx:pt idx="128">6.4239000000000006</cx:pt>
          <cx:pt idx="129">12.967500000000001</cx:pt>
          <cx:pt idx="130">12.177599999999899</cx:pt>
          <cx:pt idx="131">10.4175</cx:pt>
          <cx:pt idx="132">5.5061999999999998</cx:pt>
          <cx:pt idx="133">6.1616999999999997</cx:pt>
          <cx:pt idx="134">5.89949999999999</cx:pt>
          <cx:pt idx="135">10.834199999999999</cx:pt>
          <cx:pt idx="136">11.328000000000001</cx:pt>
          <cx:pt idx="137">6.4239000000000006</cx:pt>
          <cx:pt idx="138">7.5712000000000002</cx:pt>
          <cx:pt idx="139">10.0008</cx:pt>
          <cx:pt idx="140">13.881599999999999</cx:pt>
          <cx:pt idx="141">10.5564</cx:pt>
          <cx:pt idx="142">12.602399999999999</cx:pt>
          <cx:pt idx="143">27.434269999999998</cx:pt>
          <cx:pt idx="144">4.3588000000000005</cx:pt>
          <cx:pt idx="145">9.5840999999999994</cx:pt>
          <cx:pt idx="146">8.80152</cx:pt>
          <cx:pt idx="147">45.4102999999999</cx:pt>
          <cx:pt idx="148">4.6151999999999997</cx:pt>
          <cx:pt idx="149">6.8171999999999997</cx:pt>
          <cx:pt idx="150">8.5175999999999998</cx:pt>
          <cx:pt idx="151">6.2927999999999997</cx:pt>
          <cx:pt idx="152">4.4870000000000001</cx:pt>
          <cx:pt idx="153">5.89949999999999</cx:pt>
          <cx:pt idx="154">10.6952999999999</cx:pt>
          <cx:pt idx="155">6.2927999999999997</cx:pt>
          <cx:pt idx="156">6.4239000000000006</cx:pt>
          <cx:pt idx="157">4.2305999999999999</cx:pt>
          <cx:pt idx="158">6.2927999999999997</cx:pt>
          <cx:pt idx="159">12.177599999999899</cx:pt>
          <cx:pt idx="160">5.63729999999999</cx:pt>
          <cx:pt idx="161">11.4696</cx:pt>
          <cx:pt idx="162">28.509069999999998</cx:pt>
          <cx:pt idx="163">5.7683999999999997</cx:pt>
          <cx:pt idx="164">17.3794</cx:pt>
          <cx:pt idx="165">7.4359999999999999</cx:pt>
          <cx:pt idx="166">10.973099999999999</cx:pt>
          <cx:pt idx="167">4.6151999999999997</cx:pt>
          <cx:pt idx="168">37.618000000000002</cx:pt>
          <cx:pt idx="169">11.4696</cx:pt>
          <cx:pt idx="170">6.03059999999999</cx:pt>
          <cx:pt idx="171">6.03059999999999</cx:pt>
          <cx:pt idx="172">6.6860999999999908</cx:pt>
          <cx:pt idx="173">11.328000000000001</cx:pt>
          <cx:pt idx="174">10.0008</cx:pt>
          <cx:pt idx="175">7.5712000000000002</cx:pt>
          <cx:pt idx="176">8.6527999999999992</cx:pt>
          <cx:pt idx="177">6.6860999999999908</cx:pt>
          <cx:pt idx="178">7.3008000000000006</cx:pt>
          <cx:pt idx="179">5.2561999999999998</cx:pt>
          <cx:pt idx="180">8.1120000000000001</cx:pt>
          <cx:pt idx="181">5.5061999999999998</cx:pt>
          <cx:pt idx="182">10.278600000000001</cx:pt>
          <cx:pt idx="183">7.4359999999999999</cx:pt>
          <cx:pt idx="184">41.379800000000003</cx:pt>
          <cx:pt idx="185">8.3823999999999987</cx:pt>
          <cx:pt idx="186">11.611199999999899</cx:pt>
          <cx:pt idx="187">6.03059999999999</cx:pt>
          <cx:pt idx="188">6.6992099999999999</cx:pt>
          <cx:pt idx="189">10.5564</cx:pt>
          <cx:pt idx="190">10.5564</cx:pt>
          <cx:pt idx="191">7.3008000000000006</cx:pt>
          <cx:pt idx="192">8.1120000000000001</cx:pt>
          <cx:pt idx="193">10.973099999999999</cx:pt>
          <cx:pt idx="194">5.2561999999999998</cx:pt>
          <cx:pt idx="195">6.4239000000000006</cx:pt>
          <cx:pt idx="196">15.182200000000002</cx:pt>
          <cx:pt idx="197">4.4870000000000001</cx:pt>
          <cx:pt idx="198">8.2472000000000012</cx:pt>
          <cx:pt idx="199">5.89949999999999</cx:pt>
          <cx:pt idx="200">10.4175</cx:pt>
          <cx:pt idx="201">8.3823999999999987</cx:pt>
          <cx:pt idx="202">6.2927999999999997</cx:pt>
          <cx:pt idx="203">10.139699999999999</cx:pt>
          <cx:pt idx="204">10.6952999999999</cx:pt>
          <cx:pt idx="205">10.973099999999999</cx:pt>
          <cx:pt idx="206">6.4239000000000006</cx:pt>
          <cx:pt idx="207">5.5061999999999998</cx:pt>
          <cx:pt idx="208">10.5564</cx:pt>
          <cx:pt idx="209">7.8415999999999997</cx:pt>
          <cx:pt idx="210">7.8415999999999997</cx:pt>
          <cx:pt idx="211">17.2256</cx:pt>
          <cx:pt idx="212">10.4175</cx:pt>
          <cx:pt idx="213">6.2927999999999997</cx:pt>
          <cx:pt idx="214">0.91021999999999992</cx:pt>
          <cx:pt idx="215">8.7880000000000003</cx:pt>
          <cx:pt idx="216">6.5549999999999997</cx:pt>
          <cx:pt idx="217">17.840799999999902</cx:pt>
          <cx:pt idx="218">4.6151999999999997</cx:pt>
          <cx:pt idx="219">7.3008000000000006</cx:pt>
          <cx:pt idx="220">10.834199999999999</cx:pt>
          <cx:pt idx="221">5.9126099999999893</cx:pt>
          <cx:pt idx="222">4.9998000000000005</cx:pt>
          <cx:pt idx="223">26.090769999999903</cx:pt>
          <cx:pt idx="224">6.2927999999999997</cx:pt>
          <cx:pt idx="225">12.319199999999899</cx:pt>
          <cx:pt idx="226">8.6527999999999992</cx:pt>
          <cx:pt idx="227">11.4696</cx:pt>
          <cx:pt idx="228">4.3588000000000005</cx:pt>
          <cx:pt idx="229">6.1616999999999997</cx:pt>
          <cx:pt idx="230">11.611199999999899</cx:pt>
          <cx:pt idx="231">5.63729999999999</cx:pt>
          <cx:pt idx="232">9.8619000000000003</cx:pt>
          <cx:pt idx="233">13.1242499999999</cx:pt>
          <cx:pt idx="234">10.139699999999999</cx:pt>
          <cx:pt idx="235">5.63729999999999</cx:pt>
          <cx:pt idx="236">12.460799999999999</cx:pt>
          <cx:pt idx="237">5.63729999999999</cx:pt>
          <cx:pt idx="238">7.7063999999999995</cx:pt>
          <cx:pt idx="239">6.8171999999999997</cx:pt>
          <cx:pt idx="240">10.834199999999999</cx:pt>
          <cx:pt idx="241">12.602399999999999</cx:pt>
          <cx:pt idx="242">12.460799999999999</cx:pt>
          <cx:pt idx="243">4.1023999999999994</cx:pt>
          <cx:pt idx="244">4.6151999999999997</cx:pt>
          <cx:pt idx="245">13.5924</cx:pt>
          <cx:pt idx="246">12.825000000000001</cx:pt>
          <cx:pt idx="247">4.7433999999999994</cx:pt>
          <cx:pt idx="248">10.834199999999999</cx:pt>
          <cx:pt idx="249">59.920099999999699</cx:pt>
          <cx:pt idx="250">17.687000000000001</cx:pt>
          <cx:pt idx="251">8.5175999999999998</cx:pt>
          <cx:pt idx="252">17.994599999999998</cx:pt>
          <cx:pt idx="253">15.771799999999999</cx:pt>
          <cx:pt idx="254">11.611199999999899</cx:pt>
          <cx:pt idx="255">10.278600000000001</cx:pt>
          <cx:pt idx="256">4.8844199999999995</cx:pt>
          <cx:pt idx="257">10.4175</cx:pt>
          <cx:pt idx="258">8.2472000000000012</cx:pt>
          <cx:pt idx="259">5.63729999999999</cx:pt>
          <cx:pt idx="260">14.0261999999999</cx:pt>
          <cx:pt idx="261">18.917400000000001</cx:pt>
          <cx:pt idx="262">5.63729999999999</cx:pt>
          <cx:pt idx="263">10.278600000000001</cx:pt>
          <cx:pt idx="264">5.5061999999999998</cx:pt>
          <cx:pt idx="265">10.139699999999999</cx:pt>
          <cx:pt idx="266">11.4696</cx:pt>
          <cx:pt idx="267">35.737099999999998</cx:pt>
          <cx:pt idx="268">6.03059999999999</cx:pt>
          <cx:pt idx="269">14.6263799999999</cx:pt>
          <cx:pt idx="270">5.7683999999999997</cx:pt>
          <cx:pt idx="271">39.257069999999899</cx:pt>
          <cx:pt idx="272">4.2305999999999999</cx:pt>
          <cx:pt idx="273">5.2561999999999998</cx:pt>
          <cx:pt idx="274">5.63729999999999</cx:pt>
          <cx:pt idx="275">9.5840999999999994</cx:pt>
          <cx:pt idx="276">3.9741999999999997</cx:pt>
          <cx:pt idx="277">4.3588000000000005</cx:pt>
          <cx:pt idx="278">9.7368899999999989</cx:pt>
          <cx:pt idx="279">14.1708</cx:pt>
          <cx:pt idx="280">4.8715999999999999</cx:pt>
          <cx:pt idx="281">2.3075999999999999</cx:pt>
          <cx:pt idx="282">5.89949999999999</cx:pt>
          <cx:pt idx="283">10.278600000000001</cx:pt>
          <cx:pt idx="284">4.4870000000000001</cx:pt>
          <cx:pt idx="285">11.611199999999899</cx:pt>
          <cx:pt idx="286">10.834199999999999</cx:pt>
          <cx:pt idx="287">8.6527999999999992</cx:pt>
          <cx:pt idx="288">5.89949999999999</cx:pt>
          <cx:pt idx="289">4.3588000000000005</cx:pt>
          <cx:pt idx="290">6.5549999999999997</cx:pt>
          <cx:pt idx="291">47.855469999999997</cx:pt>
          <cx:pt idx="292">6.2927999999999997</cx:pt>
          <cx:pt idx="293">4.1152199999999999</cx:pt>
          <cx:pt idx="294">11.4696</cx:pt>
          <cx:pt idx="295">17.24098</cx:pt>
          <cx:pt idx="296">10.139699999999999</cx:pt>
          <cx:pt idx="297">7.8228599999999995</cx:pt>
          <cx:pt idx="298">10.5564</cx:pt>
          <cx:pt idx="299">5.7683999999999997</cx:pt>
          <cx:pt idx="300">10.6952999999999</cx:pt>
          <cx:pt idx="301">3.08962</cx:pt>
          <cx:pt idx="302">10.973099999999999</cx:pt>
          <cx:pt idx="303">10.5564</cx:pt>
          <cx:pt idx="304">6.6860999999999908</cx:pt>
          <cx:pt idx="305">42.185899999999997</cx:pt>
          <cx:pt idx="306">6.2927999999999997</cx:pt>
          <cx:pt idx="307">10.5564</cx:pt>
          <cx:pt idx="308">3.8460000000000001</cx:pt>
          <cx:pt idx="309">6.2927999999999997</cx:pt>
          <cx:pt idx="310">6.03059999999999</cx:pt>
          <cx:pt idx="311">11.328000000000001</cx:pt>
          <cx:pt idx="312">8.9367199999999993</cx:pt>
          <cx:pt idx="313">5.5061999999999998</cx:pt>
          <cx:pt idx="314">5.63729999999999</cx:pt>
          <cx:pt idx="315">4.2305999999999999</cx:pt>
          <cx:pt idx="316">13.5924</cx:pt>
          <cx:pt idx="317">16.764200000000002</cx:pt>
          <cx:pt idx="318">5.6504099999999999</cx:pt>
          <cx:pt idx="319">10.139699999999999</cx:pt>
          <cx:pt idx="320">5.63729999999999</cx:pt>
          <cx:pt idx="321">10.278600000000001</cx:pt>
          <cx:pt idx="322">6.6860999999999908</cx:pt>
          <cx:pt idx="323">11.894399999999999</cx:pt>
          <cx:pt idx="324">5.7683999999999997</cx:pt>
          <cx:pt idx="325">5.89949999999999</cx:pt>
          <cx:pt idx="326">8.2472000000000012</cx:pt>
          <cx:pt idx="327">10.4175</cx:pt>
          <cx:pt idx="328">11.752799999999999</cx:pt>
          <cx:pt idx="329">12.036</cx:pt>
          <cx:pt idx="330">10.5564</cx:pt>
          <cx:pt idx="331">5.7683999999999997</cx:pt>
          <cx:pt idx="332">13.5924</cx:pt>
          <cx:pt idx="333">4.4870000000000001</cx:pt>
          <cx:pt idx="334">38.424100000000003</cx:pt>
          <cx:pt idx="335">10.5564</cx:pt>
          <cx:pt idx="336">12.319199999999899</cx:pt>
          <cx:pt idx="337">27.165569999999899</cx:pt>
          <cx:pt idx="338">5.7683999999999997</cx:pt>
          <cx:pt idx="339">44.631069999999902</cx:pt>
          <cx:pt idx="340">10.973099999999999</cx:pt>
          <cx:pt idx="341">10.4175</cx:pt>
          <cx:pt idx="342">7.1655999999999995</cx:pt>
          <cx:pt idx="343">5.7683999999999997</cx:pt>
          <cx:pt idx="344">5.7683999999999997</cx:pt>
          <cx:pt idx="345">6.1616999999999997</cx:pt>
          <cx:pt idx="346">9.8619000000000003</cx:pt>
          <cx:pt idx="347">11.625360000000001</cx:pt>
          <cx:pt idx="348">4.3588000000000005</cx:pt>
          <cx:pt idx="349">4.2305999999999999</cx:pt>
          <cx:pt idx="350">57.233099999999702</cx:pt>
          <cx:pt idx="351">10.278600000000001</cx:pt>
          <cx:pt idx="352">3.0768</cx:pt>
          <cx:pt idx="353">4.4870000000000001</cx:pt>
          <cx:pt idx="354">5.5061999999999998</cx:pt>
          <cx:pt idx="355">5.1279999999999903</cx:pt>
          <cx:pt idx="356">1.6794199999999999</cx:pt>
          <cx:pt idx="357">10.5564</cx:pt>
          <cx:pt idx="358">12.602399999999999</cx:pt>
          <cx:pt idx="359">7.3008000000000006</cx:pt>
          <cx:pt idx="360">10.0008</cx:pt>
          <cx:pt idx="361">6.5549999999999997</cx:pt>
          <cx:pt idx="362">37.618000000000002</cx:pt>
          <cx:pt idx="363">11.894399999999999</cx:pt>
          <cx:pt idx="364">17.687000000000001</cx:pt>
          <cx:pt idx="365">5.5061999999999998</cx:pt>
          <cx:pt idx="366">4.6151999999999997</cx:pt>
          <cx:pt idx="367">4.7433999999999994</cx:pt>
          <cx:pt idx="368">6.14175</cx:pt>
          <cx:pt idx="369">5.89949999999999</cx:pt>
          <cx:pt idx="370">10.834199999999999</cx:pt>
          <cx:pt idx="371">16.917999999999999</cx:pt>
          <cx:pt idx="372">7.1655999999999995</cx:pt>
          <cx:pt idx="373">6.5549999999999997</cx:pt>
          <cx:pt idx="374">11.328000000000001</cx:pt>
        </cx:lvl>
      </cx:numDim>
    </cx:data>
    <cx:data id="10">
      <cx:numDim type="val">
        <cx:f>UK_Region_Box_Plots!$N$2:$N$1153</cx:f>
        <cx:lvl ptCount="1152" formatCode="_(* #,##0_);_(* \(#,##0\);_(* &quot;-&quot;??_);_(@_)">
          <cx:pt idx="0">51.052999999999905</cx:pt>
          <cx:pt idx="1">48.392870000000002</cx:pt>
          <cx:pt idx="2">12.036</cx:pt>
          <cx:pt idx="3">7.1655999999999995</cx:pt>
          <cx:pt idx="4">42.992000000000004</cx:pt>
          <cx:pt idx="5">15.786539999999999</cx:pt>
          <cx:pt idx="6">4.8715999999999999</cx:pt>
          <cx:pt idx="7">15.9192</cx:pt>
          <cx:pt idx="8">11.328000000000001</cx:pt>
          <cx:pt idx="9">18.7636</cx:pt>
          <cx:pt idx="10">14.1708</cx:pt>
          <cx:pt idx="11">17.840799999999902</cx:pt>
          <cx:pt idx="12">18.778979999999901</cx:pt>
          <cx:pt idx="13">8.7880000000000003</cx:pt>
          <cx:pt idx="14">18.009979999999899</cx:pt>
          <cx:pt idx="15">10.278600000000001</cx:pt>
          <cx:pt idx="16">19.532599999999999</cx:pt>
          <cx:pt idx="17">3.9741999999999997</cx:pt>
          <cx:pt idx="18">51.052999999999905</cx:pt>
          <cx:pt idx="19">10.0008</cx:pt>
          <cx:pt idx="20">10.834199999999999</cx:pt>
          <cx:pt idx="21">6.03059999999999</cx:pt>
          <cx:pt idx="22">4.2305999999999999</cx:pt>
          <cx:pt idx="23">15.476999999999999</cx:pt>
          <cx:pt idx="24">16.625780000000002</cx:pt>
          <cx:pt idx="25">5.2690199999999905</cx:pt>
          <cx:pt idx="26">36.005800000000001</cx:pt>
          <cx:pt idx="27">11.752799999999999</cx:pt>
          <cx:pt idx="28">12.177599999999899</cx:pt>
          <cx:pt idx="29">19.378799999999998</cx:pt>
          <cx:pt idx="30">10.278600000000001</cx:pt>
          <cx:pt idx="31">6.1616999999999997</cx:pt>
          <cx:pt idx="32">6.8171999999999997</cx:pt>
          <cx:pt idx="33">6.8171999999999997</cx:pt>
          <cx:pt idx="34">44.335500000000003</cx:pt>
          <cx:pt idx="35">10.6952999999999</cx:pt>
          <cx:pt idx="36">8.3823999999999987</cx:pt>
          <cx:pt idx="37">10.834199999999999</cx:pt>
          <cx:pt idx="38">10.6952999999999</cx:pt>
          <cx:pt idx="39">12.177599999999899</cx:pt>
          <cx:pt idx="40">18.456</cx:pt>
          <cx:pt idx="41">40.331869999999995</cx:pt>
          <cx:pt idx="42">9.722999999999999</cx:pt>
          <cx:pt idx="43">57.501799999999704</cx:pt>
          <cx:pt idx="44">34.930999999999997</cx:pt>
          <cx:pt idx="45">10.6952999999999</cx:pt>
          <cx:pt idx="46">49.709499999999998</cx:pt>
          <cx:pt idx="47">11.4696</cx:pt>
          <cx:pt idx="48">15.034799999999901</cx:pt>
          <cx:pt idx="49">9.5840999999999994</cx:pt>
          <cx:pt idx="50">5.5061999999999998</cx:pt>
          <cx:pt idx="51">5.89949999999999</cx:pt>
          <cx:pt idx="52">18.6098</cx:pt>
          <cx:pt idx="53">16.764200000000002</cx:pt>
          <cx:pt idx="54">6.8171999999999997</cx:pt>
          <cx:pt idx="55">15.771799999999999</cx:pt>
          <cx:pt idx="56">9.8619000000000003</cx:pt>
          <cx:pt idx="57">6.4239000000000006</cx:pt>
          <cx:pt idx="58">7.3008000000000006</cx:pt>
          <cx:pt idx="59">11.4696</cx:pt>
          <cx:pt idx="60">42.992000000000004</cx:pt>
          <cx:pt idx="61">18.456</cx:pt>
          <cx:pt idx="62">35.737099999999998</cx:pt>
          <cx:pt idx="63">55.352199999999996</cx:pt>
          <cx:pt idx="64">38.692799999999998</cx:pt>
          <cx:pt idx="65">48.634699999999995</cx:pt>
          <cx:pt idx="66">6.03059999999999</cx:pt>
          <cx:pt idx="67">29.852569999999901</cx:pt>
          <cx:pt idx="68">10.139699999999999</cx:pt>
          <cx:pt idx="69">35.1997</cx:pt>
          <cx:pt idx="70">10.973099999999999</cx:pt>
          <cx:pt idx="71">43.556270000000005</cx:pt>
          <cx:pt idx="72">13.447799999999999</cx:pt>
          <cx:pt idx="73">39.230199999999897</cx:pt>
          <cx:pt idx="74">17.533199999999997</cx:pt>
          <cx:pt idx="75">10.6952999999999</cx:pt>
          <cx:pt idx="76">9.5840999999999994</cx:pt>
          <cx:pt idx="77">18.302199999999999</cx:pt>
          <cx:pt idx="78">13.606859999999902</cx:pt>
          <cx:pt idx="79">6.03059999999999</cx:pt>
          <cx:pt idx="80">10.0008</cx:pt>
          <cx:pt idx="81">4.2305999999999999</cx:pt>
          <cx:pt idx="82">6.03059999999999</cx:pt>
          <cx:pt idx="83">55.620899999999992</cx:pt>
          <cx:pt idx="84">6.03059999999999</cx:pt>
          <cx:pt idx="85">49.709499999999998</cx:pt>
          <cx:pt idx="86">56.426999999999708</cx:pt>
          <cx:pt idx="87">15.476999999999999</cx:pt>
          <cx:pt idx="88">17.994599999999998</cx:pt>
          <cx:pt idx="89">17.533199999999997</cx:pt>
          <cx:pt idx="90">19.071199999999997</cx:pt>
          <cx:pt idx="91">19.378799999999998</cx:pt>
          <cx:pt idx="92">17.2256</cx:pt>
          <cx:pt idx="93">39.498899999999999</cx:pt>
          <cx:pt idx="94">8.6527999999999992</cx:pt>
          <cx:pt idx="95">41.648499999999999</cx:pt>
          <cx:pt idx="96">4.9998000000000005</cx:pt>
          <cx:pt idx="97">54.8147999999997</cx:pt>
          <cx:pt idx="98">10.6952999999999</cx:pt>
          <cx:pt idx="99">35.1997</cx:pt>
          <cx:pt idx="100">13.5924</cx:pt>
          <cx:pt idx="101">15.329599999999999</cx:pt>
          <cx:pt idx="102">43.529399999999903</cx:pt>
          <cx:pt idx="103">41.917200000000001</cx:pt>
          <cx:pt idx="104">61.263599999999698</cx:pt>
          <cx:pt idx="105">5.63729999999999</cx:pt>
          <cx:pt idx="106">8.9232000000000014</cx:pt>
          <cx:pt idx="107">28.509069999999998</cx:pt>
          <cx:pt idx="108">40.06317</cx:pt>
          <cx:pt idx="109">18.6098</cx:pt>
          <cx:pt idx="110">34.930999999999997</cx:pt>
          <cx:pt idx="111">37.3492999999999</cx:pt>
          <cx:pt idx="112">44.872899999999902</cx:pt>
          <cx:pt idx="113">17.840799999999902</cx:pt>
          <cx:pt idx="114">19.378799999999998</cx:pt>
          <cx:pt idx="115">42.454599999999999</cx:pt>
          <cx:pt idx="116">40.06317</cx:pt>
          <cx:pt idx="117">13.751459999999899</cx:pt>
          <cx:pt idx="118">44.066799999999901</cx:pt>
          <cx:pt idx="119">56.185169999999694</cx:pt>
          <cx:pt idx="120">40.06317</cx:pt>
          <cx:pt idx="121">10.5564</cx:pt>
          <cx:pt idx="122">13.5924</cx:pt>
          <cx:pt idx="123">10.278600000000001</cx:pt>
          <cx:pt idx="124">43.529399999999903</cx:pt>
          <cx:pt idx="125">6.3059099999999892</cx:pt>
          <cx:pt idx="126">7.3143200000000004</cx:pt>
          <cx:pt idx="127">35.737099999999998</cx:pt>
          <cx:pt idx="128">17.994599999999998</cx:pt>
          <cx:pt idx="129">37.618000000000002</cx:pt>
          <cx:pt idx="130">36.274499999999996</cx:pt>
          <cx:pt idx="131">42.454599999999999</cx:pt>
          <cx:pt idx="132">15.476999999999999</cx:pt>
          <cx:pt idx="133">18.4713799999999</cx:pt>
          <cx:pt idx="134">15.034799999999901</cx:pt>
          <cx:pt idx="135">10.973099999999999</cx:pt>
          <cx:pt idx="136">2.8332199999999998</cx:pt>
          <cx:pt idx="137">19.686400000000003</cx:pt>
          <cx:pt idx="138">44.872899999999902</cx:pt>
          <cx:pt idx="139">11.752799999999999</cx:pt>
          <cx:pt idx="140">15.9192</cx:pt>
          <cx:pt idx="141">17.0718</cx:pt>
          <cx:pt idx="142">41.917200000000001</cx:pt>
          <cx:pt idx="143">15.771799999999999</cx:pt>
          <cx:pt idx="144">10.278600000000001</cx:pt>
          <cx:pt idx="145">63.413199999999705</cx:pt>
          <cx:pt idx="146">5.7683999999999997</cx:pt>
          <cx:pt idx="147">11.328000000000001</cx:pt>
          <cx:pt idx="148">13.447799999999999</cx:pt>
          <cx:pt idx="149">10.834199999999999</cx:pt>
          <cx:pt idx="150">38.961499999999901</cx:pt>
          <cx:pt idx="151">41.648499999999999</cx:pt>
          <cx:pt idx="152">46.216399999999901</cx:pt>
          <cx:pt idx="153">15.329599999999999</cx:pt>
          <cx:pt idx="154">9.0583999999999989</cx:pt>
          <cx:pt idx="155">18.7636</cx:pt>
          <cx:pt idx="156">36.838769999999997</cx:pt>
          <cx:pt idx="157">6.2927999999999997</cx:pt>
          <cx:pt idx="158">58.307899999999705</cx:pt>
          <cx:pt idx="159">10.278600000000001</cx:pt>
          <cx:pt idx="160">10.6952999999999</cx:pt>
          <cx:pt idx="161">70.130699999999706</cx:pt>
          <cx:pt idx="162">39.767599999999995</cx:pt>
          <cx:pt idx="163">16.764200000000002</cx:pt>
          <cx:pt idx="164">5.63729999999999</cx:pt>
          <cx:pt idx="165">11.328000000000001</cx:pt>
          <cx:pt idx="166">16.917999999999999</cx:pt>
          <cx:pt idx="167">9.5840999999999994</cx:pt>
          <cx:pt idx="168">19.532599999999999</cx:pt>
          <cx:pt idx="169">51.859100000000005</cx:pt>
          <cx:pt idx="170">40.573700000000002</cx:pt>
          <cx:pt idx="171">10.0008</cx:pt>
          <cx:pt idx="172">16.779579999999999</cx:pt>
          <cx:pt idx="173">41.379800000000003</cx:pt>
          <cx:pt idx="174">9.4451999999999998</cx:pt>
          <cx:pt idx="175">40.036300000000004</cx:pt>
          <cx:pt idx="176">5.5193099999999999</cx:pt>
          <cx:pt idx="177">7.5712000000000002</cx:pt>
          <cx:pt idx="178">19.071199999999997</cx:pt>
          <cx:pt idx="179">4.4870000000000001</cx:pt>
          <cx:pt idx="180">38.961499999999901</cx:pt>
          <cx:pt idx="181">17.24098</cx:pt>
          <cx:pt idx="182">18.009979999999899</cx:pt>
          <cx:pt idx="183">19.378799999999998</cx:pt>
          <cx:pt idx="184">27.702969999999898</cx:pt>
          <cx:pt idx="185">39.230199999999897</cx:pt>
          <cx:pt idx="186">19.225000000000001</cx:pt>
          <cx:pt idx="187">18.4713799999999</cx:pt>
          <cx:pt idx="188">39.525770000000001</cx:pt>
          <cx:pt idx="189">18.625179999999901</cx:pt>
          <cx:pt idx="190">13.881599999999999</cx:pt>
          <cx:pt idx="191">17.702379999999902</cx:pt>
          <cx:pt idx="192">16.625780000000002</cx:pt>
          <cx:pt idx="193">12.036</cx:pt>
          <cx:pt idx="194">40.331869999999995</cx:pt>
          <cx:pt idx="195">39.525770000000001</cx:pt>
          <cx:pt idx="196">5.89949999999999</cx:pt>
          <cx:pt idx="197">48.634699999999995</cx:pt>
          <cx:pt idx="198">4.3588000000000005</cx:pt>
          <cx:pt idx="199">41.917200000000001</cx:pt>
          <cx:pt idx="200">6.5549999999999997</cx:pt>
          <cx:pt idx="201">17.533199999999997</cx:pt>
          <cx:pt idx="202">44.362369999999999</cx:pt>
          <cx:pt idx="203">16.779579999999999</cx:pt>
          <cx:pt idx="204">4.6280199999999905</cx:pt>
          <cx:pt idx="205">42.212769999999999</cx:pt>
          <cx:pt idx="206">28.777770000000004</cx:pt>
          <cx:pt idx="207">16.93338</cx:pt>
          <cx:pt idx="208">52.127799999999901</cx:pt>
          <cx:pt idx="209">41.4066699999997</cx:pt>
        </cx:lvl>
      </cx:numDim>
    </cx:data>
    <cx:data id="11">
      <cx:numDim type="val">
        <cx:f>UK_Region_Box_Plots!$O$2:$O$1153</cx:f>
        <cx:lvl ptCount="1152" formatCode="_(* #,##0_);_(* \(#,##0\);_(* &quot;-&quot;??_);_(@_)">
          <cx:pt idx="0">18.009979999999899</cx:pt>
          <cx:pt idx="1">11.752799999999999</cx:pt>
          <cx:pt idx="2">35.226570000000002</cx:pt>
          <cx:pt idx="3">5.4309900000000004</cx:pt>
          <cx:pt idx="4">35.495269999999898</cx:pt>
          <cx:pt idx="5">35.763969999999901</cx:pt>
          <cx:pt idx="6">18.009979999999899</cx:pt>
          <cx:pt idx="7">10.5564</cx:pt>
          <cx:pt idx="8">26.628170000000001</cx:pt>
          <cx:pt idx="9">27.165569999999999</cx:pt>
          <cx:pt idx="10">5.8197600000000005</cx:pt>
          <cx:pt idx="11">7.3008000000000006</cx:pt>
          <cx:pt idx="12">10.834199999999999</cx:pt>
          <cx:pt idx="13">3.2178199999999997</cx:pt>
          <cx:pt idx="14">43.287569999999697</cx:pt>
          <cx:pt idx="15">33.076969999999903</cx:pt>
          <cx:pt idx="16">12.602399999999999</cx:pt>
          <cx:pt idx="17">5.5061999999999998</cx:pt>
          <cx:pt idx="18">3.7178000000000004</cx:pt>
          <cx:pt idx="19">18.302199999999999</cx:pt>
          <cx:pt idx="20">13.2421799999999</cx:pt>
          <cx:pt idx="21">1.42302</cx:pt>
          <cx:pt idx="22">15.639140000000001</cx:pt>
          <cx:pt idx="23">6.03059999999999</cx:pt>
          <cx:pt idx="24">8.3823999999999987</cx:pt>
          <cx:pt idx="25">5.4309900000000004</cx:pt>
          <cx:pt idx="26">5.4309900000000004</cx:pt>
          <cx:pt idx="27">11.704180000000001</cx:pt>
          <cx:pt idx="28">6.9552600000000009</cx:pt>
          <cx:pt idx="29">34.420469999999895</cx:pt>
          <cx:pt idx="30">12.01178</cx:pt>
          <cx:pt idx="31">29.315169999999902</cx:pt>
          <cx:pt idx="32">36.570070000000001</cx:pt>
          <cx:pt idx="33">35.763969999999901</cx:pt>
          <cx:pt idx="34">29.315169999999902</cx:pt>
          <cx:pt idx="35">7.1655999999999995</cx:pt>
          <cx:pt idx="36">7.8415999999999997</cx:pt>
          <cx:pt idx="37">29.046469999999903</cx:pt>
          <cx:pt idx="38">14.318779999999901</cx:pt>
          <cx:pt idx="39">7.4359999999999999</cx:pt>
          <cx:pt idx="40">7.1655999999999995</cx:pt>
          <cx:pt idx="41">3.4742199999999896</cx:pt>
          <cx:pt idx="42">10.92234</cx:pt>
          <cx:pt idx="43">5.89949999999999</cx:pt>
          <cx:pt idx="44">5.4309900000000004</cx:pt>
          <cx:pt idx="45">9.44834</cx:pt>
          <cx:pt idx="46">7.1655999999999995</cx:pt>
          <cx:pt idx="47">5.4309900000000004</cx:pt>
          <cx:pt idx="48">18.009979999999899</cx:pt>
          <cx:pt idx="49">6.6860999999999908</cx:pt>
          <cx:pt idx="50">5.4309900000000004</cx:pt>
          <cx:pt idx="51">12.01178</cx:pt>
          <cx:pt idx="52">3.4742199999999896</cx:pt>
          <cx:pt idx="53">31.733469999999901</cx:pt>
          <cx:pt idx="54">5.8197600000000005</cx:pt>
          <cx:pt idx="55">9.44834</cx:pt>
          <cx:pt idx="56">12.93458</cx:pt>
          <cx:pt idx="57">18.932779999999998</cx:pt>
          <cx:pt idx="58">5.4309900000000004</cx:pt>
          <cx:pt idx="59">14.164979999999899</cx:pt>
          <cx:pt idx="60">6.9552600000000009</cx:pt>
          <cx:pt idx="61">7.0439199999999991</cx:pt>
          <cx:pt idx="62">35.495269999999898</cx:pt>
          <cx:pt idx="63">18.009979999999899</cx:pt>
          <cx:pt idx="64">17.08718</cx:pt>
          <cx:pt idx="65">5.4309900000000004</cx:pt>
          <cx:pt idx="66">17.702379999999902</cx:pt>
          <cx:pt idx="67">15.786539999999999</cx:pt>
          <cx:pt idx="68">48.661569999999699</cx:pt>
          <cx:pt idx="69">39.230199999999897</cx:pt>
          <cx:pt idx="70">51.617269999999905</cx:pt>
          <cx:pt idx="71">14.607339999999899</cx:pt>
          <cx:pt idx="72">3.8460000000000001</cx:pt>
          <cx:pt idx="73">6.5549999999999997</cx:pt>
          <cx:pt idx="74">14.0261999999999</cx:pt>
          <cx:pt idx="75">42.185899999999997</cx:pt>
          <cx:pt idx="76">57.259969999999704</cx:pt>
          <cx:pt idx="77">18.778979999999901</cx:pt>
          <cx:pt idx="78">7.1655999999999995</cx:pt>
          <cx:pt idx="79">13.549779999999901</cx:pt>
          <cx:pt idx="80">10.92234</cx:pt>
        </cx:lvl>
      </cx:numDim>
    </cx:data>
    <cx:data id="12">
      <cx:numDim type="val">
        <cx:f>UK_Region_Box_Plots!$P$2:$P$1153</cx:f>
        <cx:lvl ptCount="1152" formatCode="_(* #,##0_);_(* \(#,##0\);_(* &quot;-&quot;??_);_(@_)">
          <cx:pt idx="0">9.722999999999999</cx:pt>
          <cx:pt idx="1">15.04954</cx:pt>
          <cx:pt idx="2">3.08962</cx:pt>
          <cx:pt idx="3">43.287569999999697</cx:pt>
          <cx:pt idx="4">15.04954</cx:pt>
          <cx:pt idx="5">19.240380000000002</cx:pt>
          <cx:pt idx="6">15.04954</cx:pt>
          <cx:pt idx="7">15.19694</cx:pt>
          <cx:pt idx="8">15.04954</cx:pt>
          <cx:pt idx="9">15.04954</cx:pt>
          <cx:pt idx="10">15.491739999999901</cx:pt>
          <cx:pt idx="11">15.344340000000001</cx:pt>
          <cx:pt idx="12">13.1242499999999</cx:pt>
          <cx:pt idx="13">13.1242499999999</cx:pt>
          <cx:pt idx="14">18.778979999999901</cx:pt>
          <cx:pt idx="15">13.1242499999999</cx:pt>
          <cx:pt idx="16">15.344340000000001</cx:pt>
          <cx:pt idx="17">15.344340000000001</cx:pt>
          <cx:pt idx="18">17.24098</cx:pt>
          <cx:pt idx="19">19.547980000000003</cx:pt>
          <cx:pt idx="20">15.04954</cx:pt>
          <cx:pt idx="21">15.04954</cx:pt>
          <cx:pt idx="22">13.1242499999999</cx:pt>
          <cx:pt idx="23">15.04954</cx:pt>
          <cx:pt idx="24">15.04954</cx:pt>
          <cx:pt idx="25">15.344340000000001</cx:pt>
          <cx:pt idx="26">12.3333599999999</cx:pt>
          <cx:pt idx="27">15.04954</cx:pt>
          <cx:pt idx="28">5.89949999999999</cx:pt>
          <cx:pt idx="29">37.376169999999995</cx:pt>
          <cx:pt idx="30">10.7091899999999</cx:pt>
          <cx:pt idx="31">4.1023999999999994</cx:pt>
          <cx:pt idx="32">33.883069999999897</cx:pt>
          <cx:pt idx="33">42.750169999999898</cx:pt>
          <cx:pt idx="34">34.95787</cx:pt>
          <cx:pt idx="35">48.93027</cx:pt>
          <cx:pt idx="36">6.8171999999999997</cx:pt>
          <cx:pt idx="37">46.243269999999995</cx:pt>
          <cx:pt idx="38">13.751459999999899</cx:pt>
          <cx:pt idx="39">17.702379999999902</cx:pt>
          <cx:pt idx="40">14.0261999999999</cx:pt>
          <cx:pt idx="41">7.3008000000000006</cx:pt>
          <cx:pt idx="42">19.547980000000003</cx:pt>
          <cx:pt idx="43">1.42301999999999</cx:pt>
          <cx:pt idx="44">18.917400000000001</cx:pt>
          <cx:pt idx="45">26.090769999999903</cx:pt>
          <cx:pt idx="46">14.75474</cx:pt>
          <cx:pt idx="47">2.3204199999999999</cx:pt>
          <cx:pt idx="48">2.5768200000000001</cx:pt>
          <cx:pt idx="49">43.287569999999697</cx:pt>
          <cx:pt idx="50">13.1242499999999</cx:pt>
          <cx:pt idx="51">15.04954</cx:pt>
          <cx:pt idx="52">15.04954</cx:pt>
          <cx:pt idx="53">13.1242499999999</cx:pt>
          <cx:pt idx="54">14.75474</cx:pt>
          <cx:pt idx="55">16.779579999999999</cx:pt>
          <cx:pt idx="56">14.75474</cx:pt>
          <cx:pt idx="57">13.1242499999999</cx:pt>
          <cx:pt idx="58">18.4713799999999</cx:pt>
          <cx:pt idx="59">16.764200000000002</cx:pt>
          <cx:pt idx="60">15.04954</cx:pt>
          <cx:pt idx="61">15.04954</cx:pt>
          <cx:pt idx="62">13.1242499999999</cx:pt>
          <cx:pt idx="63">15.04954</cx:pt>
          <cx:pt idx="64">13.1242499999999</cx:pt>
          <cx:pt idx="65">13.1242499999999</cx:pt>
          <cx:pt idx="66">48.93027</cx:pt>
          <cx:pt idx="67">13.1242499999999</cx:pt>
          <cx:pt idx="68">13.1242499999999</cx:pt>
          <cx:pt idx="69">13.1242499999999</cx:pt>
          <cx:pt idx="70">15.04954</cx:pt>
          <cx:pt idx="71">13.1242499999999</cx:pt>
          <cx:pt idx="72">15.04954</cx:pt>
          <cx:pt idx="73">15.04954</cx:pt>
          <cx:pt idx="74">15.04954</cx:pt>
          <cx:pt idx="75">13.1242499999999</cx:pt>
          <cx:pt idx="76">13.1242499999999</cx:pt>
          <cx:pt idx="77">15.04954</cx:pt>
          <cx:pt idx="78">13.1242499999999</cx:pt>
          <cx:pt idx="79">13.1242499999999</cx:pt>
          <cx:pt idx="80">15.04954</cx:pt>
          <cx:pt idx="81">13.1242499999999</cx:pt>
          <cx:pt idx="82">13.1242499999999</cx:pt>
          <cx:pt idx="83">15.04954</cx:pt>
          <cx:pt idx="84">13.1242499999999</cx:pt>
          <cx:pt idx="85">15.491739999999901</cx:pt>
          <cx:pt idx="86">15.04954</cx:pt>
          <cx:pt idx="87">13.1242499999999</cx:pt>
          <cx:pt idx="88">13.462259999999901</cx:pt>
          <cx:pt idx="89">13.1242499999999</cx:pt>
          <cx:pt idx="90">15.19694</cx:pt>
          <cx:pt idx="91">15.04954</cx:pt>
          <cx:pt idx="92">17.24098</cx:pt>
          <cx:pt idx="93">15.04954</cx:pt>
          <cx:pt idx="94">46.243269999999995</cx:pt>
          <cx:pt idx="95">15.04954</cx:pt>
          <cx:pt idx="96">15.04954</cx:pt>
          <cx:pt idx="97">15.04954</cx:pt>
          <cx:pt idx="98">14.75474</cx:pt>
          <cx:pt idx="99">13.1242499999999</cx:pt>
          <cx:pt idx="100">13.1242499999999</cx:pt>
          <cx:pt idx="101">13.1242499999999</cx:pt>
          <cx:pt idx="102">15.04954</cx:pt>
          <cx:pt idx="103">43.287569999999697</cx:pt>
          <cx:pt idx="104">15.04954</cx:pt>
          <cx:pt idx="105">15.04954</cx:pt>
          <cx:pt idx="106">14.75474</cx:pt>
          <cx:pt idx="107">15.04954</cx:pt>
          <cx:pt idx="108">43.556270000000005</cx:pt>
          <cx:pt idx="109">15.04954</cx:pt>
          <cx:pt idx="110">15.344340000000001</cx:pt>
          <cx:pt idx="111">13.1242499999999</cx:pt>
          <cx:pt idx="112">13.1242499999999</cx:pt>
          <cx:pt idx="113">43.287569999999697</cx:pt>
          <cx:pt idx="114">15.04954</cx:pt>
          <cx:pt idx="115">17.24098</cx:pt>
          <cx:pt idx="116">13.1242499999999</cx:pt>
          <cx:pt idx="117">15.04954</cx:pt>
          <cx:pt idx="118">15.04954</cx:pt>
          <cx:pt idx="119">13.1242499999999</cx:pt>
          <cx:pt idx="120">18.778979999999901</cx:pt>
          <cx:pt idx="121">15.04954</cx:pt>
          <cx:pt idx="122">14.75474</cx:pt>
          <cx:pt idx="123">40.600569999999706</cx:pt>
          <cx:pt idx="124">17.24098</cx:pt>
          <cx:pt idx="125">15.04954</cx:pt>
          <cx:pt idx="126">15.04954</cx:pt>
          <cx:pt idx="127">13.1242499999999</cx:pt>
          <cx:pt idx="128">13.1242499999999</cx:pt>
          <cx:pt idx="129">12.3333599999999</cx:pt>
          <cx:pt idx="130">17.24098</cx:pt>
          <cx:pt idx="131">15.04954</cx:pt>
          <cx:pt idx="132">15.04954</cx:pt>
          <cx:pt idx="133">15.04954</cx:pt>
          <cx:pt idx="134">15.04954</cx:pt>
          <cx:pt idx="135">15.491739999999901</cx:pt>
          <cx:pt idx="136">15.04954</cx:pt>
          <cx:pt idx="137">18.009979999999899</cx:pt>
          <cx:pt idx="138">15.344340000000001</cx:pt>
          <cx:pt idx="139">13.606859999999902</cx:pt>
          <cx:pt idx="140">15.04954</cx:pt>
          <cx:pt idx="141">17.702379999999902</cx:pt>
          <cx:pt idx="142">15.04954</cx:pt>
          <cx:pt idx="143">13.1242499999999</cx:pt>
          <cx:pt idx="144">15.04954</cx:pt>
          <cx:pt idx="145">15.04954</cx:pt>
          <cx:pt idx="146">13.1242499999999</cx:pt>
          <cx:pt idx="147">13.1242499999999</cx:pt>
          <cx:pt idx="148">17.24098</cx:pt>
          <cx:pt idx="149">35.495269999999898</cx:pt>
          <cx:pt idx="150">15.786539999999999</cx:pt>
          <cx:pt idx="151">13.1242499999999</cx:pt>
          <cx:pt idx="152">17.24098</cx:pt>
          <cx:pt idx="153">15.04954</cx:pt>
          <cx:pt idx="154">41.4066699999997</cx:pt>
          <cx:pt idx="155">15.04954</cx:pt>
          <cx:pt idx="156">13.1242499999999</cx:pt>
          <cx:pt idx="157">35.495269999999898</cx:pt>
          <cx:pt idx="158">15.04954</cx:pt>
          <cx:pt idx="159">13.1242499999999</cx:pt>
          <cx:pt idx="160">15.19694</cx:pt>
          <cx:pt idx="161">17.24098</cx:pt>
          <cx:pt idx="162">13.1242499999999</cx:pt>
          <cx:pt idx="163">13.1242499999999</cx:pt>
          <cx:pt idx="164">13.1242499999999</cx:pt>
          <cx:pt idx="165">13.1242499999999</cx:pt>
          <cx:pt idx="166">14.75474</cx:pt>
          <cx:pt idx="167">15.04954</cx:pt>
          <cx:pt idx="168">15.04954</cx:pt>
          <cx:pt idx="169">15.04954</cx:pt>
          <cx:pt idx="170">15.04954</cx:pt>
          <cx:pt idx="171">18.778979999999901</cx:pt>
          <cx:pt idx="172">15.04954</cx:pt>
          <cx:pt idx="173">35.495269999999898</cx:pt>
          <cx:pt idx="174">13.1242499999999</cx:pt>
          <cx:pt idx="175">13.1242499999999</cx:pt>
          <cx:pt idx="176">13.1242499999999</cx:pt>
          <cx:pt idx="177">15.04954</cx:pt>
          <cx:pt idx="178">15.04954</cx:pt>
          <cx:pt idx="179">15.04954</cx:pt>
          <cx:pt idx="180">13.1242499999999</cx:pt>
          <cx:pt idx="181">15.04954</cx:pt>
          <cx:pt idx="182">15.344340000000001</cx:pt>
          <cx:pt idx="183">17.24098</cx:pt>
          <cx:pt idx="184">14.0406599999999</cx:pt>
          <cx:pt idx="185">15.04954</cx:pt>
          <cx:pt idx="186">15.04954</cx:pt>
          <cx:pt idx="187">18.778979999999901</cx:pt>
          <cx:pt idx="188">18.778979999999901</cx:pt>
          <cx:pt idx="189">13.1242499999999</cx:pt>
          <cx:pt idx="190">15.04954</cx:pt>
          <cx:pt idx="191">13.1242499999999</cx:pt>
          <cx:pt idx="192">15.04954</cx:pt>
          <cx:pt idx="193">15.04954</cx:pt>
          <cx:pt idx="194">17.24098</cx:pt>
          <cx:pt idx="195">15.491739999999901</cx:pt>
          <cx:pt idx="196">13.1242499999999</cx:pt>
          <cx:pt idx="197">17.24098</cx:pt>
          <cx:pt idx="198">43.287569999999697</cx:pt>
          <cx:pt idx="199">15.04954</cx:pt>
          <cx:pt idx="200">15.04954</cx:pt>
          <cx:pt idx="201">13.1242499999999</cx:pt>
          <cx:pt idx="202">43.556270000000005</cx:pt>
          <cx:pt idx="203">13.1242499999999</cx:pt>
          <cx:pt idx="204">15.04954</cx:pt>
          <cx:pt idx="205">15.04954</cx:pt>
          <cx:pt idx="206">15.04954</cx:pt>
          <cx:pt idx="207">15.04954</cx:pt>
          <cx:pt idx="208">15.04954</cx:pt>
          <cx:pt idx="209">13.1242499999999</cx:pt>
          <cx:pt idx="210">17.702379999999902</cx:pt>
          <cx:pt idx="211">15.04954</cx:pt>
          <cx:pt idx="212">35.495269999999898</cx:pt>
          <cx:pt idx="213">15.04954</cx:pt>
          <cx:pt idx="214">14.0406599999999</cx:pt>
          <cx:pt idx="215">18.4713799999999</cx:pt>
          <cx:pt idx="216">15.04954</cx:pt>
          <cx:pt idx="217">14.0406599999999</cx:pt>
          <cx:pt idx="218">15.04954</cx:pt>
          <cx:pt idx="219">15.04954</cx:pt>
          <cx:pt idx="220">13.1242499999999</cx:pt>
          <cx:pt idx="221">15.04954</cx:pt>
          <cx:pt idx="222">13.1242499999999</cx:pt>
          <cx:pt idx="223">41.4066699999997</cx:pt>
          <cx:pt idx="224">15.04954</cx:pt>
          <cx:pt idx="225">15.04954</cx:pt>
          <cx:pt idx="226">13.1242499999999</cx:pt>
          <cx:pt idx="227">15.04954</cx:pt>
          <cx:pt idx="228">17.702379999999902</cx:pt>
          <cx:pt idx="229">13.1242499999999</cx:pt>
          <cx:pt idx="230">17.24098</cx:pt>
          <cx:pt idx="231">13.1242499999999</cx:pt>
          <cx:pt idx="232">13.1242499999999</cx:pt>
          <cx:pt idx="233">13.1242499999999</cx:pt>
          <cx:pt idx="234">15.04954</cx:pt>
          <cx:pt idx="235">15.04954</cx:pt>
          <cx:pt idx="236">1.42302</cx:pt>
          <cx:pt idx="237">15.04954</cx:pt>
          <cx:pt idx="238">14.75474</cx:pt>
          <cx:pt idx="239">13.1242499999999</cx:pt>
          <cx:pt idx="240">13.1242499999999</cx:pt>
          <cx:pt idx="241">15.04954</cx:pt>
          <cx:pt idx="242">17.24098</cx:pt>
          <cx:pt idx="243">13.1242499999999</cx:pt>
          <cx:pt idx="244">15.344340000000001</cx:pt>
          <cx:pt idx="245">13.1242499999999</cx:pt>
          <cx:pt idx="246">43.824969999999702</cx:pt>
          <cx:pt idx="247">40.600569999999706</cx:pt>
          <cx:pt idx="248">15.04954</cx:pt>
          <cx:pt idx="249">14.75474</cx:pt>
          <cx:pt idx="250">15.04954</cx:pt>
          <cx:pt idx="251">13.1242499999999</cx:pt>
          <cx:pt idx="252">45.974569999999702</cx:pt>
          <cx:pt idx="253">15.04954</cx:pt>
          <cx:pt idx="254">12.839249999999899</cx:pt>
          <cx:pt idx="255">15.04954</cx:pt>
          <cx:pt idx="256">13.1242499999999</cx:pt>
          <cx:pt idx="257">15.04954</cx:pt>
          <cx:pt idx="258">15.04954</cx:pt>
          <cx:pt idx="259">15.04954</cx:pt>
          <cx:pt idx="260">15.04954</cx:pt>
          <cx:pt idx="261">14.0406599999999</cx:pt>
          <cx:pt idx="262">14.607339999999899</cx:pt>
          <cx:pt idx="263">15.04954</cx:pt>
          <cx:pt idx="264">13.1242499999999</cx:pt>
          <cx:pt idx="265">15.04954</cx:pt>
          <cx:pt idx="266">13.1242499999999</cx:pt>
          <cx:pt idx="267">15.04954</cx:pt>
          <cx:pt idx="268">13.1242499999999</cx:pt>
          <cx:pt idx="269">15.04954</cx:pt>
          <cx:pt idx="270">15.04954</cx:pt>
          <cx:pt idx="271">13.1242499999999</cx:pt>
          <cx:pt idx="272">43.556270000000005</cx:pt>
          <cx:pt idx="273">13.1242499999999</cx:pt>
          <cx:pt idx="274">13.1242499999999</cx:pt>
          <cx:pt idx="275">15.04954</cx:pt>
          <cx:pt idx="276">15.04954</cx:pt>
          <cx:pt idx="277">15.04954</cx:pt>
          <cx:pt idx="278">15.04954</cx:pt>
          <cx:pt idx="279">15.04954</cx:pt>
          <cx:pt idx="280">19.086580000000001</cx:pt>
          <cx:pt idx="281">13.1242499999999</cx:pt>
          <cx:pt idx="282">13.1242499999999</cx:pt>
          <cx:pt idx="283">7.1791200000000002</cx:pt>
          <cx:pt idx="284">15.04954</cx:pt>
          <cx:pt idx="285">14.75474</cx:pt>
          <cx:pt idx="286">13.1242499999999</cx:pt>
          <cx:pt idx="287">15.04954</cx:pt>
          <cx:pt idx="288">13.1242499999999</cx:pt>
          <cx:pt idx="289">15.04954</cx:pt>
          <cx:pt idx="290">38.182270000000003</cx:pt>
          <cx:pt idx="291">17.24098</cx:pt>
          <cx:pt idx="292">13.1242499999999</cx:pt>
          <cx:pt idx="293">14.75474</cx:pt>
          <cx:pt idx="294">13.1242499999999</cx:pt>
          <cx:pt idx="295">18.778979999999901</cx:pt>
          <cx:pt idx="296">15.04954</cx:pt>
          <cx:pt idx="297">12.839249999999899</cx:pt>
          <cx:pt idx="298">13.1242499999999</cx:pt>
          <cx:pt idx="299">15.04954</cx:pt>
          <cx:pt idx="300">13.1242499999999</cx:pt>
          <cx:pt idx="301">15.04954</cx:pt>
          <cx:pt idx="302">15.04954</cx:pt>
          <cx:pt idx="303">13.1242499999999</cx:pt>
          <cx:pt idx="304">14.75474</cx:pt>
          <cx:pt idx="305">13.1242499999999</cx:pt>
          <cx:pt idx="306">13.1242499999999</cx:pt>
          <cx:pt idx="307">13.1242499999999</cx:pt>
          <cx:pt idx="308">15.344340000000001</cx:pt>
          <cx:pt idx="309">13.1242499999999</cx:pt>
          <cx:pt idx="310">15.04954</cx:pt>
          <cx:pt idx="311">15.04954</cx:pt>
          <cx:pt idx="312">13.1242499999999</cx:pt>
          <cx:pt idx="313">15.04954</cx:pt>
          <cx:pt idx="314">13.751459999999899</cx:pt>
          <cx:pt idx="315">13.1242499999999</cx:pt>
          <cx:pt idx="316">15.04954</cx:pt>
          <cx:pt idx="317">15.04954</cx:pt>
          <cx:pt idx="318">13.606859999999902</cx:pt>
          <cx:pt idx="319">15.04954</cx:pt>
          <cx:pt idx="320">15.344340000000001</cx:pt>
          <cx:pt idx="321">43.287569999999697</cx:pt>
          <cx:pt idx="322">15.491739999999901</cx:pt>
          <cx:pt idx="323">15.04954</cx:pt>
          <cx:pt idx="324">15.04954</cx:pt>
          <cx:pt idx="325">12.825000000000001</cx:pt>
          <cx:pt idx="326">18.778979999999901</cx:pt>
          <cx:pt idx="327">15.04954</cx:pt>
          <cx:pt idx="328">15.04954</cx:pt>
          <cx:pt idx="329">13.1242499999999</cx:pt>
          <cx:pt idx="330">15.04954</cx:pt>
          <cx:pt idx="331">15.04954</cx:pt>
          <cx:pt idx="332">13.751459999999899</cx:pt>
          <cx:pt idx="333">15.04954</cx:pt>
          <cx:pt idx="334">13.1242499999999</cx:pt>
          <cx:pt idx="335">16.625780000000002</cx:pt>
          <cx:pt idx="336">15.639140000000001</cx:pt>
          <cx:pt idx="337">13.1242499999999</cx:pt>
          <cx:pt idx="338">15.04954</cx:pt>
          <cx:pt idx="339">17.24098</cx:pt>
          <cx:pt idx="340">17.548580000000001</cx:pt>
          <cx:pt idx="341">15.344340000000001</cx:pt>
          <cx:pt idx="342">15.04954</cx:pt>
          <cx:pt idx="343">13.1242499999999</cx:pt>
          <cx:pt idx="344">13.1242499999999</cx:pt>
          <cx:pt idx="345">13.1242499999999</cx:pt>
          <cx:pt idx="346">15.04954</cx:pt>
          <cx:pt idx="347">15.04954</cx:pt>
          <cx:pt idx="348">15.04954</cx:pt>
          <cx:pt idx="349">15.04954</cx:pt>
          <cx:pt idx="350">15.04954</cx:pt>
          <cx:pt idx="351">15.04954</cx:pt>
          <cx:pt idx="352">15.04954</cx:pt>
          <cx:pt idx="353">15.491739999999901</cx:pt>
          <cx:pt idx="354">13.1242499999999</cx:pt>
          <cx:pt idx="355">13.1242499999999</cx:pt>
          <cx:pt idx="356">15.04954</cx:pt>
          <cx:pt idx="357">15.04954</cx:pt>
          <cx:pt idx="358">13.1242499999999</cx:pt>
          <cx:pt idx="359">15.04954</cx:pt>
          <cx:pt idx="360">15.04954</cx:pt>
          <cx:pt idx="361">13.1242499999999</cx:pt>
          <cx:pt idx="362">13.1242499999999</cx:pt>
          <cx:pt idx="363">43.287569999999697</cx:pt>
          <cx:pt idx="364">15.04954</cx:pt>
          <cx:pt idx="365">13.1242499999999</cx:pt>
          <cx:pt idx="366">13.1242499999999</cx:pt>
          <cx:pt idx="367">15.04954</cx:pt>
          <cx:pt idx="368">13.1242499999999</cx:pt>
          <cx:pt idx="369">15.04954</cx:pt>
          <cx:pt idx="370">15.04954</cx:pt>
          <cx:pt idx="371">15.04954</cx:pt>
          <cx:pt idx="372">15.04954</cx:pt>
          <cx:pt idx="373">15.04954</cx:pt>
          <cx:pt idx="374">15.04954</cx:pt>
          <cx:pt idx="375">13.1242499999999</cx:pt>
          <cx:pt idx="376">13.1242499999999</cx:pt>
          <cx:pt idx="377">15.04954</cx:pt>
          <cx:pt idx="378">15.04954</cx:pt>
          <cx:pt idx="379">15.491739999999901</cx:pt>
          <cx:pt idx="380">17.24098</cx:pt>
          <cx:pt idx="381">13.1242499999999</cx:pt>
          <cx:pt idx="382">15.04954</cx:pt>
          <cx:pt idx="383">19.086580000000001</cx:pt>
          <cx:pt idx="384">15.04954</cx:pt>
          <cx:pt idx="385">15.04954</cx:pt>
          <cx:pt idx="386">17.702379999999902</cx:pt>
          <cx:pt idx="387">13.1242499999999</cx:pt>
          <cx:pt idx="388">13.1242499999999</cx:pt>
          <cx:pt idx="389">15.04954</cx:pt>
          <cx:pt idx="390">15.04954</cx:pt>
          <cx:pt idx="391">11.328000000000001</cx:pt>
          <cx:pt idx="392">15.04954</cx:pt>
          <cx:pt idx="393">17.24098</cx:pt>
          <cx:pt idx="394">13.1242499999999</cx:pt>
          <cx:pt idx="395">3.5895999999999999</cx:pt>
          <cx:pt idx="396">17.2256</cx:pt>
          <cx:pt idx="397">13.1242499999999</cx:pt>
          <cx:pt idx="398">15.04954</cx:pt>
          <cx:pt idx="399">13.1242499999999</cx:pt>
          <cx:pt idx="400">15.04954</cx:pt>
          <cx:pt idx="401">18.778979999999901</cx:pt>
          <cx:pt idx="402">15.04954</cx:pt>
          <cx:pt idx="403">15.04954</cx:pt>
          <cx:pt idx="404">15.04954</cx:pt>
          <cx:pt idx="405">17.24098</cx:pt>
          <cx:pt idx="406">13.1242499999999</cx:pt>
          <cx:pt idx="407">15.04954</cx:pt>
          <cx:pt idx="408">15.04954</cx:pt>
          <cx:pt idx="409">15.04954</cx:pt>
          <cx:pt idx="410">14.75474</cx:pt>
          <cx:pt idx="411">15.04954</cx:pt>
          <cx:pt idx="412">13.1242499999999</cx:pt>
          <cx:pt idx="413">12.3333599999999</cx:pt>
          <cx:pt idx="414">13.1242499999999</cx:pt>
          <cx:pt idx="415">13.1242499999999</cx:pt>
          <cx:pt idx="416">15.04954</cx:pt>
          <cx:pt idx="417">13.1242499999999</cx:pt>
          <cx:pt idx="418">13.1242499999999</cx:pt>
          <cx:pt idx="419">15.04954</cx:pt>
          <cx:pt idx="420">13.1242499999999</cx:pt>
          <cx:pt idx="421">13.1242499999999</cx:pt>
          <cx:pt idx="422">14.0406599999999</cx:pt>
          <cx:pt idx="423">15.04954</cx:pt>
          <cx:pt idx="424">15.04954</cx:pt>
          <cx:pt idx="425">17.24098</cx:pt>
          <cx:pt idx="426">15.04954</cx:pt>
          <cx:pt idx="427">15.04954</cx:pt>
          <cx:pt idx="428">15.04954</cx:pt>
          <cx:pt idx="429">15.04954</cx:pt>
          <cx:pt idx="430">13.1242499999999</cx:pt>
          <cx:pt idx="431">15.04954</cx:pt>
          <cx:pt idx="432">15.04954</cx:pt>
          <cx:pt idx="433">13.1242499999999</cx:pt>
          <cx:pt idx="434">13.1242499999999</cx:pt>
          <cx:pt idx="435">13.1242499999999</cx:pt>
          <cx:pt idx="436">15.04954</cx:pt>
          <cx:pt idx="437">13.1242499999999</cx:pt>
          <cx:pt idx="438">13.1242499999999</cx:pt>
          <cx:pt idx="439">17.24098</cx:pt>
          <cx:pt idx="440">13.1242499999999</cx:pt>
          <cx:pt idx="441">19.547980000000003</cx:pt>
          <cx:pt idx="442">13.1242499999999</cx:pt>
          <cx:pt idx="443">13.1242499999999</cx:pt>
          <cx:pt idx="444">13.1242499999999</cx:pt>
          <cx:pt idx="445">9.5840999999999994</cx:pt>
          <cx:pt idx="446">43.824969999999702</cx:pt>
          <cx:pt idx="447">15.04954</cx:pt>
          <cx:pt idx="448">18.009979999999899</cx:pt>
          <cx:pt idx="449">15.344340000000001</cx:pt>
          <cx:pt idx="450">13.1242499999999</cx:pt>
          <cx:pt idx="451">13.1242499999999</cx:pt>
          <cx:pt idx="452">15.04954</cx:pt>
          <cx:pt idx="453">15.04954</cx:pt>
          <cx:pt idx="454">15.04954</cx:pt>
          <cx:pt idx="455">13.1242499999999</cx:pt>
          <cx:pt idx="456">15.04954</cx:pt>
          <cx:pt idx="457">35.495269999999898</cx:pt>
          <cx:pt idx="458">43.556270000000005</cx:pt>
          <cx:pt idx="459">15.04954</cx:pt>
          <cx:pt idx="460">15.04954</cx:pt>
          <cx:pt idx="461">15.04954</cx:pt>
          <cx:pt idx="462">15.04954</cx:pt>
          <cx:pt idx="463">15.04954</cx:pt>
          <cx:pt idx="464">13.1242499999999</cx:pt>
          <cx:pt idx="465">15.04954</cx:pt>
          <cx:pt idx="466">15.04954</cx:pt>
          <cx:pt idx="467">19.240380000000002</cx:pt>
          <cx:pt idx="468">15.04954</cx:pt>
          <cx:pt idx="469">15.04954</cx:pt>
          <cx:pt idx="470">43.287569999999697</cx:pt>
          <cx:pt idx="471">13.1242499999999</cx:pt>
          <cx:pt idx="472">45.974569999999702</cx:pt>
          <cx:pt idx="473">15.04954</cx:pt>
          <cx:pt idx="474">17.394779999999898</cx:pt>
          <cx:pt idx="475">18.778979999999901</cx:pt>
          <cx:pt idx="476">15.04954</cx:pt>
          <cx:pt idx="477">15.04954</cx:pt>
          <cx:pt idx="478">13.1242499999999</cx:pt>
          <cx:pt idx="479">13.1242499999999</cx:pt>
          <cx:pt idx="480">13.1242499999999</cx:pt>
          <cx:pt idx="481">13.1242499999999</cx:pt>
          <cx:pt idx="482">15.344340000000001</cx:pt>
          <cx:pt idx="483">17.548580000000001</cx:pt>
          <cx:pt idx="484">18.778979999999901</cx:pt>
          <cx:pt idx="485">4.9998000000000005</cx:pt>
          <cx:pt idx="486">13.1242499999999</cx:pt>
          <cx:pt idx="487">13.1242499999999</cx:pt>
          <cx:pt idx="488">15.04954</cx:pt>
          <cx:pt idx="489">13.1242499999999</cx:pt>
          <cx:pt idx="490">13.1242499999999</cx:pt>
          <cx:pt idx="491">15.04954</cx:pt>
          <cx:pt idx="492">6.8171999999999997</cx:pt>
          <cx:pt idx="493">15.04954</cx:pt>
          <cx:pt idx="494">38.988370000000003</cx:pt>
          <cx:pt idx="495">17.24098</cx:pt>
          <cx:pt idx="496">13.1242499999999</cx:pt>
          <cx:pt idx="497">15.344340000000001</cx:pt>
          <cx:pt idx="498">13.1242499999999</cx:pt>
          <cx:pt idx="499">15.491739999999901</cx:pt>
          <cx:pt idx="500">18.778979999999901</cx:pt>
          <cx:pt idx="501">17.24098</cx:pt>
          <cx:pt idx="502">13.1242499999999</cx:pt>
          <cx:pt idx="503">15.344340000000001</cx:pt>
          <cx:pt idx="504">15.04954</cx:pt>
          <cx:pt idx="505">13.1242499999999</cx:pt>
          <cx:pt idx="506">15.04954</cx:pt>
          <cx:pt idx="507">18.009979999999899</cx:pt>
          <cx:pt idx="508">15.04954</cx:pt>
          <cx:pt idx="509">1.42302</cx:pt>
          <cx:pt idx="510">13.1242499999999</cx:pt>
          <cx:pt idx="511">13.1242499999999</cx:pt>
          <cx:pt idx="512">15.04954</cx:pt>
          <cx:pt idx="513">15.04954</cx:pt>
          <cx:pt idx="514">13.1242499999999</cx:pt>
          <cx:pt idx="515">15.04954</cx:pt>
          <cx:pt idx="516">14.75474</cx:pt>
          <cx:pt idx="517">3.9870200000000002</cx:pt>
          <cx:pt idx="518">8.0038200000000295</cx:pt>
          <cx:pt idx="519">7.7199199999999992</cx:pt>
          <cx:pt idx="520">13.1242499999999</cx:pt>
          <cx:pt idx="521">15.344340000000001</cx:pt>
          <cx:pt idx="522">15.04954</cx:pt>
          <cx:pt idx="523">13.1242499999999</cx:pt>
          <cx:pt idx="524">15.786539999999999</cx:pt>
          <cx:pt idx="525">13.1242499999999</cx:pt>
          <cx:pt idx="526">13.1242499999999</cx:pt>
          <cx:pt idx="527">15.04954</cx:pt>
          <cx:pt idx="528">15.04954</cx:pt>
          <cx:pt idx="529">17.24098</cx:pt>
          <cx:pt idx="530">16.917999999999999</cx:pt>
          <cx:pt idx="531">7.4359999999999999</cx:pt>
          <cx:pt idx="532">1.2948200000000001</cx:pt>
          <cx:pt idx="533">2.1922199999999998</cx:pt>
          <cx:pt idx="534">13.1242499999999</cx:pt>
          <cx:pt idx="535">15.04954</cx:pt>
          <cx:pt idx="536">15.04954</cx:pt>
          <cx:pt idx="537">43.01887</cx:pt>
          <cx:pt idx="538">15.344340000000001</cx:pt>
          <cx:pt idx="539">46.243269999999995</cx:pt>
          <cx:pt idx="540">9.0583999999999989</cx:pt>
          <cx:pt idx="541">15.04954</cx:pt>
          <cx:pt idx="542">19.547980000000003</cx:pt>
          <cx:pt idx="543">15.04954</cx:pt>
          <cx:pt idx="544">15.04954</cx:pt>
          <cx:pt idx="545">13.1242499999999</cx:pt>
          <cx:pt idx="546">35.495269999999898</cx:pt>
          <cx:pt idx="547">18.778979999999901</cx:pt>
          <cx:pt idx="548">13.1242499999999</cx:pt>
          <cx:pt idx="549">17.702379999999902</cx:pt>
          <cx:pt idx="550">18.778979999999901</cx:pt>
          <cx:pt idx="551">15.04954</cx:pt>
          <cx:pt idx="552">15.04954</cx:pt>
          <cx:pt idx="553">18.778979999999901</cx:pt>
          <cx:pt idx="554">15.04954</cx:pt>
          <cx:pt idx="555">13.1242499999999</cx:pt>
          <cx:pt idx="556">3.8460000000000001</cx:pt>
          <cx:pt idx="557">3.4742199999999896</cx:pt>
          <cx:pt idx="558">3.8460000000000001</cx:pt>
          <cx:pt idx="559">3.7562600000000201</cx:pt>
          <cx:pt idx="560">13.1242499999999</cx:pt>
          <cx:pt idx="561">15.04954</cx:pt>
          <cx:pt idx="562">29.046470000000003</cx:pt>
          <cx:pt idx="563">15.04954</cx:pt>
          <cx:pt idx="564">17.24098</cx:pt>
          <cx:pt idx="565">17.24098</cx:pt>
          <cx:pt idx="566">19.086580000000001</cx:pt>
          <cx:pt idx="567">32.0021699999999</cx:pt>
          <cx:pt idx="568">15.04954</cx:pt>
          <cx:pt idx="569">3.4742199999999896</cx:pt>
          <cx:pt idx="570">9.722999999999999</cx:pt>
          <cx:pt idx="571">13.1242499999999</cx:pt>
          <cx:pt idx="572">41.406669999999998</cx:pt>
          <cx:pt idx="573">36.838769999999997</cx:pt>
          <cx:pt idx="574">4.8715999999999999</cx:pt>
          <cx:pt idx="575">15.04954</cx:pt>
          <cx:pt idx="576">18.778979999999901</cx:pt>
          <cx:pt idx="577">13.31766</cx:pt>
          <cx:pt idx="578">15.04954</cx:pt>
          <cx:pt idx="579">15.04954</cx:pt>
          <cx:pt idx="580">6.6992099999999999</cx:pt>
          <cx:pt idx="581">3.8716400000000197</cx:pt>
          <cx:pt idx="582">33.076969999999903</cx:pt>
          <cx:pt idx="583">19.547980000000003</cx:pt>
          <cx:pt idx="584">15.04954</cx:pt>
          <cx:pt idx="585">15.04954</cx:pt>
          <cx:pt idx="586">19.071199999999997</cx:pt>
          <cx:pt idx="587">2.5639999999999898</cx:pt>
          <cx:pt idx="588">46.485099999999704</cx:pt>
          <cx:pt idx="589">13.5924</cx:pt>
          <cx:pt idx="590">15.04954</cx:pt>
          <cx:pt idx="591">31.196069999999899</cx:pt>
          <cx:pt idx="592">13.39598</cx:pt>
          <cx:pt idx="593">15.04954</cx:pt>
          <cx:pt idx="594">31.464769999999898</cx:pt>
          <cx:pt idx="595">17.24098</cx:pt>
          <cx:pt idx="596">15.04954</cx:pt>
          <cx:pt idx="597">15.04954</cx:pt>
          <cx:pt idx="598">15.04954</cx:pt>
          <cx:pt idx="599">2.3204199999999999</cx:pt>
          <cx:pt idx="600">15.04954</cx:pt>
          <cx:pt idx="601">35.1997</cx:pt>
          <cx:pt idx="602">52.154669999999705</cx:pt>
          <cx:pt idx="603">4.3716200000000001</cx:pt>
          <cx:pt idx="604">4.7433999999999994</cx:pt>
          <cx:pt idx="605">1.42302</cx:pt>
          <cx:pt idx="606">15.04954</cx:pt>
          <cx:pt idx="607">15.491739999999901</cx:pt>
          <cx:pt idx="608">3.7178000000000004</cx:pt>
          <cx:pt idx="609">15.04954</cx:pt>
          <cx:pt idx="610">15.04954</cx:pt>
          <cx:pt idx="611">40.305</cx:pt>
          <cx:pt idx="612">13.1242499999999</cx:pt>
          <cx:pt idx="613">3.9741999999999997</cx:pt>
          <cx:pt idx="614">43.287569999999697</cx:pt>
          <cx:pt idx="615">18.4713799999999</cx:pt>
          <cx:pt idx="616">11.752799999999999</cx:pt>
          <cx:pt idx="617">6.8171999999999997</cx:pt>
          <cx:pt idx="618">18.778979999999901</cx:pt>
          <cx:pt idx="619">8.3823999999999987</cx:pt>
          <cx:pt idx="620">3.81501</cx:pt>
          <cx:pt idx="621">6.5549999999999997</cx:pt>
          <cx:pt idx="622">4.7433999999999994</cx:pt>
          <cx:pt idx="623">3.08962</cx:pt>
          <cx:pt idx="624">15.04954</cx:pt>
          <cx:pt idx="625">46.5119699999997</cx:pt>
          <cx:pt idx="626">7.6782599999999892</cx:pt>
          <cx:pt idx="627">15.04954</cx:pt>
          <cx:pt idx="628">4.7433999999999994</cx:pt>
          <cx:pt idx="629">3.4613999999999998</cx:pt>
          <cx:pt idx="630">6.5549999999999997</cx:pt>
          <cx:pt idx="631">6.5214599999999994</cx:pt>
          <cx:pt idx="632">6.1616999999999997</cx:pt>
          <cx:pt idx="633">7.8415999999999997</cx:pt>
          <cx:pt idx="634">14.0261999999999</cx:pt>
          <cx:pt idx="635">4.4998199999999899</cx:pt>
          <cx:pt idx="636">13.606859999999902</cx:pt>
          <cx:pt idx="637">4.3716200000000001</cx:pt>
          <cx:pt idx="638">15.04954</cx:pt>
          <cx:pt idx="639">6.8171999999999997</cx:pt>
          <cx:pt idx="640">7.4359999999999999</cx:pt>
          <cx:pt idx="641">7.7063999999999995</cx:pt>
          <cx:pt idx="642">4.8715999999999999</cx:pt>
          <cx:pt idx="643">6.4239000000000006</cx:pt>
          <cx:pt idx="644">3.60242</cx:pt>
          <cx:pt idx="645">4.3716200000000001</cx:pt>
          <cx:pt idx="646">4.4998199999999899</cx:pt>
          <cx:pt idx="647">13.33212</cx:pt>
          <cx:pt idx="648">4.3716200000000001</cx:pt>
          <cx:pt idx="649">16.764200000000002</cx:pt>
          <cx:pt idx="650">43.287569999999697</cx:pt>
          <cx:pt idx="651">5.89949999999999</cx:pt>
          <cx:pt idx="652">2.8332199999999998</cx:pt>
          <cx:pt idx="653">10.153589999999999</cx:pt>
          <cx:pt idx="654">14.318779999999901</cx:pt>
          <cx:pt idx="655">18.778979999999901</cx:pt>
          <cx:pt idx="656">15.04954</cx:pt>
          <cx:pt idx="657">18.009979999999899</cx:pt>
          <cx:pt idx="658">46.565709999999697</cx:pt>
          <cx:pt idx="659">15.6244</cx:pt>
          <cx:pt idx="660">15.04954</cx:pt>
          <cx:pt idx="661">3.60242</cx:pt>
          <cx:pt idx="662">6.2927999999999997</cx:pt>
          <cx:pt idx="663">13.447799999999999</cx:pt>
          <cx:pt idx="664">15.04954</cx:pt>
          <cx:pt idx="665">35.495269999999898</cx:pt>
          <cx:pt idx="666">15.04954</cx:pt>
          <cx:pt idx="667">18.4713799999999</cx:pt>
          <cx:pt idx="668">7.3008000000000006</cx:pt>
          <cx:pt idx="669">6.4239000000000006</cx:pt>
          <cx:pt idx="670">35.495269999999898</cx:pt>
          <cx:pt idx="671">50.811169999999692</cx:pt>
          <cx:pt idx="672">15.04954</cx:pt>
          <cx:pt idx="673">5.8197600000000005</cx:pt>
          <cx:pt idx="674">19.240380000000002</cx:pt>
          <cx:pt idx="675">10.5564</cx:pt>
          <cx:pt idx="676">18.778979999999901</cx:pt>
          <cx:pt idx="677">37.644870000000004</cx:pt>
          <cx:pt idx="678">18.6098</cx:pt>
          <cx:pt idx="679">15.04954</cx:pt>
          <cx:pt idx="680">9.0583999999999989</cx:pt>
          <cx:pt idx="681">17.24098</cx:pt>
          <cx:pt idx="682">35.495269999999898</cx:pt>
          <cx:pt idx="683">15.04954</cx:pt>
          <cx:pt idx="684">15.491739999999901</cx:pt>
          <cx:pt idx="685">6.5549999999999997</cx:pt>
          <cx:pt idx="686">14.349539999999999</cx:pt>
          <cx:pt idx="687">27.702969999999898</cx:pt>
          <cx:pt idx="688">17.702379999999902</cx:pt>
          <cx:pt idx="689">27.702969999999898</cx:pt>
          <cx:pt idx="690">8.4165399999999995</cx:pt>
          <cx:pt idx="691">4.8715999999999999</cx:pt>
          <cx:pt idx="692">35.495269999999898</cx:pt>
          <cx:pt idx="693">19.394179999999999</cx:pt>
          <cx:pt idx="694">15.04954</cx:pt>
          <cx:pt idx="695">4.7433999999999994</cx:pt>
          <cx:pt idx="696">13.1242499999999</cx:pt>
          <cx:pt idx="697">15.04954</cx:pt>
          <cx:pt idx="698">15.491739999999901</cx:pt>
          <cx:pt idx="699">43.287569999999697</cx:pt>
          <cx:pt idx="700">15.04954</cx:pt>
          <cx:pt idx="701">15.04954</cx:pt>
          <cx:pt idx="702">15.04954</cx:pt>
          <cx:pt idx="703">14.164979999999899</cx:pt>
          <cx:pt idx="704">15.04954</cx:pt>
          <cx:pt idx="705">18.778979999999901</cx:pt>
          <cx:pt idx="706">43.287569999999697</cx:pt>
          <cx:pt idx="707">10.0008</cx:pt>
          <cx:pt idx="708">15.04954</cx:pt>
          <cx:pt idx="709">19.240380000000002</cx:pt>
          <cx:pt idx="710">14.0406599999999</cx:pt>
          <cx:pt idx="711">15.04954</cx:pt>
          <cx:pt idx="712">15.04954</cx:pt>
          <cx:pt idx="713">18.778979999999901</cx:pt>
          <cx:pt idx="714">15.04954</cx:pt>
          <cx:pt idx="715">15.04954</cx:pt>
          <cx:pt idx="716">15.04954</cx:pt>
          <cx:pt idx="717">13.1242499999999</cx:pt>
          <cx:pt idx="718">48.661569999999699</cx:pt>
          <cx:pt idx="719">3.9741999999999997</cx:pt>
          <cx:pt idx="720">17.702379999999902</cx:pt>
          <cx:pt idx="721">15.04954</cx:pt>
          <cx:pt idx="722">15.04954</cx:pt>
          <cx:pt idx="723">18.009979999999899</cx:pt>
          <cx:pt idx="724">15.04954</cx:pt>
          <cx:pt idx="725">46.5119699999997</cx:pt>
          <cx:pt idx="726">15.04954</cx:pt>
          <cx:pt idx="727">15.04954</cx:pt>
          <cx:pt idx="728">15.04954</cx:pt>
          <cx:pt idx="729">10.834199999999999</cx:pt>
          <cx:pt idx="730">2.1922199999999998</cx:pt>
          <cx:pt idx="731">38.47784</cx:pt>
          <cx:pt idx="732">15.04954</cx:pt>
          <cx:pt idx="733">15.04954</cx:pt>
          <cx:pt idx="734">17.24098</cx:pt>
          <cx:pt idx="735">15.04954</cx:pt>
          <cx:pt idx="736">17.24098</cx:pt>
          <cx:pt idx="737">13.1242499999999</cx:pt>
          <cx:pt idx="738">15.04954</cx:pt>
          <cx:pt idx="739">15.344340000000001</cx:pt>
          <cx:pt idx="740">15.04954</cx:pt>
          <cx:pt idx="741">18.778979999999901</cx:pt>
          <cx:pt idx="742">15.04954</cx:pt>
          <cx:pt idx="743">15.04954</cx:pt>
          <cx:pt idx="744">35.495269999999898</cx:pt>
          <cx:pt idx="745">18.3175799999999</cx:pt>
          <cx:pt idx="746">13.088379999999999</cx:pt>
          <cx:pt idx="747">18.778979999999901</cx:pt>
          <cx:pt idx="748">7.1791200000000002</cx:pt>
          <cx:pt idx="749">69.351469999999708</cx:pt>
          <cx:pt idx="750">15.04954</cx:pt>
          <cx:pt idx="751">15.04954</cx:pt>
          <cx:pt idx="752">13.1242499999999</cx:pt>
          <cx:pt idx="753">10.92234</cx:pt>
          <cx:pt idx="754">9.5957399999999993</cx:pt>
          <cx:pt idx="755">15.04954</cx:pt>
          <cx:pt idx="756">5.4309900000000004</cx:pt>
          <cx:pt idx="757">15.04954</cx:pt>
          <cx:pt idx="758">14.75474</cx:pt>
          <cx:pt idx="759">36.838769999999997</cx:pt>
          <cx:pt idx="760">15.04954</cx:pt>
          <cx:pt idx="761">15.04954</cx:pt>
          <cx:pt idx="762">8.6663199999999989</cx:pt>
          <cx:pt idx="763">36.032670000000003</cx:pt>
          <cx:pt idx="764">19.240380000000002</cx:pt>
          <cx:pt idx="765">6.03059999999999</cx:pt>
          <cx:pt idx="766">18.778979999999901</cx:pt>
          <cx:pt idx="767">29.046470000000003</cx:pt>
          <cx:pt idx="768">3.60242</cx:pt>
          <cx:pt idx="769">15.04954</cx:pt>
          <cx:pt idx="770">15.04954</cx:pt>
          <cx:pt idx="771">13.462259999999901</cx:pt>
          <cx:pt idx="772">5.5061999999999998</cx:pt>
          <cx:pt idx="773">10.0008</cx:pt>
          <cx:pt idx="774">5.2561999999999998</cx:pt>
          <cx:pt idx="775">15.04954</cx:pt>
          <cx:pt idx="776">29.315169999999902</cx:pt>
          <cx:pt idx="777">13.606859999999902</cx:pt>
          <cx:pt idx="778">40.06317</cx:pt>
          <cx:pt idx="779">3.08962</cx:pt>
          <cx:pt idx="780">15.04954</cx:pt>
          <cx:pt idx="781">4.8715999999999999</cx:pt>
          <cx:pt idx="782">36.274499999999996</cx:pt>
          <cx:pt idx="783">7.5712000000000002</cx:pt>
          <cx:pt idx="784">15.04954</cx:pt>
          <cx:pt idx="785">15.491739999999901</cx:pt>
          <cx:pt idx="786">18.778979999999901</cx:pt>
          <cx:pt idx="787">6.6860999999999908</cx:pt>
          <cx:pt idx="788">9.7368899999999989</cx:pt>
          <cx:pt idx="789">15.491739999999901</cx:pt>
          <cx:pt idx="790">8.1255199999999999</cx:pt>
          <cx:pt idx="791">9.5979900000000011</cx:pt>
          <cx:pt idx="792">19.394179999999999</cx:pt>
          <cx:pt idx="793">13.1242499999999</cx:pt>
          <cx:pt idx="794">15.04954</cx:pt>
          <cx:pt idx="795">15.04954</cx:pt>
          <cx:pt idx="796">13.1242499999999</cx:pt>
          <cx:pt idx="797">15.344340000000001</cx:pt>
          <cx:pt idx="798">15.04954</cx:pt>
          <cx:pt idx="799">15.771799999999999</cx:pt>
          <cx:pt idx="800">15.04954</cx:pt>
          <cx:pt idx="801">36.838769999999997</cx:pt>
          <cx:pt idx="802">4.2434199999999995</cx:pt>
          <cx:pt idx="803">15.04954</cx:pt>
          <cx:pt idx="804">13.1242499999999</cx:pt>
          <cx:pt idx="805">15.04954</cx:pt>
          <cx:pt idx="806">36.838769999999997</cx:pt>
          <cx:pt idx="807">17.24098</cx:pt>
          <cx:pt idx="808">43.287569999999697</cx:pt>
          <cx:pt idx="809">3.6152400000000204</cx:pt>
          <cx:pt idx="810">15.04954</cx:pt>
          <cx:pt idx="811">15.04954</cx:pt>
          <cx:pt idx="812">13.1242499999999</cx:pt>
          <cx:pt idx="813">12.319199999999899</cx:pt>
          <cx:pt idx="814">36.274499999999996</cx:pt>
          <cx:pt idx="815">4.74552</cx:pt>
          <cx:pt idx="816">15.04954</cx:pt>
          <cx:pt idx="817">15.04954</cx:pt>
          <cx:pt idx="818">15.04954</cx:pt>
          <cx:pt idx="819">15.491739999999901</cx:pt>
          <cx:pt idx="820">36.005800000000001</cx:pt>
          <cx:pt idx="821">6.8171999999999997</cx:pt>
          <cx:pt idx="822">13.1242499999999</cx:pt>
          <cx:pt idx="823">13.1242499999999</cx:pt>
          <cx:pt idx="824">15.04954</cx:pt>
          <cx:pt idx="825">13.447799999999999</cx:pt>
          <cx:pt idx="826">15.04954</cx:pt>
          <cx:pt idx="827">3.60242</cx:pt>
          <cx:pt idx="828">15.04954</cx:pt>
          <cx:pt idx="829">9.8619000000000003</cx:pt>
          <cx:pt idx="830">8.7880000000000003</cx:pt>
          <cx:pt idx="831">15.04954</cx:pt>
          <cx:pt idx="832">40.86927</cx:pt>
          <cx:pt idx="833">15.04954</cx:pt>
          <cx:pt idx="834">19.240380000000002</cx:pt>
          <cx:pt idx="835">36.032670000000003</cx:pt>
          <cx:pt idx="836">15.04954</cx:pt>
          <cx:pt idx="837">38.182270000000003</cx:pt>
          <cx:pt idx="838">16.93338</cx:pt>
          <cx:pt idx="839">43.287569999999697</cx:pt>
          <cx:pt idx="840">3.68391</cx:pt>
          <cx:pt idx="841">15.04954</cx:pt>
          <cx:pt idx="842">19.240380000000002</cx:pt>
          <cx:pt idx="843">36.301369999999999</cx:pt>
          <cx:pt idx="844">12.3333599999999</cx:pt>
          <cx:pt idx="845">6.5549999999999997</cx:pt>
          <cx:pt idx="846">15.04954</cx:pt>
          <cx:pt idx="847">13.751459999999899</cx:pt>
          <cx:pt idx="848">15.04954</cx:pt>
          <cx:pt idx="849">13.1242499999999</cx:pt>
          <cx:pt idx="850">15.04954</cx:pt>
          <cx:pt idx="851">15.04954</cx:pt>
          <cx:pt idx="852">13.1242499999999</cx:pt>
          <cx:pt idx="853">4.6103199999999998</cx:pt>
          <cx:pt idx="854">10.92234</cx:pt>
          <cx:pt idx="855">17.24098</cx:pt>
          <cx:pt idx="856">18.3175799999999</cx:pt>
          <cx:pt idx="857">15.04954</cx:pt>
          <cx:pt idx="858">15.344340000000001</cx:pt>
          <cx:pt idx="859">15.04954</cx:pt>
          <cx:pt idx="860">43.287569999999697</cx:pt>
          <cx:pt idx="861">15.04954</cx:pt>
          <cx:pt idx="862">13.1242499999999</cx:pt>
          <cx:pt idx="863">5.0159200000000004</cx:pt>
          <cx:pt idx="864">15.04954</cx:pt>
          <cx:pt idx="865">13.1242499999999</cx:pt>
          <cx:pt idx="866">15.04954</cx:pt>
          <cx:pt idx="867">15.04954</cx:pt>
          <cx:pt idx="868">15.04954</cx:pt>
          <cx:pt idx="869">19.240380000000002</cx:pt>
          <cx:pt idx="870">15.04954</cx:pt>
          <cx:pt idx="871">15.04954</cx:pt>
          <cx:pt idx="872">3.08962</cx:pt>
          <cx:pt idx="873">46.780670000000001</cx:pt>
          <cx:pt idx="874">16.764200000000002</cx:pt>
          <cx:pt idx="875">15.04954</cx:pt>
          <cx:pt idx="876">15.344340000000001</cx:pt>
          <cx:pt idx="877">35.495269999999898</cx:pt>
          <cx:pt idx="878">10.48014</cx:pt>
          <cx:pt idx="879">15.04954</cx:pt>
          <cx:pt idx="880">15.04954</cx:pt>
          <cx:pt idx="881">15.04954</cx:pt>
          <cx:pt idx="882">46.780670000000001</cx:pt>
          <cx:pt idx="883">18.917400000000001</cx:pt>
          <cx:pt idx="884">49.198969999999697</cx:pt>
          <cx:pt idx="885">14.0406599999999</cx:pt>
          <cx:pt idx="886">15.04954</cx:pt>
          <cx:pt idx="887">15.344340000000001</cx:pt>
          <cx:pt idx="888">15.04954</cx:pt>
          <cx:pt idx="889">15.04954</cx:pt>
          <cx:pt idx="890">15.04954</cx:pt>
          <cx:pt idx="891">17.24098</cx:pt>
          <cx:pt idx="892">15.04954</cx:pt>
          <cx:pt idx="893">18.778979999999901</cx:pt>
          <cx:pt idx="894">3.7562600000000201</cx:pt>
          <cx:pt idx="895">15.04954</cx:pt>
          <cx:pt idx="896">9.5840999999999994</cx:pt>
          <cx:pt idx="897">15.04954</cx:pt>
          <cx:pt idx="898">15.04954</cx:pt>
          <cx:pt idx="899">15.04954</cx:pt>
          <cx:pt idx="900">15.04954</cx:pt>
          <cx:pt idx="901">15.04954</cx:pt>
          <cx:pt idx="902">15.04954</cx:pt>
          <cx:pt idx="903">15.491739999999901</cx:pt>
          <cx:pt idx="904">10.431389999999901</cx:pt>
          <cx:pt idx="905">15.19694</cx:pt>
          <cx:pt idx="906">40.06317</cx:pt>
          <cx:pt idx="907">44.093670000000003</cx:pt>
          <cx:pt idx="908">12.839249999999899</cx:pt>
          <cx:pt idx="909">19.547980000000003</cx:pt>
          <cx:pt idx="910">40.600569999999706</cx:pt>
          <cx:pt idx="911">3.68391</cx:pt>
          <cx:pt idx="912">15.04954</cx:pt>
          <cx:pt idx="913">15.04954</cx:pt>
          <cx:pt idx="914">39.767599999999995</cx:pt>
          <cx:pt idx="915">17.24098</cx:pt>
          <cx:pt idx="916">15.04954</cx:pt>
          <cx:pt idx="917">35.495269999999898</cx:pt>
          <cx:pt idx="918">15.04954</cx:pt>
          <cx:pt idx="919">15.04954</cx:pt>
          <cx:pt idx="920">15.04954</cx:pt>
          <cx:pt idx="921">15.04954</cx:pt>
          <cx:pt idx="922">15.04954</cx:pt>
          <cx:pt idx="923">15.04954</cx:pt>
          <cx:pt idx="924">15.04954</cx:pt>
          <cx:pt idx="925">15.04954</cx:pt>
          <cx:pt idx="926">15.04954</cx:pt>
          <cx:pt idx="927">14.75474</cx:pt>
          <cx:pt idx="928">18.4713799999999</cx:pt>
          <cx:pt idx="929">15.04954</cx:pt>
          <cx:pt idx="930">2.7050200000000002</cx:pt>
          <cx:pt idx="931">17.24098</cx:pt>
          <cx:pt idx="932">15.04954</cx:pt>
          <cx:pt idx="933">7.1655999999999995</cx:pt>
          <cx:pt idx="934">15.786539999999999</cx:pt>
          <cx:pt idx="935">15.04954</cx:pt>
          <cx:pt idx="936">13.1242499999999</cx:pt>
          <cx:pt idx="937">18.778979999999901</cx:pt>
          <cx:pt idx="938">49.4676699999997</cx:pt>
          <cx:pt idx="939">43.824969999999702</cx:pt>
          <cx:pt idx="940">15.04954</cx:pt>
          <cx:pt idx="941">19.547980000000003</cx:pt>
          <cx:pt idx="942">15.639140000000001</cx:pt>
          <cx:pt idx="943">1.42302</cx:pt>
          <cx:pt idx="944">6.5549999999999997</cx:pt>
          <cx:pt idx="945">15.04954</cx:pt>
          <cx:pt idx="946">13.1242499999999</cx:pt>
          <cx:pt idx="947">13.1242499999999</cx:pt>
          <cx:pt idx="948">15.04954</cx:pt>
          <cx:pt idx="949">18.778979999999901</cx:pt>
          <cx:pt idx="950">15.04954</cx:pt>
          <cx:pt idx="951">15.04954</cx:pt>
          <cx:pt idx="952">14.0406599999999</cx:pt>
          <cx:pt idx="953">18.009979999999899</cx:pt>
          <cx:pt idx="954">18.778979999999901</cx:pt>
          <cx:pt idx="955">15.04954</cx:pt>
          <cx:pt idx="956">13.1242499999999</cx:pt>
          <cx:pt idx="957">15.04954</cx:pt>
          <cx:pt idx="958">15.04954</cx:pt>
          <cx:pt idx="959">15.04954</cx:pt>
          <cx:pt idx="960">14.0406599999999</cx:pt>
          <cx:pt idx="961">15.04954</cx:pt>
          <cx:pt idx="962">17.24098</cx:pt>
          <cx:pt idx="963">15.04954</cx:pt>
          <cx:pt idx="964">18.4713799999999</cx:pt>
          <cx:pt idx="965">38.450969999999899</cx:pt>
          <cx:pt idx="966">15.491739999999901</cx:pt>
          <cx:pt idx="967">15.04954</cx:pt>
          <cx:pt idx="968">18.3175799999999</cx:pt>
          <cx:pt idx="969">15.04954</cx:pt>
          <cx:pt idx="970">15.491739999999901</cx:pt>
          <cx:pt idx="971">15.04954</cx:pt>
          <cx:pt idx="972">0.91021999999999992</cx:pt>
          <cx:pt idx="973">15.04954</cx:pt>
          <cx:pt idx="974">15.04954</cx:pt>
          <cx:pt idx="975">15.04954</cx:pt>
          <cx:pt idx="976">18.778979999999901</cx:pt>
          <cx:pt idx="977">15.04954</cx:pt>
          <cx:pt idx="978">15.04954</cx:pt>
          <cx:pt idx="979">13.1242499999999</cx:pt>
          <cx:pt idx="980">8.1120000000000001</cx:pt>
          <cx:pt idx="981">15.19694</cx:pt>
          <cx:pt idx="982">15.04954</cx:pt>
          <cx:pt idx="983">19.086580000000001</cx:pt>
          <cx:pt idx="984">15.19694</cx:pt>
          <cx:pt idx="985">15.04954</cx:pt>
          <cx:pt idx="986">12.01178</cx:pt>
          <cx:pt idx="987">13.1242499999999</cx:pt>
          <cx:pt idx="988">18.009979999999899</cx:pt>
          <cx:pt idx="989">44.093670000000003</cx:pt>
          <cx:pt idx="990">15.04954</cx:pt>
          <cx:pt idx="991">15.04954</cx:pt>
          <cx:pt idx="992">14.75474</cx:pt>
          <cx:pt idx="993">15.04954</cx:pt>
          <cx:pt idx="994">43.287569999999697</cx:pt>
          <cx:pt idx="995">18.778979999999901</cx:pt>
          <cx:pt idx="996">17.24098</cx:pt>
          <cx:pt idx="997">15.04954</cx:pt>
          <cx:pt idx="998">15.491739999999901</cx:pt>
          <cx:pt idx="999">15.04954</cx:pt>
          <cx:pt idx="1000">18.009979999999899</cx:pt>
          <cx:pt idx="1001">17.24098</cx:pt>
          <cx:pt idx="1002">4.7433999999999994</cx:pt>
          <cx:pt idx="1003">6.3190200000000196</cx:pt>
          <cx:pt idx="1004">13.751459999999899</cx:pt>
          <cx:pt idx="1005">15.04954</cx:pt>
          <cx:pt idx="1006">17.856179999999998</cx:pt>
          <cx:pt idx="1007">13.1242499999999</cx:pt>
          <cx:pt idx="1008">19.240380000000002</cx:pt>
          <cx:pt idx="1009">7.8415999999999997</cx:pt>
          <cx:pt idx="1010">17.548580000000001</cx:pt>
          <cx:pt idx="1011">6.8171999999999997</cx:pt>
          <cx:pt idx="1012">15.04954</cx:pt>
          <cx:pt idx="1013">38.182270000000003</cx:pt>
          <cx:pt idx="1014">13.1242499999999</cx:pt>
          <cx:pt idx="1015">15.04954</cx:pt>
          <cx:pt idx="1016">19.547980000000003</cx:pt>
          <cx:pt idx="1017">10.57029</cx:pt>
          <cx:pt idx="1018">11.85798</cx:pt>
          <cx:pt idx="1019">15.04954</cx:pt>
          <cx:pt idx="1020">13.1242499999999</cx:pt>
          <cx:pt idx="1021">15.04954</cx:pt>
          <cx:pt idx="1022">43.287569999999697</cx:pt>
          <cx:pt idx="1023">47.586769999999902</cx:pt>
          <cx:pt idx="1024">15.04954</cx:pt>
          <cx:pt idx="1025">17.24098</cx:pt>
          <cx:pt idx="1026">14.0406599999999</cx:pt>
          <cx:pt idx="1027">6.1748099999999999</cx:pt>
          <cx:pt idx="1028">44.093669999999705</cx:pt>
          <cx:pt idx="1029">15.04954</cx:pt>
          <cx:pt idx="1030">2.9614199999999999</cx:pt>
          <cx:pt idx="1031">15.04954</cx:pt>
          <cx:pt idx="1032">18.778979999999901</cx:pt>
          <cx:pt idx="1033">15.04954</cx:pt>
          <cx:pt idx="1034">17.24098</cx:pt>
          <cx:pt idx="1035">14.0406599999999</cx:pt>
          <cx:pt idx="1036">14.0406599999999</cx:pt>
          <cx:pt idx="1037">15.04954</cx:pt>
          <cx:pt idx="1038">15.04954</cx:pt>
          <cx:pt idx="1039">15.04954</cx:pt>
          <cx:pt idx="1040">38.719670000000001</cx:pt>
          <cx:pt idx="1041">15.04954</cx:pt>
          <cx:pt idx="1042">13.1242499999999</cx:pt>
          <cx:pt idx="1043">13.1242499999999</cx:pt>
          <cx:pt idx="1044">15.04954</cx:pt>
          <cx:pt idx="1045">18.009979999999899</cx:pt>
          <cx:pt idx="1046">15.04954</cx:pt>
          <cx:pt idx="1047">14.0406599999999</cx:pt>
          <cx:pt idx="1048">15.04954</cx:pt>
          <cx:pt idx="1049">15.04954</cx:pt>
          <cx:pt idx="1050">15.04954</cx:pt>
          <cx:pt idx="1051">15.04954</cx:pt>
          <cx:pt idx="1052">15.04954</cx:pt>
          <cx:pt idx="1053">14.0406599999999</cx:pt>
          <cx:pt idx="1054">15.04954</cx:pt>
          <cx:pt idx="1055">15.04954</cx:pt>
          <cx:pt idx="1056">15.04954</cx:pt>
          <cx:pt idx="1057">15.04954</cx:pt>
          <cx:pt idx="1058">15.04954</cx:pt>
          <cx:pt idx="1059">18.009979999999899</cx:pt>
          <cx:pt idx="1060">1.42302</cx:pt>
          <cx:pt idx="1061">15.04954</cx:pt>
          <cx:pt idx="1062">13.1242499999999</cx:pt>
          <cx:pt idx="1063">15.04954</cx:pt>
          <cx:pt idx="1064">18.778979999999901</cx:pt>
          <cx:pt idx="1065">17.24098</cx:pt>
          <cx:pt idx="1066">40.86927</cx:pt>
          <cx:pt idx="1067">15.04954</cx:pt>
          <cx:pt idx="1068">31.464769999999898</cx:pt>
          <cx:pt idx="1069">5.5193099999999999</cx:pt>
          <cx:pt idx="1070">3.34601999999999</cx:pt>
          <cx:pt idx="1071">19.547980000000003</cx:pt>
          <cx:pt idx="1072">13.1242499999999</cx:pt>
          <cx:pt idx="1073">38.182270000000003</cx:pt>
          <cx:pt idx="1074">18.778979999999901</cx:pt>
          <cx:pt idx="1075">13.606860000000001</cx:pt>
          <cx:pt idx="1076">8.3959200000000003</cx:pt>
          <cx:pt idx="1077">37.376169999999995</cx:pt>
          <cx:pt idx="1078">5.4309900000000004</cx:pt>
          <cx:pt idx="1079">35.495269999999898</cx:pt>
          <cx:pt idx="1080">17.548580000000001</cx:pt>
          <cx:pt idx="1081">13.1242499999999</cx:pt>
          <cx:pt idx="1082">15.344340000000001</cx:pt>
          <cx:pt idx="1083">17.24098</cx:pt>
          <cx:pt idx="1084">3.08962</cx:pt>
          <cx:pt idx="1085">15.04954</cx:pt>
          <cx:pt idx="1086">13.1242499999999</cx:pt>
          <cx:pt idx="1087">2.7050200000000002</cx:pt>
          <cx:pt idx="1088">15.04954</cx:pt>
          <cx:pt idx="1089">15.04954</cx:pt>
          <cx:pt idx="1090">43.287569999999697</cx:pt>
          <cx:pt idx="1091">41.4066699999997</cx:pt>
          <cx:pt idx="1092">13.1242499999999</cx:pt>
          <cx:pt idx="1093">17.24098</cx:pt>
          <cx:pt idx="1094">43.287569999999697</cx:pt>
          <cx:pt idx="1095">11.625360000000001</cx:pt>
          <cx:pt idx="1096">15.04954</cx:pt>
          <cx:pt idx="1097">40.600569999999706</cx:pt>
          <cx:pt idx="1098">13.1242499999999</cx:pt>
          <cx:pt idx="1099">18.009979999999899</cx:pt>
          <cx:pt idx="1100">10.92234</cx:pt>
          <cx:pt idx="1101">17.24098</cx:pt>
          <cx:pt idx="1102">15.04954</cx:pt>
          <cx:pt idx="1103">15.04954</cx:pt>
          <cx:pt idx="1104">12.825000000000001</cx:pt>
          <cx:pt idx="1105">41.164840000000005</cx:pt>
          <cx:pt idx="1106">3.42171</cx:pt>
          <cx:pt idx="1107">6.0437099999999999</cx:pt>
          <cx:pt idx="1108">17.24098</cx:pt>
          <cx:pt idx="1109">7.4359999999999999</cx:pt>
          <cx:pt idx="1110">29.315169999999902</cx:pt>
          <cx:pt idx="1111">15.04954</cx:pt>
          <cx:pt idx="1112">6.03059999999999</cx:pt>
          <cx:pt idx="1113">17.24098</cx:pt>
          <cx:pt idx="1114">15.04954</cx:pt>
          <cx:pt idx="1115">17.24098</cx:pt>
          <cx:pt idx="1116">15.04954</cx:pt>
          <cx:pt idx="1117">5.2561999999999998</cx:pt>
          <cx:pt idx="1118">1.42302</cx:pt>
          <cx:pt idx="1119">4.1023999999999994</cx:pt>
          <cx:pt idx="1120">15.04954</cx:pt>
          <cx:pt idx="1121">15.04954</cx:pt>
          <cx:pt idx="1122">15.04954</cx:pt>
          <cx:pt idx="1123">13.1242499999999</cx:pt>
          <cx:pt idx="1124">18.009979999999899</cx:pt>
          <cx:pt idx="1125">15.04954</cx:pt>
          <cx:pt idx="1126">15.04954</cx:pt>
          <cx:pt idx="1127">15.04954</cx:pt>
          <cx:pt idx="1128">15.04954</cx:pt>
          <cx:pt idx="1129">12.825000000000001</cx:pt>
          <cx:pt idx="1130">6.5549999999999997</cx:pt>
          <cx:pt idx="1131">15.04954</cx:pt>
          <cx:pt idx="1132">14.0406599999999</cx:pt>
          <cx:pt idx="1133">13.751459999999899</cx:pt>
          <cx:pt idx="1134">35.495269999999898</cx:pt>
          <cx:pt idx="1135">15.04954</cx:pt>
          <cx:pt idx="1136">15.04954</cx:pt>
          <cx:pt idx="1137">15.04954</cx:pt>
          <cx:pt idx="1138">48.661569999999699</cx:pt>
          <cx:pt idx="1139">44.093669999999705</cx:pt>
          <cx:pt idx="1140">1.42302</cx:pt>
          <cx:pt idx="1141">12.3333599999999</cx:pt>
          <cx:pt idx="1142">17.24098</cx:pt>
          <cx:pt idx="1143">43.287569999999697</cx:pt>
          <cx:pt idx="1144">1.42302</cx:pt>
          <cx:pt idx="1145">44.093669999999705</cx:pt>
          <cx:pt idx="1146">1.42302</cx:pt>
          <cx:pt idx="1147">41.4066699999997</cx:pt>
          <cx:pt idx="1148">39.525770000000001</cx:pt>
          <cx:pt idx="1149">43.287569999999697</cx:pt>
          <cx:pt idx="1150">14.0406599999999</cx:pt>
          <cx:pt idx="1151">1.42302</cx:pt>
        </cx:lvl>
      </cx:numDim>
    </cx:data>
  </cx:chartData>
  <cx:chart>
    <cx:plotArea>
      <cx:plotAreaRegion>
        <cx:series layoutId="boxWhisker" uniqueId="{72199572-D47D-43C1-9889-65BC0910442F}">
          <cx:tx>
            <cx:txData>
              <cx:f>UK_Region_Box_Plots!$D$1</cx:f>
              <cx:v>Global Accounts</cx:v>
            </cx:txData>
          </cx:tx>
          <cx:spPr>
            <a:ln w="28575"/>
          </cx:spPr>
          <cx:dataId val="0"/>
          <cx:layoutPr>
            <cx:visibility meanLine="1" meanMarker="1" nonoutliers="0" outliers="1"/>
            <cx:statistics quartileMethod="exclusive"/>
          </cx:layoutPr>
        </cx:series>
        <cx:series layoutId="boxWhisker" uniqueId="{3A74A2CB-6948-47DC-876F-B6D8D9BCFCA7}">
          <cx:tx>
            <cx:txData>
              <cx:f>UK_Region_Box_Plots!$E$1</cx:f>
              <cx:v>A</cx:v>
            </cx:txData>
          </cx:tx>
          <cx:spPr>
            <a:ln w="28575">
              <a:solidFill>
                <a:srgbClr val="002870"/>
              </a:solidFill>
            </a:ln>
          </cx:spPr>
          <cx:dataId val="1"/>
          <cx:layoutPr>
            <cx:visibility meanLine="1" meanMarker="1" nonoutliers="0" outliers="1"/>
            <cx:statistics quartileMethod="exclusive"/>
          </cx:layoutPr>
        </cx:series>
        <cx:series layoutId="boxWhisker" uniqueId="{AD7B66F9-AE77-4E79-9E63-8A89AE720292}">
          <cx:tx>
            <cx:txData>
              <cx:f>UK_Region_Box_Plots!$F$1</cx:f>
              <cx:v>B1</cx:v>
            </cx:txData>
          </cx:tx>
          <cx:spPr>
            <a:ln w="28575">
              <a:solidFill>
                <a:srgbClr val="51036D"/>
              </a:solidFill>
            </a:ln>
          </cx:spPr>
          <cx:dataId val="2"/>
          <cx:layoutPr>
            <cx:visibility meanLine="1" meanMarker="1" nonoutliers="0" outliers="1"/>
            <cx:statistics quartileMethod="exclusive"/>
          </cx:layoutPr>
        </cx:series>
        <cx:series layoutId="boxWhisker" uniqueId="{3E0F8C61-74A1-4A03-9F6B-897939F5A5F4}">
          <cx:tx>
            <cx:txData>
              <cx:f>UK_Region_Box_Plots!$G$1</cx:f>
              <cx:v>B1 Grow</cx:v>
            </cx:txData>
          </cx:tx>
          <cx:spPr>
            <a:ln w="28575">
              <a:solidFill>
                <a:srgbClr val="CC005C"/>
              </a:solidFill>
            </a:ln>
          </cx:spPr>
          <cx:dataId val="3"/>
          <cx:layoutPr>
            <cx:visibility meanLine="1" meanMarker="1" nonoutliers="0" outliers="1"/>
            <cx:statistics quartileMethod="exclusive"/>
          </cx:layoutPr>
        </cx:series>
        <cx:series layoutId="boxWhisker" uniqueId="{DF0AE7B6-F91E-4F20-8ECE-9DD1509B827C}">
          <cx:tx>
            <cx:txData>
              <cx:f>UK_Region_Box_Plots!$H$1</cx:f>
              <cx:v>B1 Retain</cx:v>
            </cx:txData>
          </cx:tx>
          <cx:spPr>
            <a:ln w="28575"/>
          </cx:spPr>
          <cx:dataId val="4"/>
          <cx:layoutPr>
            <cx:visibility meanLine="1" meanMarker="1" nonoutliers="0" outliers="1"/>
            <cx:statistics quartileMethod="exclusive"/>
          </cx:layoutPr>
        </cx:series>
        <cx:series layoutId="boxWhisker" uniqueId="{2344374A-95B1-472C-908D-CD62F4806CFD}">
          <cx:tx>
            <cx:txData>
              <cx:f>UK_Region_Box_Plots!$I$1</cx:f>
              <cx:v>B2</cx:v>
            </cx:txData>
          </cx:tx>
          <cx:spPr>
            <a:ln w="28575"/>
          </cx:spPr>
          <cx:dataId val="5"/>
          <cx:layoutPr>
            <cx:visibility meanLine="1" meanMarker="1" nonoutliers="0" outliers="1"/>
            <cx:statistics quartileMethod="exclusive"/>
          </cx:layoutPr>
        </cx:series>
        <cx:series layoutId="boxWhisker" uniqueId="{BD8FBD08-D6A5-45AC-8564-6955E5DB6FD0}">
          <cx:tx>
            <cx:txData>
              <cx:f>UK_Region_Box_Plots!$J$1</cx:f>
              <cx:v>B2 Grow</cx:v>
            </cx:txData>
          </cx:tx>
          <cx:spPr>
            <a:ln w="28575"/>
          </cx:spPr>
          <cx:dataId val="6"/>
          <cx:layoutPr>
            <cx:visibility meanLine="1" meanMarker="1" nonoutliers="0" outliers="1"/>
            <cx:statistics quartileMethod="exclusive"/>
          </cx:layoutPr>
        </cx:series>
        <cx:series layoutId="boxWhisker" uniqueId="{8F89DEC5-3B10-4A06-B588-3258FF9DD36E}">
          <cx:tx>
            <cx:txData>
              <cx:f>UK_Region_Box_Plots!$K$1</cx:f>
              <cx:v>B2 Retain</cx:v>
            </cx:txData>
          </cx:tx>
          <cx:spPr>
            <a:ln w="28575">
              <a:solidFill>
                <a:srgbClr val="00163E"/>
              </a:solidFill>
            </a:ln>
          </cx:spPr>
          <cx:dataId val="7"/>
          <cx:layoutPr>
            <cx:visibility meanLine="1" meanMarker="1" nonoutliers="0" outliers="1"/>
            <cx:statistics quartileMethod="exclusive"/>
          </cx:layoutPr>
        </cx:series>
        <cx:series layoutId="boxWhisker" uniqueId="{F832F8DF-8AB4-4929-B508-D936B72FB764}">
          <cx:tx>
            <cx:txData>
              <cx:f>UK_Region_Box_Plots!$L$1</cx:f>
              <cx:v>B3</cx:v>
            </cx:txData>
          </cx:tx>
          <cx:spPr>
            <a:ln w="28575"/>
          </cx:spPr>
          <cx:dataId val="8"/>
          <cx:layoutPr>
            <cx:visibility meanLine="1" meanMarker="1" nonoutliers="0" outliers="1"/>
            <cx:statistics quartileMethod="exclusive"/>
          </cx:layoutPr>
        </cx:series>
        <cx:series layoutId="boxWhisker" uniqueId="{2B07C62E-EE47-4919-AD69-A96D99FCA041}">
          <cx:tx>
            <cx:txData>
              <cx:f>UK_Region_Box_Plots!$M$1</cx:f>
              <cx:v>B3 Grow</cx:v>
            </cx:txData>
          </cx:tx>
          <cx:spPr>
            <a:ln w="28575"/>
          </cx:spPr>
          <cx:dataId val="9"/>
          <cx:layoutPr>
            <cx:visibility meanLine="1" meanMarker="1" nonoutliers="0" outliers="1"/>
            <cx:statistics quartileMethod="exclusive"/>
          </cx:layoutPr>
        </cx:series>
        <cx:series layoutId="boxWhisker" uniqueId="{451177F8-2F77-4A90-A928-89E35FBCF61A}">
          <cx:tx>
            <cx:txData>
              <cx:f>UK_Region_Box_Plots!$N$1</cx:f>
              <cx:v>B3 Retain</cx:v>
            </cx:txData>
          </cx:tx>
          <cx:spPr>
            <a:ln w="28575"/>
          </cx:spPr>
          <cx:dataId val="10"/>
          <cx:layoutPr>
            <cx:visibility meanLine="1" meanMarker="1" nonoutliers="0" outliers="1"/>
            <cx:statistics quartileMethod="exclusive"/>
          </cx:layoutPr>
        </cx:series>
        <cx:series layoutId="boxWhisker" uniqueId="{698EF3FC-982A-4EB5-819D-3D05502A4967}">
          <cx:tx>
            <cx:txData>
              <cx:f>UK_Region_Box_Plots!$O$1</cx:f>
              <cx:v>C</cx:v>
            </cx:txData>
          </cx:tx>
          <cx:spPr>
            <a:ln w="28575"/>
          </cx:spPr>
          <cx:dataId val="11"/>
          <cx:layoutPr>
            <cx:visibility meanLine="1" meanMarker="1" nonoutliers="0" outliers="1"/>
            <cx:statistics quartileMethod="exclusive"/>
          </cx:layoutPr>
        </cx:series>
        <cx:series layoutId="boxWhisker" uniqueId="{60D9FDAB-7CB4-46B9-BE4C-E29DA6BD881C}">
          <cx:tx>
            <cx:txData>
              <cx:f>UK_Region_Box_Plots!$P$1</cx:f>
              <cx:v>D</cx:v>
            </cx:txData>
          </cx:tx>
          <cx:spPr>
            <a:ln w="28575"/>
          </cx:spPr>
          <cx:dataId val="12"/>
          <cx:layoutPr>
            <cx:visibility meanLine="1" meanMarker="1" nonoutliers="0" outliers="1"/>
            <cx:statistics quartileMethod="exclusive"/>
          </cx:layoutPr>
        </cx:series>
      </cx:plotAreaRegion>
      <cx:axis id="0" hidden="1">
        <cx:catScaling gapWidth="0"/>
        <cx:tickLabels/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50" b="1"/>
            </a:pPr>
            <a:endParaRPr lang="en-US" sz="1050" b="1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PayPal Sans Big Light"/>
            </a:endParaRPr>
          </a:p>
        </cx:txPr>
      </cx:axis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val">
        <cx:f>DEATCH_Region_Box_Plots!$D$2:$D$929</cx:f>
        <cx:lvl ptCount="928" formatCode="_(* #,##0_);_(* \(#,##0\);_(* &quot;-&quot;??_);_(@_)">
          <cx:pt idx="0">17.533199999999997</cx:pt>
          <cx:pt idx="1">4.4870000000000001</cx:pt>
          <cx:pt idx="2">5.63729999999999</cx:pt>
          <cx:pt idx="3">12.333360000000001</cx:pt>
          <cx:pt idx="4">4.1023999999999994</cx:pt>
          <cx:pt idx="5">5.2561999999999998</cx:pt>
          <cx:pt idx="6">6.2927999999999997</cx:pt>
          <cx:pt idx="7">12.460799999999999</cx:pt>
          <cx:pt idx="8">2.5639999999999898</cx:pt>
          <cx:pt idx="9">14.3154</cx:pt>
          <cx:pt idx="10">14.1708</cx:pt>
          <cx:pt idx="11">10.4175</cx:pt>
          <cx:pt idx="12">16.917999999999999</cx:pt>
          <cx:pt idx="13">7.9767999999999892</cx:pt>
          <cx:pt idx="14">12.8535</cx:pt>
          <cx:pt idx="15">7.8415999999999997</cx:pt>
          <cx:pt idx="16">12.177599999999899</cx:pt>
          <cx:pt idx="17">7.8551199999999906</cx:pt>
          <cx:pt idx="18">14.199719999999999</cx:pt>
          <cx:pt idx="19">1.42302</cx:pt>
        </cx:lvl>
      </cx:numDim>
    </cx:data>
    <cx:data id="1">
      <cx:numDim type="val">
        <cx:f>DEATCH_Region_Box_Plots!$E$2:$E$929</cx:f>
        <cx:lvl ptCount="928" formatCode="_(* #,##0_);_(* \(#,##0\);_(* &quot;-&quot;??_);_(@_)">
          <cx:pt idx="0">13.5924</cx:pt>
          <cx:pt idx="1">11.328000000000001</cx:pt>
          <cx:pt idx="2">7.8686400000000196</cx:pt>
          <cx:pt idx="3">12.177599999999899</cx:pt>
          <cx:pt idx="4">2.5768200000000001</cx:pt>
          <cx:pt idx="5">18.6098</cx:pt>
          <cx:pt idx="6">13.736999999999998</cx:pt>
          <cx:pt idx="7">7.7063999999999995</cx:pt>
          <cx:pt idx="8">3.5895999999999999</cx:pt>
          <cx:pt idx="9">10.6952999999999</cx:pt>
          <cx:pt idx="10">6.4239000000000006</cx:pt>
          <cx:pt idx="11">3.9741999999999997</cx:pt>
          <cx:pt idx="12">34.984739999999995</cx:pt>
          <cx:pt idx="13">11.4696</cx:pt>
          <cx:pt idx="14">1.42301999999999</cx:pt>
          <cx:pt idx="15">12.967500000000001</cx:pt>
          <cx:pt idx="16">5.89949999999999</cx:pt>
          <cx:pt idx="17">9.4451999999999998</cx:pt>
          <cx:pt idx="18">6.4239000000000006</cx:pt>
          <cx:pt idx="19">8.9232000000000014</cx:pt>
          <cx:pt idx="20">6.5549999999999997</cx:pt>
          <cx:pt idx="21">8.1120000000000001</cx:pt>
          <cx:pt idx="22">8.5175999999999998</cx:pt>
          <cx:pt idx="23">18.302199999999999</cx:pt>
          <cx:pt idx="24">6.03059999999999</cx:pt>
          <cx:pt idx="25">10.6952999999999</cx:pt>
          <cx:pt idx="26">49.1721</cx:pt>
          <cx:pt idx="27">14.74</cx:pt>
          <cx:pt idx="28">17.687000000000001</cx:pt>
          <cx:pt idx="29">10.4175</cx:pt>
          <cx:pt idx="30">14.0261999999999</cx:pt>
          <cx:pt idx="31">10.0008</cx:pt>
          <cx:pt idx="32">19.255759999999999</cx:pt>
          <cx:pt idx="33">61.048639999999999</cx:pt>
          <cx:pt idx="34">12.8535</cx:pt>
          <cx:pt idx="35">5.2561999999999998</cx:pt>
          <cx:pt idx="36">8.7880000000000003</cx:pt>
          <cx:pt idx="37">13.109999999999999</cx:pt>
          <cx:pt idx="38">10.4175</cx:pt>
          <cx:pt idx="39">11.92272</cx:pt>
          <cx:pt idx="40">39.230199999999897</cx:pt>
          <cx:pt idx="41">10.4175</cx:pt>
          <cx:pt idx="42">60.726199999999999</cx:pt>
          <cx:pt idx="43">17.10256</cx:pt>
          <cx:pt idx="44">9.5840999999999994</cx:pt>
          <cx:pt idx="45">9.8619000000000003</cx:pt>
          <cx:pt idx="46">10.5564</cx:pt>
          <cx:pt idx="47">10.834199999999999</cx:pt>
          <cx:pt idx="48">56.212039999999995</cx:pt>
          <cx:pt idx="49">6.5549999999999997</cx:pt>
          <cx:pt idx="50">8.7880000000000003</cx:pt>
          <cx:pt idx="51">48.634699999999995</cx:pt>
          <cx:pt idx="52">7.7063999999999995</cx:pt>
          <cx:pt idx="53">9.8619000000000003</cx:pt>
          <cx:pt idx="54">9.5840999999999994</cx:pt>
          <cx:pt idx="55">15.476999999999999</cx:pt>
          <cx:pt idx="56">9.0583999999999989</cx:pt>
          <cx:pt idx="57">10.4175</cx:pt>
          <cx:pt idx="58">13.109999999999999</cx:pt>
          <cx:pt idx="59">11.752799999999999</cx:pt>
          <cx:pt idx="60">9.722999999999999</cx:pt>
          <cx:pt idx="61">8.6527999999999992</cx:pt>
          <cx:pt idx="62">9.722999999999999</cx:pt>
          <cx:pt idx="63">15.771799999999999</cx:pt>
          <cx:pt idx="64">9.8619000000000003</cx:pt>
          <cx:pt idx="65">15.329599999999999</cx:pt>
          <cx:pt idx="66">7.5712000000000002</cx:pt>
          <cx:pt idx="67">11.4696</cx:pt>
          <cx:pt idx="68">8.6527999999999992</cx:pt>
          <cx:pt idx="69">9.5840999999999994</cx:pt>
          <cx:pt idx="70">11.781120000000001</cx:pt>
          <cx:pt idx="71">16.764200000000002</cx:pt>
          <cx:pt idx="72">11.611199999999899</cx:pt>
          <cx:pt idx="73">8.6527999999999992</cx:pt>
          <cx:pt idx="74">8.2472000000000012</cx:pt>
          <cx:pt idx="75">12.460799999999999</cx:pt>
          <cx:pt idx="76">6.8171999999999997</cx:pt>
          <cx:pt idx="77">13.447799999999999</cx:pt>
          <cx:pt idx="78">9.722999999999999</cx:pt>
          <cx:pt idx="79">8.9232000000000014</cx:pt>
          <cx:pt idx="80">3.8460000000000001</cx:pt>
          <cx:pt idx="81">12.98175</cx:pt>
          <cx:pt idx="82">7.8415999999999997</cx:pt>
          <cx:pt idx="83">11.4696</cx:pt>
          <cx:pt idx="84">4.7433999999999994</cx:pt>
          <cx:pt idx="85">8.1120000000000001</cx:pt>
          <cx:pt idx="86">13.5924</cx:pt>
          <cx:pt idx="87">11.611199999999899</cx:pt>
          <cx:pt idx="88">10.278600000000001</cx:pt>
          <cx:pt idx="89">11.328000000000001</cx:pt>
          <cx:pt idx="90">10.0008</cx:pt>
          <cx:pt idx="91">16.79496</cx:pt>
          <cx:pt idx="92">19.378799999999998</cx:pt>
          <cx:pt idx="93">10.973099999999999</cx:pt>
          <cx:pt idx="94">12.177599999999899</cx:pt>
          <cx:pt idx="95">3.3332000000000002</cx:pt>
          <cx:pt idx="96">10.153589999999999</cx:pt>
          <cx:pt idx="97">15.476999999999999</cx:pt>
          <cx:pt idx="98">10.5564</cx:pt>
          <cx:pt idx="99">8.6527999999999992</cx:pt>
          <cx:pt idx="100">3.8460000000000001</cx:pt>
          <cx:pt idx="101">11.4696</cx:pt>
          <cx:pt idx="102">10.0008</cx:pt>
          <cx:pt idx="103">36.811899999999895</cx:pt>
          <cx:pt idx="104">6.6860999999999908</cx:pt>
          <cx:pt idx="105">18.148399999999899</cx:pt>
          <cx:pt idx="106">11.611199999999899</cx:pt>
          <cx:pt idx="107">35.468400000000003</cx:pt>
          <cx:pt idx="108">6.5549999999999997</cx:pt>
          <cx:pt idx="109">12.98175</cx:pt>
          <cx:pt idx="110">42.185899999999997</cx:pt>
          <cx:pt idx="111">16.764200000000002</cx:pt>
          <cx:pt idx="112">14.1708</cx:pt>
          <cx:pt idx="113">17.0718</cx:pt>
          <cx:pt idx="114">12.177599999999899</cx:pt>
          <cx:pt idx="115">47.291200000000003</cx:pt>
          <cx:pt idx="116">10.0008</cx:pt>
          <cx:pt idx="117">7.1655999999999995</cx:pt>
          <cx:pt idx="118">4.8715999999999999</cx:pt>
          <cx:pt idx="119">15.476999999999999</cx:pt>
          <cx:pt idx="120">5.63729999999999</cx:pt>
          <cx:pt idx="121">44.120540000000005</cx:pt>
          <cx:pt idx="122">6.2927999999999997</cx:pt>
          <cx:pt idx="123">10.5564</cx:pt>
          <cx:pt idx="124">7.7063999999999995</cx:pt>
          <cx:pt idx="125">7.3008000000000006</cx:pt>
          <cx:pt idx="126">5.63729999999999</cx:pt>
          <cx:pt idx="127">7.1655999999999995</cx:pt>
          <cx:pt idx="128">18.148399999999899</cx:pt>
          <cx:pt idx="129">8.9232000000000014</cx:pt>
          <cx:pt idx="130">10.834199999999999</cx:pt>
          <cx:pt idx="131">6.6860999999999908</cx:pt>
          <cx:pt idx="132">5.7683999999999997</cx:pt>
          <cx:pt idx="133">39.767599999999995</cx:pt>
          <cx:pt idx="134">12.177599999999899</cx:pt>
          <cx:pt idx="135">17.994599999999998</cx:pt>
          <cx:pt idx="136">50.784299999999902</cx:pt>
          <cx:pt idx="137">18.148399999999899</cx:pt>
          <cx:pt idx="138">6.8171999999999997</cx:pt>
          <cx:pt idx="139">1.9358199999999999</cx:pt>
          <cx:pt idx="140">12.347519999999999</cx:pt>
          <cx:pt idx="141">4.2305999999999999</cx:pt>
          <cx:pt idx="142">16.917999999999999</cx:pt>
          <cx:pt idx="143">9.722999999999999</cx:pt>
          <cx:pt idx="144">10.834199999999999</cx:pt>
          <cx:pt idx="145">70.18443999999991</cx:pt>
          <cx:pt idx="146">15.6244</cx:pt>
          <cx:pt idx="147">11.611199999999899</cx:pt>
          <cx:pt idx="148">11.92272</cx:pt>
          <cx:pt idx="149">54.546099999999996</cx:pt>
          <cx:pt idx="150">10.4175</cx:pt>
          <cx:pt idx="151">8.5639399999999899</cx:pt>
          <cx:pt idx="152">19.225000000000001</cx:pt>
          <cx:pt idx="153">37.618000000000002</cx:pt>
          <cx:pt idx="154">12.825000000000001</cx:pt>
          <cx:pt idx="155">13.896059999999999</cx:pt>
          <cx:pt idx="156">4.9998000000000005</cx:pt>
          <cx:pt idx="157">12.16558</cx:pt>
          <cx:pt idx="158">3.9741999999999997</cx:pt>
          <cx:pt idx="159">11.752799999999999</cx:pt>
          <cx:pt idx="160">7.8415999999999997</cx:pt>
          <cx:pt idx="161">5.1279999999999903</cx:pt>
          <cx:pt idx="162">10.834199999999999</cx:pt>
          <cx:pt idx="163">10.44528</cx:pt>
          <cx:pt idx="164">12.177599999999899</cx:pt>
          <cx:pt idx="165">4.7433999999999994</cx:pt>
          <cx:pt idx="166">7.9903199999999996</cx:pt>
          <cx:pt idx="167">10.5564</cx:pt>
          <cx:pt idx="168">11.4696</cx:pt>
          <cx:pt idx="169">12.333360000000001</cx:pt>
          <cx:pt idx="170">51.859100000000005</cx:pt>
          <cx:pt idx="171">14.916879999999999</cx:pt>
          <cx:pt idx="172">4.7455199999999902</cx:pt>
          <cx:pt idx="173">9.8619000000000003</cx:pt>
          <cx:pt idx="174">34.662300000000002</cx:pt>
          <cx:pt idx="175">9.8619000000000003</cx:pt>
          <cx:pt idx="176">13.896059999999999</cx:pt>
          <cx:pt idx="177">37.3492999999999</cx:pt>
          <cx:pt idx="178">15.034799999999901</cx:pt>
          <cx:pt idx="179">79.266499999999695</cx:pt>
          <cx:pt idx="180">15.771799999999999</cx:pt>
          <cx:pt idx="181">8.9232000000000014</cx:pt>
          <cx:pt idx="182">7.8415999999999997</cx:pt>
          <cx:pt idx="183">34.662300000000002</cx:pt>
          <cx:pt idx="184">12.036</cx:pt>
          <cx:pt idx="185">62.069699999999905</cx:pt>
          <cx:pt idx="186">8.6527999999999992</cx:pt>
          <cx:pt idx="187">87.327499999999702</cx:pt>
          <cx:pt idx="188">18.948160000000001</cx:pt>
          <cx:pt idx="189">12.967500000000001</cx:pt>
          <cx:pt idx="190">17.0718</cx:pt>
          <cx:pt idx="191">6.2927999999999997</cx:pt>
          <cx:pt idx="192">6.1616999999999997</cx:pt>
          <cx:pt idx="193">36.274499999999996</cx:pt>
          <cx:pt idx="194">17.533199999999997</cx:pt>
          <cx:pt idx="195">46.485100000000003</cx:pt>
          <cx:pt idx="196">6.1616999999999997</cx:pt>
          <cx:pt idx="197">16.779579999999999</cx:pt>
          <cx:pt idx="198">13.765920000000001</cx:pt>
          <cx:pt idx="199">11.611199999999899</cx:pt>
          <cx:pt idx="200">13.881599999999999</cx:pt>
          <cx:pt idx="201">10.278600000000001</cx:pt>
          <cx:pt idx="202">12.602399999999999</cx:pt>
          <cx:pt idx="203">14.0261999999999</cx:pt>
          <cx:pt idx="204">4.9998000000000005</cx:pt>
          <cx:pt idx="205">4.4870000000000001</cx:pt>
          <cx:pt idx="206">12.036</cx:pt>
        </cx:lvl>
      </cx:numDim>
    </cx:data>
    <cx:data id="2">
      <cx:numDim type="val">
        <cx:f>DEATCH_Region_Box_Plots!$F$2:$F$929</cx:f>
        <cx:lvl ptCount="928" formatCode="_(* #,##0_);_(* \(#,##0\);_(* &quot;-&quot;??_);_(@_)">
          <cx:pt idx="0">6.2927999999999997</cx:pt>
          <cx:pt idx="1">14.3154</cx:pt>
          <cx:pt idx="2">51.052999999999706</cx:pt>
          <cx:pt idx="3">17.2256</cx:pt>
          <cx:pt idx="4">8.6527999999999992</cx:pt>
          <cx:pt idx="5">15.9192</cx:pt>
          <cx:pt idx="6">19.240380000000002</cx:pt>
          <cx:pt idx="7">17.2256</cx:pt>
          <cx:pt idx="8">4.1023999999999994</cx:pt>
          <cx:pt idx="9">7.3008000000000006</cx:pt>
          <cx:pt idx="10">4.4870000000000001</cx:pt>
          <cx:pt idx="11">14.164979999999899</cx:pt>
          <cx:pt idx="12">40.573700000000002</cx:pt>
          <cx:pt idx="13">18.148399999999899</cx:pt>
          <cx:pt idx="14">18.625179999999901</cx:pt>
          <cx:pt idx="15">10.5564</cx:pt>
          <cx:pt idx="16">16.764200000000002</cx:pt>
          <cx:pt idx="17">7.463040000000019</cx:pt>
          <cx:pt idx="18">14.3154</cx:pt>
          <cx:pt idx="19">16.779579999999999</cx:pt>
          <cx:pt idx="20">5.2561999999999998</cx:pt>
          <cx:pt idx="21">5.1279999999999903</cx:pt>
          <cx:pt idx="22">7.9767999999999892</cx:pt>
          <cx:pt idx="23">4.7433999999999994</cx:pt>
          <cx:pt idx="24">13.881599999999999</cx:pt>
          <cx:pt idx="25">11.328000000000001</cx:pt>
          <cx:pt idx="26">14.18526</cx:pt>
          <cx:pt idx="27">13.109999999999999</cx:pt>
          <cx:pt idx="28">15.182200000000002</cx:pt>
          <cx:pt idx="29">6.6992099999999999</cx:pt>
          <cx:pt idx="30">13.109999999999999</cx:pt>
          <cx:pt idx="31">8.5175999999999998</cx:pt>
          <cx:pt idx="32">8.3823999999999987</cx:pt>
          <cx:pt idx="33">6.6860999999999908</cx:pt>
          <cx:pt idx="34">17.840799999999902</cx:pt>
          <cx:pt idx="35">10.0008</cx:pt>
          <cx:pt idx="36">5.1279999999999903</cx:pt>
          <cx:pt idx="37">7.7063999999999995</cx:pt>
          <cx:pt idx="38">3.8460000000000001</cx:pt>
          <cx:pt idx="39">10.0008</cx:pt>
          <cx:pt idx="40">11.752799999999999</cx:pt>
          <cx:pt idx="41">4.7433999999999994</cx:pt>
          <cx:pt idx="42">15.771799999999999</cx:pt>
          <cx:pt idx="43">4.7433999999999994</cx:pt>
          <cx:pt idx="44">15.034799999999901</cx:pt>
          <cx:pt idx="45">8.3823999999999987</cx:pt>
          <cx:pt idx="46">8.9232000000000014</cx:pt>
          <cx:pt idx="47">11.781120000000001</cx:pt>
          <cx:pt idx="48">6.8171999999999997</cx:pt>
          <cx:pt idx="49">6.5549999999999997</cx:pt>
          <cx:pt idx="50">10.5564</cx:pt>
          <cx:pt idx="51">5.5061999999999998</cx:pt>
          <cx:pt idx="52">3.9741999999999997</cx:pt>
          <cx:pt idx="53">7.8415999999999997</cx:pt>
          <cx:pt idx="54">8.3823999999999987</cx:pt>
          <cx:pt idx="55">6.1616999999999997</cx:pt>
          <cx:pt idx="56">5.5061999999999998</cx:pt>
          <cx:pt idx="57">5.7683999999999997</cx:pt>
          <cx:pt idx="58">6.8171999999999997</cx:pt>
          <cx:pt idx="59">13.447799999999999</cx:pt>
          <cx:pt idx="60">39.498899999999999</cx:pt>
          <cx:pt idx="61">3.9741999999999997</cx:pt>
          <cx:pt idx="62">4.6408400000000194</cx:pt>
          <cx:pt idx="63">9.722999999999999</cx:pt>
          <cx:pt idx="64">8.7880000000000003</cx:pt>
          <cx:pt idx="65">3.9741999999999997</cx:pt>
          <cx:pt idx="66">5.89949999999999</cx:pt>
          <cx:pt idx="67">11.48376</cx:pt>
          <cx:pt idx="68">13.881599999999999</cx:pt>
          <cx:pt idx="69">3.08962</cx:pt>
          <cx:pt idx="70">3.7178000000000004</cx:pt>
          <cx:pt idx="71">18.7636</cx:pt>
          <cx:pt idx="72">9.4451999999999998</cx:pt>
          <cx:pt idx="73">6.1616999999999997</cx:pt>
          <cx:pt idx="74">8.260720000000001</cx:pt>
          <cx:pt idx="75">8.5175999999999998</cx:pt>
          <cx:pt idx="76">3.7178000000000004</cx:pt>
          <cx:pt idx="77">7.9767999999999892</cx:pt>
          <cx:pt idx="78">10.278600000000001</cx:pt>
          <cx:pt idx="79">18.625179999999901</cx:pt>
          <cx:pt idx="80">10.431389999999901</cx:pt>
          <cx:pt idx="81">4.2305999999999999</cx:pt>
          <cx:pt idx="82">11.752799999999999</cx:pt>
          <cx:pt idx="83">13.896059999999999</cx:pt>
          <cx:pt idx="84">3.5895999999999999</cx:pt>
          <cx:pt idx="85">13.109999999999999</cx:pt>
          <cx:pt idx="86">8.3823999999999987</cx:pt>
          <cx:pt idx="87">13.109999999999999</cx:pt>
          <cx:pt idx="88">8.3823999999999987</cx:pt>
          <cx:pt idx="89">8.3823999999999987</cx:pt>
          <cx:pt idx="90">10.834199999999999</cx:pt>
          <cx:pt idx="91">5.63729999999999</cx:pt>
          <cx:pt idx="92">15.6244</cx:pt>
          <cx:pt idx="93">2.6922000000000001</cx:pt>
          <cx:pt idx="94">38.692799999999998</cx:pt>
          <cx:pt idx="95">9.5840999999999994</cx:pt>
          <cx:pt idx="96">36.543199999999999</cx:pt>
          <cx:pt idx="97">9.4451999999999998</cx:pt>
          <cx:pt idx="98">4.9998000000000005</cx:pt>
          <cx:pt idx="99">7.5712000000000002</cx:pt>
          <cx:pt idx="100">8.1120000000000001</cx:pt>
          <cx:pt idx="101">15.639140000000001</cx:pt>
          <cx:pt idx="102">5.7683999999999997</cx:pt>
          <cx:pt idx="103">6.4239000000000006</cx:pt>
          <cx:pt idx="104">7.5712000000000002</cx:pt>
          <cx:pt idx="105">34.662300000000002</cx:pt>
          <cx:pt idx="106">9.722999999999999</cx:pt>
          <cx:pt idx="107">15.344340000000001</cx:pt>
          <cx:pt idx="108">9.722999999999999</cx:pt>
          <cx:pt idx="109">13.447799999999999</cx:pt>
          <cx:pt idx="110">53.4712999999999</cx:pt>
          <cx:pt idx="111">17.687000000000001</cx:pt>
          <cx:pt idx="112">5.2561999999999998</cx:pt>
          <cx:pt idx="113">10.278600000000001</cx:pt>
          <cx:pt idx="114">12.967500000000001</cx:pt>
          <cx:pt idx="115">15.6244</cx:pt>
          <cx:pt idx="116">9.4451999999999998</cx:pt>
          <cx:pt idx="117">6.5549999999999997</cx:pt>
          <cx:pt idx="118">5.7683999999999997</cx:pt>
          <cx:pt idx="119">10.5564</cx:pt>
          <cx:pt idx="120">15.344340000000001</cx:pt>
          <cx:pt idx="121">5.7683999999999997</cx:pt>
          <cx:pt idx="122">4.8715999999999999</cx:pt>
          <cx:pt idx="123">2.4358</cx:pt>
          <cx:pt idx="124">12.825000000000001</cx:pt>
          <cx:pt idx="125">5.2561999999999998</cx:pt>
          <cx:pt idx="126">9.8619000000000003</cx:pt>
          <cx:pt idx="127">10.139699999999999</cx:pt>
          <cx:pt idx="128">10.5564</cx:pt>
          <cx:pt idx="129">37.3492999999999</cx:pt>
          <cx:pt idx="130">16.764200000000002</cx:pt>
          <cx:pt idx="131">6.03059999999999</cx:pt>
          <cx:pt idx="132">7.9767999999999892</cx:pt>
          <cx:pt idx="133">18.302199999999999</cx:pt>
          <cx:pt idx="134">45.97457</cx:pt>
          <cx:pt idx="135">14.8873999999999</cx:pt>
          <cx:pt idx="136">3.8460000000000001</cx:pt>
          <cx:pt idx="137">15.182200000000002</cx:pt>
          <cx:pt idx="138">7.9767999999999892</cx:pt>
          <cx:pt idx="139">8.6527999999999992</cx:pt>
          <cx:pt idx="140">3.2050000000000001</cx:pt>
          <cx:pt idx="141">4.4870000000000001</cx:pt>
          <cx:pt idx="142">9.722999999999999</cx:pt>
          <cx:pt idx="143">8.5175999999999998</cx:pt>
          <cx:pt idx="144">13.881599999999999</cx:pt>
          <cx:pt idx="145">5.2561999999999998</cx:pt>
          <cx:pt idx="146">2.6922000000000001</cx:pt>
        </cx:lvl>
      </cx:numDim>
    </cx:data>
    <cx:data id="3">
      <cx:numDim type="val">
        <cx:f>DEATCH_Region_Box_Plots!$G$2:$G$929</cx:f>
        <cx:lvl ptCount="928" formatCode="_(* #,##0_);_(* \(#,##0\);_(* &quot;-&quot;??_);_(@_)">
          <cx:pt idx="0">13.5924</cx:pt>
          <cx:pt idx="1">4.4870000000000001</cx:pt>
          <cx:pt idx="2">15.359080000000001</cx:pt>
          <cx:pt idx="3">5.2561999999999998</cx:pt>
          <cx:pt idx="4">5.5061999999999998</cx:pt>
          <cx:pt idx="5">10.4175</cx:pt>
          <cx:pt idx="6">2.3204199999999999</cx:pt>
          <cx:pt idx="7">8.7880000000000003</cx:pt>
          <cx:pt idx="8">7.8415999999999997</cx:pt>
          <cx:pt idx="9">6.6860999999999908</cx:pt>
          <cx:pt idx="10">39.767599999999995</cx:pt>
          <cx:pt idx="11">3.4742199999999896</cx:pt>
          <cx:pt idx="12">18.7636</cx:pt>
          <cx:pt idx="13">4.9998000000000005</cx:pt>
          <cx:pt idx="14">8.5175999999999998</cx:pt>
          <cx:pt idx="15">17.687000000000001</cx:pt>
          <cx:pt idx="16">8.7880000000000003</cx:pt>
          <cx:pt idx="17">11.894399999999999</cx:pt>
          <cx:pt idx="18">7.8415999999999997</cx:pt>
          <cx:pt idx="19">5.2561999999999998</cx:pt>
          <cx:pt idx="20">7.5712000000000002</cx:pt>
          <cx:pt idx="21">18.3175799999999</cx:pt>
          <cx:pt idx="22">14.74</cx:pt>
          <cx:pt idx="23">14.8873999999999</cx:pt>
          <cx:pt idx="24">10.5564</cx:pt>
          <cx:pt idx="25">5.5061999999999998</cx:pt>
          <cx:pt idx="26">6.03059999999999</cx:pt>
          <cx:pt idx="27">5.1279999999999903</cx:pt>
          <cx:pt idx="28">15.6244</cx:pt>
          <cx:pt idx="29">7.5712000000000002</cx:pt>
          <cx:pt idx="30">4.2305999999999999</cx:pt>
          <cx:pt idx="31">3.8460000000000001</cx:pt>
          <cx:pt idx="32">5.1279999999999903</cx:pt>
          <cx:pt idx="33">5.2690199999999905</cx:pt>
          <cx:pt idx="34">6.2927999999999997</cx:pt>
          <cx:pt idx="35">3.9741999999999997</cx:pt>
          <cx:pt idx="36">8.2472000000000012</cx:pt>
          <cx:pt idx="37">6.03059999999999</cx:pt>
          <cx:pt idx="38">7.5712000000000002</cx:pt>
          <cx:pt idx="39">11.35632</cx:pt>
          <cx:pt idx="40">4.7433999999999994</cx:pt>
          <cx:pt idx="41">12.319199999999899</cx:pt>
          <cx:pt idx="42">5.1279999999999903</cx:pt>
          <cx:pt idx="43">14.8873999999999</cx:pt>
          <cx:pt idx="44">12.177599999999899</cx:pt>
          <cx:pt idx="45">18.6098</cx:pt>
          <cx:pt idx="46">5.2561999999999998</cx:pt>
          <cx:pt idx="47">13.881599999999999</cx:pt>
          <cx:pt idx="48">4.4870000000000001</cx:pt>
          <cx:pt idx="49">9.722999999999999</cx:pt>
          <cx:pt idx="50">3.9741999999999997</cx:pt>
          <cx:pt idx="51">4.2305999999999999</cx:pt>
          <cx:pt idx="52">8.5175999999999998</cx:pt>
          <cx:pt idx="53">11.328000000000001</cx:pt>
          <cx:pt idx="54">4.1023999999999994</cx:pt>
          <cx:pt idx="55">18.948160000000001</cx:pt>
          <cx:pt idx="56">4.8715999999999999</cx:pt>
          <cx:pt idx="57">12.177599999999899</cx:pt>
          <cx:pt idx="58">5.2561999999999998</cx:pt>
          <cx:pt idx="59">12.48912</cx:pt>
          <cx:pt idx="60">12.319199999999899</cx:pt>
          <cx:pt idx="61">8.5175999999999998</cx:pt>
          <cx:pt idx="62">5.2561999999999998</cx:pt>
          <cx:pt idx="63">8.2472000000000012</cx:pt>
          <cx:pt idx="64">10.5564</cx:pt>
          <cx:pt idx="65">4.7433999999999994</cx:pt>
          <cx:pt idx="66">6.2927999999999997</cx:pt>
          <cx:pt idx="67">14.0261999999999</cx:pt>
          <cx:pt idx="68">4.9998000000000005</cx:pt>
          <cx:pt idx="69">4.4870000000000001</cx:pt>
          <cx:pt idx="70">11.894399999999999</cx:pt>
          <cx:pt idx="71">17.687000000000001</cx:pt>
          <cx:pt idx="72">5.7683999999999997</cx:pt>
          <cx:pt idx="73">16.917999999999999</cx:pt>
          <cx:pt idx="74">4.8715999999999999</cx:pt>
          <cx:pt idx="75">4.2305999999999999</cx:pt>
          <cx:pt idx="76">6.5681099999999892</cx:pt>
          <cx:pt idx="77">3.8460000000000001</cx:pt>
          <cx:pt idx="78">17.3794</cx:pt>
          <cx:pt idx="79">4.7433999999999994</cx:pt>
          <cx:pt idx="80">5.89949999999999</cx:pt>
          <cx:pt idx="81">3.4613999999999998</cx:pt>
          <cx:pt idx="82">6.03059999999999</cx:pt>
          <cx:pt idx="83">8.5175999999999998</cx:pt>
          <cx:pt idx="84">8.9232000000000014</cx:pt>
          <cx:pt idx="85">5.2561999999999998</cx:pt>
          <cx:pt idx="86">3.7178000000000004</cx:pt>
          <cx:pt idx="87">7.1655999999999995</cx:pt>
          <cx:pt idx="88">4.8715999999999999</cx:pt>
          <cx:pt idx="89">5.1279999999999903</cx:pt>
          <cx:pt idx="90">11.611199999999899</cx:pt>
          <cx:pt idx="91">6.5549999999999997</cx:pt>
          <cx:pt idx="92">4.7433999999999994</cx:pt>
          <cx:pt idx="93">3.9741999999999997</cx:pt>
          <cx:pt idx="94">3.9741999999999997</cx:pt>
          <cx:pt idx="95">8.9232000000000014</cx:pt>
          <cx:pt idx="96">4.8715999999999999</cx:pt>
          <cx:pt idx="97">4.8715999999999999</cx:pt>
          <cx:pt idx="98">17.3794</cx:pt>
          <cx:pt idx="99">19.532599999999999</cx:pt>
          <cx:pt idx="100">2.8203999999999998</cx:pt>
          <cx:pt idx="101">7.1655999999999995</cx:pt>
          <cx:pt idx="102">3.8460000000000001</cx:pt>
          <cx:pt idx="103">10.278600000000001</cx:pt>
          <cx:pt idx="104">13.736999999999998</cx:pt>
          <cx:pt idx="105">4.7433999999999994</cx:pt>
          <cx:pt idx="106">19.547980000000003</cx:pt>
          <cx:pt idx="107">11.611199999999899</cx:pt>
          <cx:pt idx="108">4.8715999999999999</cx:pt>
          <cx:pt idx="109">40.896139999999995</cx:pt>
          <cx:pt idx="110">9.4451999999999998</cx:pt>
          <cx:pt idx="111">5.89949999999999</cx:pt>
          <cx:pt idx="112">8.9367199999999993</cx:pt>
          <cx:pt idx="113">6.8171999999999997</cx:pt>
          <cx:pt idx="114">6.4239000000000006</cx:pt>
          <cx:pt idx="115">12.036</cx:pt>
          <cx:pt idx="116">15.771799999999999</cx:pt>
          <cx:pt idx="117">3.9741999999999997</cx:pt>
          <cx:pt idx="118">66.422639999999703</cx:pt>
          <cx:pt idx="119">18.7636</cx:pt>
          <cx:pt idx="120">6.2927999999999997</cx:pt>
          <cx:pt idx="121">38.182270000000003</cx:pt>
          <cx:pt idx="122">4.9998000000000005</cx:pt>
          <cx:pt idx="123">11.4696</cx:pt>
          <cx:pt idx="124">6.6860999999999908</cx:pt>
          <cx:pt idx="125">10.44528</cx:pt>
          <cx:pt idx="126">9.4451999999999998</cx:pt>
          <cx:pt idx="127">6.1616999999999997</cx:pt>
          <cx:pt idx="128">11.328000000000001</cx:pt>
          <cx:pt idx="129">4.4998199999999899</cx:pt>
          <cx:pt idx="130">18.302199999999999</cx:pt>
          <cx:pt idx="131">8.5175999999999998</cx:pt>
          <cx:pt idx="132">39.821339999999999</cx:pt>
          <cx:pt idx="133">2.0511999999999997</cx:pt>
          <cx:pt idx="134">4.1023999999999994</cx:pt>
          <cx:pt idx="135">7.1655999999999995</cx:pt>
          <cx:pt idx="136">9.722999999999999</cx:pt>
          <cx:pt idx="137">12.177599999999899</cx:pt>
          <cx:pt idx="138">4.9998000000000005</cx:pt>
          <cx:pt idx="139">5.2690199999999905</cx:pt>
          <cx:pt idx="140">44.066799999999702</cx:pt>
          <cx:pt idx="141">4.4870000000000001</cx:pt>
          <cx:pt idx="142">10.973099999999999</cx:pt>
          <cx:pt idx="143">12.036</cx:pt>
          <cx:pt idx="144">10.834199999999999</cx:pt>
          <cx:pt idx="145">6.1616999999999997</cx:pt>
          <cx:pt idx="146">11.328000000000001</cx:pt>
          <cx:pt idx="147">16.917999999999999</cx:pt>
          <cx:pt idx="148">5.9126099999999893</cx:pt>
          <cx:pt idx="149">2.6922000000000001</cx:pt>
          <cx:pt idx="150">8.3823999999999987</cx:pt>
          <cx:pt idx="151">4.6151999999999997</cx:pt>
          <cx:pt idx="152">17.3794</cx:pt>
          <cx:pt idx="153">8.3959200000000003</cx:pt>
          <cx:pt idx="154">3.9741999999999997</cx:pt>
          <cx:pt idx="155">3.8460000000000001</cx:pt>
          <cx:pt idx="156">8.5175999999999998</cx:pt>
          <cx:pt idx="157">14.0261999999999</cx:pt>
          <cx:pt idx="158">42.77704</cx:pt>
          <cx:pt idx="159">13.751459999999899</cx:pt>
          <cx:pt idx="160">3.94611</cx:pt>
          <cx:pt idx="161">12.602399999999999</cx:pt>
          <cx:pt idx="162">6.03059999999999</cx:pt>
          <cx:pt idx="163">5.63729999999999</cx:pt>
          <cx:pt idx="164">2.4358</cx:pt>
          <cx:pt idx="165">2.9485999999999999</cx:pt>
          <cx:pt idx="166">7.1655999999999995</cx:pt>
          <cx:pt idx="167">7.1655999999999995</cx:pt>
          <cx:pt idx="168">10.5564</cx:pt>
          <cx:pt idx="169">5.5061999999999998</cx:pt>
          <cx:pt idx="170">4.2305999999999999</cx:pt>
          <cx:pt idx="171">15.182200000000002</cx:pt>
          <cx:pt idx="172">6.3059099999999892</cx:pt>
        </cx:lvl>
      </cx:numDim>
    </cx:data>
    <cx:data id="4">
      <cx:numDim type="val">
        <cx:f>DEATCH_Region_Box_Plots!$H$2:$H$929</cx:f>
        <cx:lvl ptCount="928" formatCode="_(* #,##0_);_(* \(#,##0\);_(* &quot;-&quot;??_);_(@_)">
          <cx:pt idx="0">15.6244</cx:pt>
          <cx:pt idx="1">4.4870000000000001</cx:pt>
          <cx:pt idx="2">10.6952999999999</cx:pt>
          <cx:pt idx="3">11.328000000000001</cx:pt>
          <cx:pt idx="4">12.602399999999999</cx:pt>
          <cx:pt idx="5">6.2927999999999997</cx:pt>
          <cx:pt idx="6">5.6504099999999999</cx:pt>
          <cx:pt idx="7">35.495269999999898</cx:pt>
          <cx:pt idx="8">11.328000000000001</cx:pt>
          <cx:pt idx="9">7.8415999999999997</cx:pt>
          <cx:pt idx="10">4.7433999999999994</cx:pt>
          <cx:pt idx="11">9.8619000000000003</cx:pt>
          <cx:pt idx="12">12.319199999999899</cx:pt>
          <cx:pt idx="13">5.63729999999999</cx:pt>
          <cx:pt idx="14">18.302199999999999</cx:pt>
          <cx:pt idx="15">17.687000000000001</cx:pt>
          <cx:pt idx="16">17.533199999999997</cx:pt>
          <cx:pt idx="17">5.2561999999999998</cx:pt>
          <cx:pt idx="18">9.8619000000000003</cx:pt>
          <cx:pt idx="19">35.226570000000002</cx:pt>
          <cx:pt idx="20">8.7880000000000003</cx:pt>
          <cx:pt idx="21">7.1655999999999995</cx:pt>
          <cx:pt idx="22">4.4870000000000001</cx:pt>
          <cx:pt idx="23">14.3154</cx:pt>
          <cx:pt idx="24">5.7815099999999902</cx:pt>
          <cx:pt idx="25">3.9741999999999997</cx:pt>
          <cx:pt idx="26">16.764200000000002</cx:pt>
          <cx:pt idx="27">11.328000000000001</cx:pt>
          <cx:pt idx="28">7.7063999999999995</cx:pt>
          <cx:pt idx="29">6.5549999999999997</cx:pt>
          <cx:pt idx="30">11.752799999999999</cx:pt>
          <cx:pt idx="31">7.1655999999999995</cx:pt>
          <cx:pt idx="32">7.463040000000019</cx:pt>
          <cx:pt idx="33">3.4613999999999998</cx:pt>
          <cx:pt idx="34">5.2561999999999998</cx:pt>
          <cx:pt idx="35">17.0718</cx:pt>
          <cx:pt idx="36">12.474959999999999</cx:pt>
          <cx:pt idx="37">17.2256</cx:pt>
          <cx:pt idx="38">6.2927999999999997</cx:pt>
          <cx:pt idx="39">5.89949999999999</cx:pt>
          <cx:pt idx="40">6.03059999999999</cx:pt>
          <cx:pt idx="41">3.4742199999999896</cx:pt>
          <cx:pt idx="42">6.03059999999999</cx:pt>
          <cx:pt idx="43">3.9741999999999997</cx:pt>
          <cx:pt idx="44">12.319199999999899</cx:pt>
          <cx:pt idx="45">6.4239000000000006</cx:pt>
          <cx:pt idx="46">17.533199999999997</cx:pt>
          <cx:pt idx="47">41.917200000000001</cx:pt>
          <cx:pt idx="48">2.3204199999999999</cx:pt>
          <cx:pt idx="49">6.2927999999999997</cx:pt>
          <cx:pt idx="50">13.5924</cx:pt>
          <cx:pt idx="51">5.1279999999999903</cx:pt>
          <cx:pt idx="52">3.9741999999999997</cx:pt>
          <cx:pt idx="53">17.687000000000001</cx:pt>
          <cx:pt idx="54">6.1616999999999997</cx:pt>
          <cx:pt idx="55">7.4359999999999999</cx:pt>
          <cx:pt idx="56">4.4870000000000001</cx:pt>
          <cx:pt idx="57">6.8171999999999997</cx:pt>
          <cx:pt idx="58">8.5175999999999998</cx:pt>
          <cx:pt idx="59">8.9232000000000014</cx:pt>
          <cx:pt idx="60">10.6952999999999</cx:pt>
          <cx:pt idx="61">7.7063999999999995</cx:pt>
          <cx:pt idx="62">8.5175999999999998</cx:pt>
          <cx:pt idx="63">4.4870000000000001</cx:pt>
          <cx:pt idx="64">5.1408199999999997</cx:pt>
          <cx:pt idx="65">10.5564</cx:pt>
          <cx:pt idx="66">5.0126199999999894</cx:pt>
          <cx:pt idx="67">10.6952999999999</cx:pt>
          <cx:pt idx="68">4.9998000000000005</cx:pt>
          <cx:pt idx="69">8.9232000000000014</cx:pt>
          <cx:pt idx="70">18.7636</cx:pt>
          <cx:pt idx="71">6.8171999999999997</cx:pt>
          <cx:pt idx="72">5.1408199999999997</cx:pt>
          <cx:pt idx="73">11.4696</cx:pt>
          <cx:pt idx="74">5.63729999999999</cx:pt>
          <cx:pt idx="75">11.4696</cx:pt>
          <cx:pt idx="76">10.834199999999999</cx:pt>
          <cx:pt idx="77">5.89949999999999</cx:pt>
          <cx:pt idx="78">6.2927999999999997</cx:pt>
          <cx:pt idx="79">6.8171999999999997</cx:pt>
          <cx:pt idx="80">5.7683999999999997</cx:pt>
          <cx:pt idx="81">10.57029</cx:pt>
          <cx:pt idx="82">5.63729999999999</cx:pt>
          <cx:pt idx="83">4.6151999999999997</cx:pt>
          <cx:pt idx="84">15.6244</cx:pt>
          <cx:pt idx="85">10.6952999999999</cx:pt>
          <cx:pt idx="86">5.7683999999999997</cx:pt>
          <cx:pt idx="87">10.5564</cx:pt>
          <cx:pt idx="88">11.894399999999999</cx:pt>
          <cx:pt idx="89">3.4613999999999998</cx:pt>
          <cx:pt idx="90">12.333360000000001</cx:pt>
          <cx:pt idx="91">17.3794</cx:pt>
          <cx:pt idx="92">17.533199999999997</cx:pt>
          <cx:pt idx="93">10.973099999999999</cx:pt>
          <cx:pt idx="94">5.1408199999999997</cx:pt>
          <cx:pt idx="95">5.63729999999999</cx:pt>
          <cx:pt idx="96">10.0008</cx:pt>
          <cx:pt idx="97">4.9998000000000005</cx:pt>
          <cx:pt idx="98">10.6952999999999</cx:pt>
          <cx:pt idx="99">3.0768</cx:pt>
          <cx:pt idx="100">6.8171999999999997</cx:pt>
          <cx:pt idx="101">6.4239000000000006</cx:pt>
          <cx:pt idx="102">5.2561999999999998</cx:pt>
          <cx:pt idx="103">4.3588000000000005</cx:pt>
          <cx:pt idx="104">11.4696</cx:pt>
          <cx:pt idx="105">15.771799999999999</cx:pt>
          <cx:pt idx="106">17.3794</cx:pt>
          <cx:pt idx="107">8.9232000000000014</cx:pt>
          <cx:pt idx="108">3.8460000000000001</cx:pt>
          <cx:pt idx="109">3.9741999999999997</cx:pt>
          <cx:pt idx="110">5.0126199999999894</cx:pt>
          <cx:pt idx="111">4.6151999999999997</cx:pt>
          <cx:pt idx="112">7.5712000000000002</cx:pt>
          <cx:pt idx="113">17.0718</cx:pt>
          <cx:pt idx="114">5.63729999999999</cx:pt>
          <cx:pt idx="115">5.2561999999999998</cx:pt>
          <cx:pt idx="116">6.2927999999999997</cx:pt>
          <cx:pt idx="117">8.3823999999999987</cx:pt>
          <cx:pt idx="118">7.5712000000000002</cx:pt>
          <cx:pt idx="119">42.992000000000004</cx:pt>
          <cx:pt idx="120">5.0126199999999894</cx:pt>
          <cx:pt idx="121">8.9232000000000014</cx:pt>
          <cx:pt idx="122">15.034799999999901</cx:pt>
          <cx:pt idx="123">10.834199999999999</cx:pt>
          <cx:pt idx="124">5.5061999999999998</cx:pt>
          <cx:pt idx="125">10.834199999999999</cx:pt>
          <cx:pt idx="126">13.881599999999999</cx:pt>
          <cx:pt idx="127">7.7063999999999995</cx:pt>
          <cx:pt idx="128">10.5564</cx:pt>
          <cx:pt idx="129">13.109999999999999</cx:pt>
          <cx:pt idx="130">8.9232000000000014</cx:pt>
          <cx:pt idx="131">10.6952999999999</cx:pt>
          <cx:pt idx="132">9.722999999999999</cx:pt>
          <cx:pt idx="133">6.4239000000000006</cx:pt>
          <cx:pt idx="134">5.7683999999999997</cx:pt>
          <cx:pt idx="135">8.9232000000000014</cx:pt>
          <cx:pt idx="136">38.692799999999998</cx:pt>
          <cx:pt idx="137">15.6244</cx:pt>
          <cx:pt idx="138">12.319199999999899</cx:pt>
          <cx:pt idx="139">10.6952999999999</cx:pt>
          <cx:pt idx="140">6.5681099999999892</cx:pt>
          <cx:pt idx="141">7.3008000000000006</cx:pt>
          <cx:pt idx="142">4.9998000000000005</cx:pt>
          <cx:pt idx="143">14.8873999999999</cx:pt>
          <cx:pt idx="144">11.4696</cx:pt>
          <cx:pt idx="145">2.4358</cx:pt>
          <cx:pt idx="146">7.9767999999999892</cx:pt>
          <cx:pt idx="147">4.2434199999999995</cx:pt>
          <cx:pt idx="148">11.894399999999999</cx:pt>
          <cx:pt idx="149">8.6527999999999992</cx:pt>
          <cx:pt idx="150">6.4239000000000006</cx:pt>
          <cx:pt idx="151">8.2472000000000012</cx:pt>
          <cx:pt idx="152">5.7683999999999997</cx:pt>
          <cx:pt idx="153">6.4239000000000006</cx:pt>
          <cx:pt idx="154">17.0718</cx:pt>
          <cx:pt idx="155">15.771799999999999</cx:pt>
          <cx:pt idx="156">16.917999999999999</cx:pt>
          <cx:pt idx="157">6.3059099999999892</cx:pt>
          <cx:pt idx="158">11.894399999999999</cx:pt>
          <cx:pt idx="159">9.0583999999999989</cx:pt>
          <cx:pt idx="160">13.109999999999999</cx:pt>
          <cx:pt idx="161">4.2305999999999999</cx:pt>
          <cx:pt idx="162">10.4175</cx:pt>
          <cx:pt idx="163">11.328000000000001</cx:pt>
          <cx:pt idx="164">7.3143200000000004</cx:pt>
          <cx:pt idx="165">7.1655999999999995</cx:pt>
          <cx:pt idx="166">6.2927999999999997</cx:pt>
          <cx:pt idx="167">5.1279999999999903</cx:pt>
          <cx:pt idx="168">6.5549999999999997</cx:pt>
          <cx:pt idx="169">12.036</cx:pt>
          <cx:pt idx="170">6.5549999999999997</cx:pt>
          <cx:pt idx="171">5.7683999999999997</cx:pt>
          <cx:pt idx="172">10.973099999999999</cx:pt>
          <cx:pt idx="173">8.5175999999999998</cx:pt>
          <cx:pt idx="174">10.0008</cx:pt>
          <cx:pt idx="175">19.686400000000003</cx:pt>
          <cx:pt idx="176">10.278600000000001</cx:pt>
          <cx:pt idx="177">8.2472000000000012</cx:pt>
          <cx:pt idx="178">18.009979999999899</cx:pt>
          <cx:pt idx="179">10.0008</cx:pt>
          <cx:pt idx="180">8.3823999999999987</cx:pt>
          <cx:pt idx="181">4.3588000000000005</cx:pt>
          <cx:pt idx="182">9.722999999999999</cx:pt>
          <cx:pt idx="183">9.5840999999999994</cx:pt>
          <cx:pt idx="184">5.89949999999999</cx:pt>
          <cx:pt idx="185">4.3588000000000005</cx:pt>
          <cx:pt idx="186">8.5175999999999998</cx:pt>
          <cx:pt idx="187">17.840799999999902</cx:pt>
          <cx:pt idx="188">9.5840999999999994</cx:pt>
          <cx:pt idx="189">6.5549999999999997</cx:pt>
          <cx:pt idx="190">12.177599999999899</cx:pt>
          <cx:pt idx="191">9.0583999999999989</cx:pt>
          <cx:pt idx="192">6.6860999999999908</cx:pt>
          <cx:pt idx="193">10.153589999999999</cx:pt>
          <cx:pt idx="194">3.4613999999999998</cx:pt>
          <cx:pt idx="195">8.3823999999999987</cx:pt>
          <cx:pt idx="196">11.4696</cx:pt>
          <cx:pt idx="197">5.63729999999999</cx:pt>
          <cx:pt idx="198">15.6244</cx:pt>
          <cx:pt idx="199">3.8460000000000001</cx:pt>
          <cx:pt idx="200">11.781120000000001</cx:pt>
          <cx:pt idx="201">3.5895999999999999</cx:pt>
          <cx:pt idx="202">5.1279999999999903</cx:pt>
          <cx:pt idx="203">6.8171999999999997</cx:pt>
          <cx:pt idx="204">11.4696</cx:pt>
          <cx:pt idx="205">8.3823999999999987</cx:pt>
          <cx:pt idx="206">6.4239000000000006</cx:pt>
          <cx:pt idx="207">5.63729999999999</cx:pt>
          <cx:pt idx="208">5.5061999999999998</cx:pt>
          <cx:pt idx="209">10.973099999999999</cx:pt>
          <cx:pt idx="210">11.4696</cx:pt>
          <cx:pt idx="211">11.611199999999899</cx:pt>
          <cx:pt idx="212">17.840799999999902</cx:pt>
          <cx:pt idx="213">4.3588000000000005</cx:pt>
          <cx:pt idx="214">17.0718</cx:pt>
          <cx:pt idx="215">10.6952999999999</cx:pt>
          <cx:pt idx="216">10.973099999999999</cx:pt>
          <cx:pt idx="217">15.771799999999999</cx:pt>
          <cx:pt idx="218">15.771799999999999</cx:pt>
          <cx:pt idx="219">10.973099999999999</cx:pt>
          <cx:pt idx="220">12.319199999999899</cx:pt>
          <cx:pt idx="221">10.834199999999999</cx:pt>
          <cx:pt idx="222">6.8171999999999997</cx:pt>
          <cx:pt idx="223">10.6952999999999</cx:pt>
          <cx:pt idx="224">9.8619000000000003</cx:pt>
          <cx:pt idx="225">3.9741999999999997</cx:pt>
          <cx:pt idx="226">10.834199999999999</cx:pt>
          <cx:pt idx="227">13.5924</cx:pt>
          <cx:pt idx="228">12.319199999999899</cx:pt>
          <cx:pt idx="229">10.834199999999999</cx:pt>
          <cx:pt idx="230">12.319199999999899</cx:pt>
          <cx:pt idx="231">10.292490000000001</cx:pt>
          <cx:pt idx="232">10.6952999999999</cx:pt>
          <cx:pt idx="233">6.03059999999999</cx:pt>
          <cx:pt idx="234">6.03059999999999</cx:pt>
          <cx:pt idx="235">10.973099999999999</cx:pt>
          <cx:pt idx="236">10.6952999999999</cx:pt>
          <cx:pt idx="237">15.771799999999999</cx:pt>
          <cx:pt idx="238">5.5061999999999998</cx:pt>
          <cx:pt idx="239">9.8619000000000003</cx:pt>
          <cx:pt idx="240">5.5061999999999998</cx:pt>
          <cx:pt idx="241">19.686400000000003</cx:pt>
          <cx:pt idx="242">4.9998000000000005</cx:pt>
          <cx:pt idx="243">8.1255199999999999</cx:pt>
          <cx:pt idx="244">6.8171999999999997</cx:pt>
          <cx:pt idx="245">15.771799999999999</cx:pt>
          <cx:pt idx="246">17.994599999999998</cx:pt>
          <cx:pt idx="247">10.6952999999999</cx:pt>
          <cx:pt idx="248">8.5175999999999998</cx:pt>
          <cx:pt idx="249">17.2256</cx:pt>
          <cx:pt idx="250">5.0126199999999894</cx:pt>
          <cx:pt idx="251">10.834199999999999</cx:pt>
          <cx:pt idx="252">15.491739999999901</cx:pt>
          <cx:pt idx="253">8.9232000000000014</cx:pt>
          <cx:pt idx="254">10.834199999999999</cx:pt>
          <cx:pt idx="255">10.6952999999999</cx:pt>
          <cx:pt idx="256">5.5061999999999998</cx:pt>
          <cx:pt idx="257">7.3008000000000006</cx:pt>
          <cx:pt idx="258">10.6952999999999</cx:pt>
          <cx:pt idx="259">10.6952999999999</cx:pt>
          <cx:pt idx="260">8.7880000000000003</cx:pt>
          <cx:pt idx="261">6.5549999999999997</cx:pt>
          <cx:pt idx="262">8.3823999999999987</cx:pt>
          <cx:pt idx="263">10.6952999999999</cx:pt>
          <cx:pt idx="264">13.109999999999999</cx:pt>
          <cx:pt idx="265">5.63729999999999</cx:pt>
          <cx:pt idx="266">15.771799999999999</cx:pt>
          <cx:pt idx="267">10.6952999999999</cx:pt>
          <cx:pt idx="268">17.533199999999997</cx:pt>
          <cx:pt idx="269">3.4613999999999998</cx:pt>
          <cx:pt idx="270">10.6952999999999</cx:pt>
          <cx:pt idx="271">8.9232000000000014</cx:pt>
          <cx:pt idx="272">10.5564</cx:pt>
          <cx:pt idx="273">10.6952999999999</cx:pt>
          <cx:pt idx="274">11.894399999999999</cx:pt>
          <cx:pt idx="275">13.109999999999999</cx:pt>
          <cx:pt idx="276">8.3823999999999987</cx:pt>
          <cx:pt idx="277">13.109999999999999</cx:pt>
          <cx:pt idx="278">10.848089999999901</cx:pt>
          <cx:pt idx="279">8.9232000000000014</cx:pt>
          <cx:pt idx="280">10.6952999999999</cx:pt>
          <cx:pt idx="281">11.4696</cx:pt>
          <cx:pt idx="282">11.894399999999999</cx:pt>
          <cx:pt idx="283">17.533199999999997</cx:pt>
          <cx:pt idx="284">5.89949999999999</cx:pt>
          <cx:pt idx="285">10.6952999999999</cx:pt>
          <cx:pt idx="286">8.3823999999999987</cx:pt>
          <cx:pt idx="287">5.63729999999999</cx:pt>
          <cx:pt idx="288">10.6952999999999</cx:pt>
          <cx:pt idx="289">12.319199999999899</cx:pt>
          <cx:pt idx="290">12.319199999999899</cx:pt>
          <cx:pt idx="291">10.0008</cx:pt>
          <cx:pt idx="292">3.0768</cx:pt>
          <cx:pt idx="293">15.771799999999999</cx:pt>
          <cx:pt idx="294">10.6952999999999</cx:pt>
          <cx:pt idx="295">11.894399999999999</cx:pt>
          <cx:pt idx="296">10.973099999999999</cx:pt>
          <cx:pt idx="297">5.7683999999999997</cx:pt>
          <cx:pt idx="298">10.834199999999999</cx:pt>
          <cx:pt idx="299">8.5311199999999907</cx:pt>
          <cx:pt idx="300">10.0008</cx:pt>
          <cx:pt idx="301">3.9741999999999997</cx:pt>
          <cx:pt idx="302">7.5712000000000002</cx:pt>
          <cx:pt idx="303">12.319199999999899</cx:pt>
          <cx:pt idx="304">10.139699999999999</cx:pt>
          <cx:pt idx="305">11.4696</cx:pt>
          <cx:pt idx="306">5.2561999999999998</cx:pt>
          <cx:pt idx="307">10.6952999999999</cx:pt>
          <cx:pt idx="308">6.03059999999999</cx:pt>
          <cx:pt idx="309">15.6244</cx:pt>
          <cx:pt idx="310">3.4613999999999998</cx:pt>
          <cx:pt idx="311">10.834199999999999</cx:pt>
          <cx:pt idx="312">13.881599999999999</cx:pt>
          <cx:pt idx="313">4.9998000000000005</cx:pt>
          <cx:pt idx="314">9.5840999999999994</cx:pt>
          <cx:pt idx="315">4.8844199999999995</cx:pt>
          <cx:pt idx="316">9.5840999999999994</cx:pt>
          <cx:pt idx="317">10.6952999999999</cx:pt>
          <cx:pt idx="318">10.6952999999999</cx:pt>
          <cx:pt idx="319">8.9232000000000014</cx:pt>
          <cx:pt idx="320">6.0437099999999999</cx:pt>
          <cx:pt idx="321">11.752799999999999</cx:pt>
          <cx:pt idx="322">7.9903199999999996</cx:pt>
          <cx:pt idx="323">10.0008</cx:pt>
          <cx:pt idx="324">8.5175999999999998</cx:pt>
          <cx:pt idx="325">4.6151999999999997</cx:pt>
          <cx:pt idx="326">6.03059999999999</cx:pt>
          <cx:pt idx="327">10.0008</cx:pt>
          <cx:pt idx="328">5.63729999999999</cx:pt>
          <cx:pt idx="329">10.0008</cx:pt>
          <cx:pt idx="330">13.5924</cx:pt>
          <cx:pt idx="331">9.8757900000000003</cx:pt>
          <cx:pt idx="332">19.071199999999997</cx:pt>
          <cx:pt idx="333">14.0261999999999</cx:pt>
          <cx:pt idx="334">6.4239000000000006</cx:pt>
          <cx:pt idx="335">10.6952999999999</cx:pt>
          <cx:pt idx="336">6.4239000000000006</cx:pt>
          <cx:pt idx="337">13.881599999999999</cx:pt>
          <cx:pt idx="338">6.03059999999999</cx:pt>
          <cx:pt idx="339">4.7433999999999994</cx:pt>
          <cx:pt idx="340">10.278600000000001</cx:pt>
          <cx:pt idx="341">3.4613999999999998</cx:pt>
          <cx:pt idx="342">4.7433999999999994</cx:pt>
          <cx:pt idx="343">17.0718</cx:pt>
          <cx:pt idx="344">9.5840999999999994</cx:pt>
          <cx:pt idx="345">3.9741999999999997</cx:pt>
          <cx:pt idx="346">7.7063999999999995</cx:pt>
          <cx:pt idx="347">7.1655999999999995</cx:pt>
          <cx:pt idx="348">14.3154</cx:pt>
          <cx:pt idx="349">10.6952999999999</cx:pt>
          <cx:pt idx="350">10.6952999999999</cx:pt>
          <cx:pt idx="351">11.4696</cx:pt>
          <cx:pt idx="352">11.4696</cx:pt>
          <cx:pt idx="353">6.4239000000000006</cx:pt>
          <cx:pt idx="354">6.5549999999999997</cx:pt>
          <cx:pt idx="355">3.8460000000000001</cx:pt>
          <cx:pt idx="356">10.6952999999999</cx:pt>
          <cx:pt idx="357">15.9192</cx:pt>
          <cx:pt idx="358">7.7063999999999995</cx:pt>
          <cx:pt idx="359">5.2561999999999998</cx:pt>
          <cx:pt idx="360">10.6952999999999</cx:pt>
          <cx:pt idx="361">10.0008</cx:pt>
          <cx:pt idx="362">15.771799999999999</cx:pt>
          <cx:pt idx="363">5.63729999999999</cx:pt>
          <cx:pt idx="364">5.5061999999999998</cx:pt>
          <cx:pt idx="365">9.8619000000000003</cx:pt>
          <cx:pt idx="366">13.5924</cx:pt>
          <cx:pt idx="367">8.9232000000000014</cx:pt>
          <cx:pt idx="368">6.1616999999999997</cx:pt>
          <cx:pt idx="369">8.3823999999999987</cx:pt>
          <cx:pt idx="370">5.5061999999999998</cx:pt>
          <cx:pt idx="371">10.6952999999999</cx:pt>
          <cx:pt idx="372">17.994599999999998</cx:pt>
          <cx:pt idx="373">5.5061999999999998</cx:pt>
          <cx:pt idx="374">3.5895999999999999</cx:pt>
          <cx:pt idx="375">16.764200000000002</cx:pt>
          <cx:pt idx="376">3.5895999999999999</cx:pt>
          <cx:pt idx="377">5.63729999999999</cx:pt>
          <cx:pt idx="378">5.63729999999999</cx:pt>
          <cx:pt idx="379">10.139699999999999</cx:pt>
          <cx:pt idx="380">10.5564</cx:pt>
          <cx:pt idx="381">5.89949999999999</cx:pt>
          <cx:pt idx="382">8.9367199999999993</cx:pt>
          <cx:pt idx="383">10.834199999999999</cx:pt>
          <cx:pt idx="384">17.994599999999998</cx:pt>
          <cx:pt idx="385">4.6280199999999905</cx:pt>
          <cx:pt idx="386">4.1152199999999999</cx:pt>
          <cx:pt idx="387">16.764200000000002</cx:pt>
          <cx:pt idx="388">6.03059999999999</cx:pt>
          <cx:pt idx="389">10.848089999999901</cx:pt>
          <cx:pt idx="390">7.1655999999999995</cx:pt>
          <cx:pt idx="391">5.2690199999999905</cx:pt>
          <cx:pt idx="392">7.7063999999999995</cx:pt>
          <cx:pt idx="393">15.9192</cx:pt>
          <cx:pt idx="394">10.57029</cx:pt>
          <cx:pt idx="395">10.986989999999899</cx:pt>
          <cx:pt idx="396">10.973099999999999</cx:pt>
          <cx:pt idx="397">7.1655999999999995</cx:pt>
          <cx:pt idx="398">12.602399999999999</cx:pt>
          <cx:pt idx="399">10.139699999999999</cx:pt>
          <cx:pt idx="400">16.764200000000002</cx:pt>
          <cx:pt idx="401">8.3823999999999987</cx:pt>
          <cx:pt idx="402">6.4239000000000006</cx:pt>
          <cx:pt idx="403">4.8972400000000205</cx:pt>
          <cx:pt idx="404">8.7880000000000003</cx:pt>
          <cx:pt idx="405">17.3794</cx:pt>
          <cx:pt idx="406">15.9192</cx:pt>
          <cx:pt idx="407">11.752799999999999</cx:pt>
          <cx:pt idx="408">15.50648</cx:pt>
          <cx:pt idx="409">6.4239000000000006</cx:pt>
          <cx:pt idx="410">11.4696</cx:pt>
          <cx:pt idx="411">10.6952999999999</cx:pt>
          <cx:pt idx="412">6.6860999999999908</cx:pt>
          <cx:pt idx="413">5.5061999999999998</cx:pt>
          <cx:pt idx="414">11.4696</cx:pt>
          <cx:pt idx="415">3.9741999999999997</cx:pt>
          <cx:pt idx="416">9.5840999999999994</cx:pt>
          <cx:pt idx="417">8.3823999999999987</cx:pt>
          <cx:pt idx="418">8.6527999999999992</cx:pt>
          <cx:pt idx="419">8.3823999999999987</cx:pt>
          <cx:pt idx="420">9.0583999999999989</cx:pt>
          <cx:pt idx="421">10.0008</cx:pt>
          <cx:pt idx="422">11.4696</cx:pt>
          <cx:pt idx="423">2.4358</cx:pt>
          <cx:pt idx="424">6.4239000000000006</cx:pt>
          <cx:pt idx="425">4.7433999999999994</cx:pt>
          <cx:pt idx="426">6.5549999999999997</cx:pt>
          <cx:pt idx="427">11.894399999999999</cx:pt>
          <cx:pt idx="428">5.89949999999999</cx:pt>
          <cx:pt idx="429">17.840799999999902</cx:pt>
          <cx:pt idx="430">8.6527999999999992</cx:pt>
          <cx:pt idx="431">18.6098</cx:pt>
          <cx:pt idx="432">11.4696</cx:pt>
          <cx:pt idx="433">3.9741999999999997</cx:pt>
          <cx:pt idx="434">9.4451999999999998</cx:pt>
          <cx:pt idx="435">11.894399999999999</cx:pt>
          <cx:pt idx="436">13.5924</cx:pt>
          <cx:pt idx="437">10.973099999999999</cx:pt>
          <cx:pt idx="438">6.2927999999999997</cx:pt>
          <cx:pt idx="439">4.8715999999999999</cx:pt>
          <cx:pt idx="440">5.63729999999999</cx:pt>
          <cx:pt idx="441">8.2472000000000012</cx:pt>
          <cx:pt idx="442">10.6952999999999</cx:pt>
          <cx:pt idx="443">11.752799999999999</cx:pt>
          <cx:pt idx="444">11.752799999999999</cx:pt>
          <cx:pt idx="445">5.89949999999999</cx:pt>
          <cx:pt idx="446">17.3794</cx:pt>
          <cx:pt idx="447">5.5061999999999998</cx:pt>
          <cx:pt idx="448">18.625179999999901</cx:pt>
          <cx:pt idx="449">8.9232000000000014</cx:pt>
          <cx:pt idx="450">9.5840999999999994</cx:pt>
          <cx:pt idx="451">5.2561999999999998</cx:pt>
          <cx:pt idx="452">6.5549999999999997</cx:pt>
          <cx:pt idx="453">18.148399999999899</cx:pt>
          <cx:pt idx="454">13.447799999999999</cx:pt>
          <cx:pt idx="455">5.89949999999999</cx:pt>
          <cx:pt idx="456">12.036</cx:pt>
          <cx:pt idx="457">12.319199999999899</cx:pt>
          <cx:pt idx="458">4.9998000000000005</cx:pt>
          <cx:pt idx="459">3.2050000000000001</cx:pt>
          <cx:pt idx="460">17.2256</cx:pt>
          <cx:pt idx="461">5.2561999999999998</cx:pt>
          <cx:pt idx="462">17.0718</cx:pt>
          <cx:pt idx="463">8.3823999999999987</cx:pt>
          <cx:pt idx="464">5.7683999999999997</cx:pt>
          <cx:pt idx="465">2.9614199999999999</cx:pt>
          <cx:pt idx="466">14.0261999999999</cx:pt>
          <cx:pt idx="467">3.2178199999999997</cx:pt>
          <cx:pt idx="468">17.533199999999997</cx:pt>
          <cx:pt idx="469">10.6952999999999</cx:pt>
          <cx:pt idx="470">12.177599999999899</cx:pt>
          <cx:pt idx="471">15.182200000000002</cx:pt>
          <cx:pt idx="472">8.9232000000000014</cx:pt>
          <cx:pt idx="473">8.9232000000000014</cx:pt>
          <cx:pt idx="474">10.6952999999999</cx:pt>
          <cx:pt idx="475">17.533199999999997</cx:pt>
          <cx:pt idx="476">10.973099999999999</cx:pt>
          <cx:pt idx="477">9.4451999999999998</cx:pt>
          <cx:pt idx="478">9.4451999999999998</cx:pt>
          <cx:pt idx="479">5.7683999999999997</cx:pt>
          <cx:pt idx="480">12.319199999999899</cx:pt>
          <cx:pt idx="481">6.2927999999999997</cx:pt>
          <cx:pt idx="482">5.89949999999999</cx:pt>
          <cx:pt idx="483">12.19176</cx:pt>
          <cx:pt idx="484">11.4696</cx:pt>
          <cx:pt idx="485">11.894399999999999</cx:pt>
          <cx:pt idx="486">19.225000000000001</cx:pt>
          <cx:pt idx="487">5.5061999999999998</cx:pt>
          <cx:pt idx="488">15.771799999999999</cx:pt>
          <cx:pt idx="489">10.6952999999999</cx:pt>
          <cx:pt idx="490">14.3154</cx:pt>
          <cx:pt idx="491">8.1120000000000001</cx:pt>
          <cx:pt idx="492">8.80152</cx:pt>
          <cx:pt idx="493">8.6527999999999992</cx:pt>
          <cx:pt idx="494">6.8171999999999997</cx:pt>
          <cx:pt idx="495">14.916879999999999</cx:pt>
          <cx:pt idx="496">16.917999999999999</cx:pt>
          <cx:pt idx="497">11.4696</cx:pt>
          <cx:pt idx="498">6.03059999999999</cx:pt>
          <cx:pt idx="499">7.7063999999999995</cx:pt>
          <cx:pt idx="500">11.752799999999999</cx:pt>
          <cx:pt idx="501">4.9998000000000005</cx:pt>
          <cx:pt idx="502">16.764200000000002</cx:pt>
          <cx:pt idx="503">13.881599999999999</cx:pt>
          <cx:pt idx="504">6.4239000000000006</cx:pt>
          <cx:pt idx="505">5.7683999999999997</cx:pt>
          <cx:pt idx="506">10.6952999999999</cx:pt>
          <cx:pt idx="507">11.894399999999999</cx:pt>
          <cx:pt idx="508">4.6280199999999905</cx:pt>
          <cx:pt idx="509">16.917999999999999</cx:pt>
          <cx:pt idx="510">10.973099999999999</cx:pt>
          <cx:pt idx="511">15.771799999999999</cx:pt>
          <cx:pt idx="512">8.9232000000000014</cx:pt>
          <cx:pt idx="513">10.6952999999999</cx:pt>
          <cx:pt idx="514">7.7063999999999995</cx:pt>
          <cx:pt idx="515">6.8171999999999997</cx:pt>
          <cx:pt idx="516">9.0583999999999989</cx:pt>
          <cx:pt idx="517">4.8715999999999999</cx:pt>
          <cx:pt idx="518">5.89949999999999</cx:pt>
          <cx:pt idx="519">10.6952999999999</cx:pt>
          <cx:pt idx="520">37.080599999999905</cx:pt>
          <cx:pt idx="521">5.63729999999999</cx:pt>
          <cx:pt idx="522">10.6952999999999</cx:pt>
          <cx:pt idx="523">4.7433999999999994</cx:pt>
          <cx:pt idx="524">3.9870200000000002</cx:pt>
          <cx:pt idx="525">3.7178000000000004</cx:pt>
          <cx:pt idx="526">11.4696</cx:pt>
          <cx:pt idx="527">4.2305999999999999</cx:pt>
          <cx:pt idx="528">9.4451999999999998</cx:pt>
          <cx:pt idx="529">12.825000000000001</cx:pt>
          <cx:pt idx="530">3.9741999999999997</cx:pt>
          <cx:pt idx="531">11.328000000000001</cx:pt>
          <cx:pt idx="532">11.328000000000001</cx:pt>
          <cx:pt idx="533">9.4451999999999998</cx:pt>
          <cx:pt idx="534">6.5549999999999997</cx:pt>
          <cx:pt idx="535">10.5564</cx:pt>
          <cx:pt idx="536">10.6952999999999</cx:pt>
          <cx:pt idx="537">5.7683999999999997</cx:pt>
          <cx:pt idx="538">11.92272</cx:pt>
          <cx:pt idx="539">16.779579999999999</cx:pt>
          <cx:pt idx="540">7.9767999999999892</cx:pt>
          <cx:pt idx="541">43.798099999999998</cx:pt>
          <cx:pt idx="542">6.2927999999999997</cx:pt>
          <cx:pt idx="543">8.3823999999999987</cx:pt>
          <cx:pt idx="544">10.6952999999999</cx:pt>
          <cx:pt idx="545">8.3823999999999987</cx:pt>
          <cx:pt idx="546">11.611199999999899</cx:pt>
          <cx:pt idx="547">10.6952999999999</cx:pt>
          <cx:pt idx="548">5.89949999999999</cx:pt>
          <cx:pt idx="549">4.9998000000000005</cx:pt>
          <cx:pt idx="550">3.9741999999999997</cx:pt>
          <cx:pt idx="551">8.1120000000000001</cx:pt>
          <cx:pt idx="552">10.973099999999999</cx:pt>
          <cx:pt idx="553">15.034799999999901</cx:pt>
          <cx:pt idx="554">3.9741999999999997</cx:pt>
          <cx:pt idx="555">7.9903199999999996</cx:pt>
          <cx:pt idx="556">35.468400000000003</cx:pt>
          <cx:pt idx="557">10.292490000000001</cx:pt>
          <cx:pt idx="558">3.08962</cx:pt>
          <cx:pt idx="559">5.7683999999999997</cx:pt>
          <cx:pt idx="560">10.6952999999999</cx:pt>
          <cx:pt idx="561">10.973099999999999</cx:pt>
          <cx:pt idx="562">10.973099999999999</cx:pt>
          <cx:pt idx="563">13.881599999999999</cx:pt>
          <cx:pt idx="564">16.764200000000002</cx:pt>
          <cx:pt idx="565">8.6527999999999992</cx:pt>
          <cx:pt idx="566">8.3823999999999987</cx:pt>
          <cx:pt idx="567">10.6952999999999</cx:pt>
          <cx:pt idx="568">10.973099999999999</cx:pt>
          <cx:pt idx="569">9.5840999999999994</cx:pt>
          <cx:pt idx="570">6.4239000000000006</cx:pt>
          <cx:pt idx="571">8.3823999999999987</cx:pt>
          <cx:pt idx="572">5.89949999999999</cx:pt>
          <cx:pt idx="573">4.1023999999999994</cx:pt>
          <cx:pt idx="574">9.4451999999999998</cx:pt>
          <cx:pt idx="575">10.973099999999999</cx:pt>
          <cx:pt idx="576">10.973099999999999</cx:pt>
          <cx:pt idx="577">10.6952999999999</cx:pt>
          <cx:pt idx="578">7.8415999999999997</cx:pt>
          <cx:pt idx="579">9.7368899999999989</cx:pt>
          <cx:pt idx="580">10.6952999999999</cx:pt>
          <cx:pt idx="581">7.5712000000000002</cx:pt>
          <cx:pt idx="582">5.63729999999999</cx:pt>
          <cx:pt idx="583">16.917999999999999</cx:pt>
          <cx:pt idx="584">7.5712000000000002</cx:pt>
          <cx:pt idx="585">10.6952999999999</cx:pt>
          <cx:pt idx="586">5.5061999999999998</cx:pt>
          <cx:pt idx="587">15.9192</cx:pt>
          <cx:pt idx="588">5.5061999999999998</cx:pt>
          <cx:pt idx="589">5.5061999999999998</cx:pt>
          <cx:pt idx="590">10.292490000000001</cx:pt>
          <cx:pt idx="591">9.722999999999999</cx:pt>
          <cx:pt idx="592">16.764200000000002</cx:pt>
          <cx:pt idx="593">11.4696</cx:pt>
          <cx:pt idx="594">2.3075999999999999</cx:pt>
          <cx:pt idx="595">11.752799999999999</cx:pt>
          <cx:pt idx="596">8.6527999999999992</cx:pt>
          <cx:pt idx="597">15.639140000000001</cx:pt>
          <cx:pt idx="598">8.9232000000000014</cx:pt>
          <cx:pt idx="599">10.973099999999999</cx:pt>
          <cx:pt idx="600">3.7178000000000004</cx:pt>
          <cx:pt idx="601">5.63729999999999</cx:pt>
          <cx:pt idx="602">17.3794</cx:pt>
          <cx:pt idx="603">7.9903199999999996</cx:pt>
          <cx:pt idx="604">8.9232000000000014</cx:pt>
          <cx:pt idx="605">15.9192</cx:pt>
          <cx:pt idx="606">3.5895999999999999</cx:pt>
          <cx:pt idx="607">5.7683999999999997</cx:pt>
          <cx:pt idx="608">10.139699999999999</cx:pt>
          <cx:pt idx="609">5.2690199999999905</cx:pt>
          <cx:pt idx="610">6.2927999999999997</cx:pt>
          <cx:pt idx="611">11.752799999999999</cx:pt>
          <cx:pt idx="612">11.611199999999899</cx:pt>
          <cx:pt idx="613">11.894399999999999</cx:pt>
          <cx:pt idx="614">4.8715999999999999</cx:pt>
          <cx:pt idx="615">6.03059999999999</cx:pt>
          <cx:pt idx="616">13.5924</cx:pt>
          <cx:pt idx="617">11.611199999999899</cx:pt>
          <cx:pt idx="618">5.7683999999999997</cx:pt>
          <cx:pt idx="619">12.83925</cx:pt>
          <cx:pt idx="620">3.34601999999999</cx:pt>
          <cx:pt idx="621">10.6952999999999</cx:pt>
          <cx:pt idx="622">10.973099999999999</cx:pt>
          <cx:pt idx="623">8.7880000000000003</cx:pt>
          <cx:pt idx="624">16.764200000000002</cx:pt>
          <cx:pt idx="625">10.57029</cx:pt>
          <cx:pt idx="626">10.01469</cx:pt>
          <cx:pt idx="627">5.6504099999999999</cx:pt>
          <cx:pt idx="628">7.1655999999999995</cx:pt>
          <cx:pt idx="629">10.278600000000001</cx:pt>
          <cx:pt idx="630">9.5840999999999994</cx:pt>
          <cx:pt idx="631">19.378799999999998</cx:pt>
          <cx:pt idx="632">6.03059999999999</cx:pt>
          <cx:pt idx="633">14.1708</cx:pt>
          <cx:pt idx="634">13.109999999999999</cx:pt>
          <cx:pt idx="635">10.973099999999999</cx:pt>
          <cx:pt idx="636">11.752799999999999</cx:pt>
          <cx:pt idx="637">5.2561999999999998</cx:pt>
          <cx:pt idx="638">8.6527999999999992</cx:pt>
          <cx:pt idx="639">10.973099999999999</cx:pt>
          <cx:pt idx="640">6.2927999999999997</cx:pt>
          <cx:pt idx="641">8.80152</cx:pt>
          <cx:pt idx="642">5.7683999999999997</cx:pt>
          <cx:pt idx="643">12.177599999999899</cx:pt>
          <cx:pt idx="644">15.329599999999999</cx:pt>
          <cx:pt idx="645">13.109999999999999</cx:pt>
          <cx:pt idx="646">4.3588000000000005</cx:pt>
          <cx:pt idx="647">13.5924</cx:pt>
          <cx:pt idx="648">7.1655999999999995</cx:pt>
          <cx:pt idx="649">48.097299999999898</cx:pt>
          <cx:pt idx="650">10.278600000000001</cx:pt>
          <cx:pt idx="651">4.2305999999999999</cx:pt>
          <cx:pt idx="652">10.6952999999999</cx:pt>
          <cx:pt idx="653">4.2305999999999999</cx:pt>
          <cx:pt idx="654">9.722999999999999</cx:pt>
          <cx:pt idx="655">8.6527999999999992</cx:pt>
          <cx:pt idx="656">11.4696</cx:pt>
          <cx:pt idx="657">8.7880000000000003</cx:pt>
          <cx:pt idx="658">11.752799999999999</cx:pt>
          <cx:pt idx="659">4.3588000000000005</cx:pt>
          <cx:pt idx="660">4.4870000000000001</cx:pt>
          <cx:pt idx="661">9.4451999999999998</cx:pt>
          <cx:pt idx="662">10.973099999999999</cx:pt>
          <cx:pt idx="663">7.1655999999999995</cx:pt>
          <cx:pt idx="664">8.1120000000000001</cx:pt>
          <cx:pt idx="665">7.8415999999999997</cx:pt>
          <cx:pt idx="666">3.7178000000000004</cx:pt>
          <cx:pt idx="667">12.460799999999999</cx:pt>
          <cx:pt idx="668">4.4870000000000001</cx:pt>
          <cx:pt idx="669">5.5061999999999998</cx:pt>
          <cx:pt idx="670">11.752799999999999</cx:pt>
          <cx:pt idx="671">5.7683999999999997</cx:pt>
          <cx:pt idx="672">18.148399999999899</cx:pt>
          <cx:pt idx="673">36.543199999999999</cx:pt>
          <cx:pt idx="674">8.5311199999999907</cx:pt>
          <cx:pt idx="675">17.3794</cx:pt>
          <cx:pt idx="676">10.973099999999999</cx:pt>
          <cx:pt idx="677">7.8415999999999997</cx:pt>
          <cx:pt idx="678">6.6860999999999908</cx:pt>
          <cx:pt idx="679">11.4696</cx:pt>
          <cx:pt idx="680">8.9232000000000014</cx:pt>
          <cx:pt idx="681">6.2927999999999997</cx:pt>
          <cx:pt idx="682">46.485100000000003</cx:pt>
          <cx:pt idx="683">6.2927999999999997</cx:pt>
          <cx:pt idx="684">11.752799999999999</cx:pt>
          <cx:pt idx="685">6.2927999999999997</cx:pt>
          <cx:pt idx="686">10.973099999999999</cx:pt>
          <cx:pt idx="687">15.639140000000001</cx:pt>
          <cx:pt idx="688">5.1408199999999997</cx:pt>
          <cx:pt idx="689">6.8171999999999997</cx:pt>
          <cx:pt idx="690">6.5549999999999997</cx:pt>
          <cx:pt idx="691">10.973099999999999</cx:pt>
          <cx:pt idx="692">8.6527999999999992</cx:pt>
          <cx:pt idx="693">10.0008</cx:pt>
          <cx:pt idx="694">9.8619000000000003</cx:pt>
          <cx:pt idx="695">8.5175999999999998</cx:pt>
          <cx:pt idx="696">10.973099999999999</cx:pt>
          <cx:pt idx="697">8.9232000000000014</cx:pt>
          <cx:pt idx="698">5.1279999999999903</cx:pt>
          <cx:pt idx="699">7.1655999999999995</cx:pt>
          <cx:pt idx="700">11.611199999999899</cx:pt>
          <cx:pt idx="701">5.7683999999999997</cx:pt>
          <cx:pt idx="702">9.5840999999999994</cx:pt>
          <cx:pt idx="703">8.1255199999999999</cx:pt>
          <cx:pt idx="704">11.4696</cx:pt>
          <cx:pt idx="705">5.89949999999999</cx:pt>
          <cx:pt idx="706">3.3332000000000002</cx:pt>
          <cx:pt idx="707">9.0583999999999989</cx:pt>
          <cx:pt idx="708">49.978200000000001</cx:pt>
          <cx:pt idx="709">4.4870000000000001</cx:pt>
          <cx:pt idx="710">9.3201899999999895</cx:pt>
          <cx:pt idx="711">6.03059999999999</cx:pt>
          <cx:pt idx="712">12.177599999999899</cx:pt>
          <cx:pt idx="713">10.6952999999999</cx:pt>
          <cx:pt idx="714">18.456</cx:pt>
          <cx:pt idx="715">10.5564</cx:pt>
          <cx:pt idx="716">3.7178000000000004</cx:pt>
          <cx:pt idx="717">4.9998000000000005</cx:pt>
          <cx:pt idx="718">13.736999999999998</cx:pt>
          <cx:pt idx="719">5.7683999999999997</cx:pt>
          <cx:pt idx="720">18.302199999999999</cx:pt>
          <cx:pt idx="721">12.036</cx:pt>
          <cx:pt idx="722">10.5564</cx:pt>
          <cx:pt idx="723">6.03059999999999</cx:pt>
          <cx:pt idx="724">6.5549999999999997</cx:pt>
          <cx:pt idx="725">15.491739999999901</cx:pt>
          <cx:pt idx="726">10.139699999999999</cx:pt>
          <cx:pt idx="727">6.3190200000000196</cx:pt>
          <cx:pt idx="728">4.2305999999999999</cx:pt>
          <cx:pt idx="729">4.6151999999999997</cx:pt>
          <cx:pt idx="730">5.1279999999999903</cx:pt>
          <cx:pt idx="731">17.3794</cx:pt>
          <cx:pt idx="732">13.447799999999999</cx:pt>
          <cx:pt idx="733">5.7683999999999997</cx:pt>
          <cx:pt idx="734">37.3492999999999</cx:pt>
          <cx:pt idx="735">10.57029</cx:pt>
          <cx:pt idx="736">11.752799999999999</cx:pt>
          <cx:pt idx="737">9.4451999999999998</cx:pt>
          <cx:pt idx="738">9.5840999999999994</cx:pt>
          <cx:pt idx="739">12.036</cx:pt>
          <cx:pt idx="740">8.9232000000000014</cx:pt>
          <cx:pt idx="741">15.329599999999999</cx:pt>
          <cx:pt idx="742">4.8715999999999999</cx:pt>
          <cx:pt idx="743">19.686400000000003</cx:pt>
          <cx:pt idx="744">9.4451999999999998</cx:pt>
          <cx:pt idx="745">9.4451999999999998</cx:pt>
          <cx:pt idx="746">6.03059999999999</cx:pt>
          <cx:pt idx="747">10.6952999999999</cx:pt>
          <cx:pt idx="748">4.2434199999999995</cx:pt>
          <cx:pt idx="749">6.2927999999999997</cx:pt>
          <cx:pt idx="750">10.139699999999999</cx:pt>
          <cx:pt idx="751">6.2927999999999997</cx:pt>
          <cx:pt idx="752">18.148399999999899</cx:pt>
          <cx:pt idx="753">9.5979900000000011</cx:pt>
          <cx:pt idx="754">5.1279999999999903</cx:pt>
          <cx:pt idx="755">10.57029</cx:pt>
          <cx:pt idx="756">39.230199999999897</cx:pt>
          <cx:pt idx="757">9.722999999999999</cx:pt>
          <cx:pt idx="758">10.834199999999999</cx:pt>
          <cx:pt idx="759">11.34216</cx:pt>
          <cx:pt idx="760">12.319199999999899</cx:pt>
          <cx:pt idx="761">6.03059999999999</cx:pt>
          <cx:pt idx="762">44.604199999999999</cx:pt>
          <cx:pt idx="763">11.766959999999999</cx:pt>
          <cx:pt idx="764">10.973099999999999</cx:pt>
          <cx:pt idx="765">8.7880000000000003</cx:pt>
          <cx:pt idx="766">11.894399999999999</cx:pt>
          <cx:pt idx="767">3.7178000000000004</cx:pt>
          <cx:pt idx="768">7.8415999999999997</cx:pt>
          <cx:pt idx="769">7.8415999999999997</cx:pt>
          <cx:pt idx="770">9.4451999999999998</cx:pt>
          <cx:pt idx="771">5.7683999999999997</cx:pt>
          <cx:pt idx="772">7.9903199999999996</cx:pt>
          <cx:pt idx="773">4.9998000000000005</cx:pt>
          <cx:pt idx="774">8.7880000000000003</cx:pt>
          <cx:pt idx="775">14.75474</cx:pt>
          <cx:pt idx="776">11.4696</cx:pt>
          <cx:pt idx="777">6.5549999999999997</cx:pt>
          <cx:pt idx="778">18.148399999999899</cx:pt>
          <cx:pt idx="779">10.848089999999901</cx:pt>
          <cx:pt idx="780">12.177599999999899</cx:pt>
          <cx:pt idx="781">6.3059099999999892</cx:pt>
          <cx:pt idx="782">17.3794</cx:pt>
          <cx:pt idx="783">11.752799999999999</cx:pt>
          <cx:pt idx="784">10.5564</cx:pt>
          <cx:pt idx="785">10.57029</cx:pt>
          <cx:pt idx="786">10.973099999999999</cx:pt>
          <cx:pt idx="787">10.973099999999999</cx:pt>
          <cx:pt idx="788">15.9192</cx:pt>
          <cx:pt idx="789">14.3154</cx:pt>
          <cx:pt idx="790">9.722999999999999</cx:pt>
          <cx:pt idx="791">10.278600000000001</cx:pt>
          <cx:pt idx="792">5.2690199999999905</cx:pt>
          <cx:pt idx="793">8.9232000000000014</cx:pt>
          <cx:pt idx="794">10.278600000000001</cx:pt>
          <cx:pt idx="795">9.4451999999999998</cx:pt>
          <cx:pt idx="796">10.0008</cx:pt>
          <cx:pt idx="797">8.3823999999999987</cx:pt>
          <cx:pt idx="798">11.611199999999899</cx:pt>
          <cx:pt idx="799">11.4696</cx:pt>
          <cx:pt idx="800">4.2305999999999999</cx:pt>
          <cx:pt idx="801">9.5840999999999994</cx:pt>
          <cx:pt idx="802">6.6860999999999908</cx:pt>
          <cx:pt idx="803">12.177599999999899</cx:pt>
          <cx:pt idx="804">16.764200000000002</cx:pt>
          <cx:pt idx="805">7.3008000000000006</cx:pt>
          <cx:pt idx="806">5.5061999999999998</cx:pt>
          <cx:pt idx="807">12.177599999999899</cx:pt>
          <cx:pt idx="808">8.9367199999999993</cx:pt>
          <cx:pt idx="809">16.764200000000002</cx:pt>
          <cx:pt idx="810">10.0008</cx:pt>
          <cx:pt idx="811">7.5712000000000002</cx:pt>
          <cx:pt idx="812">10.57029</cx:pt>
          <cx:pt idx="813">17.2256</cx:pt>
          <cx:pt idx="814">7.3008000000000006</cx:pt>
          <cx:pt idx="815">15.786539999999999</cx:pt>
          <cx:pt idx="816">10.973099999999999</cx:pt>
          <cx:pt idx="817">18.148399999999899</cx:pt>
          <cx:pt idx="818">10.278600000000001</cx:pt>
          <cx:pt idx="819">11.752799999999999</cx:pt>
          <cx:pt idx="820">5.6504099999999999</cx:pt>
          <cx:pt idx="821">15.771799999999999</cx:pt>
          <cx:pt idx="822">5.6504099999999999</cx:pt>
          <cx:pt idx="823">15.786539999999999</cx:pt>
          <cx:pt idx="824">17.3794</cx:pt>
          <cx:pt idx="825">4.1023999999999994</cx:pt>
          <cx:pt idx="826">3.9870200000000002</cx:pt>
          <cx:pt idx="827">34.689170000000004</cx:pt>
          <cx:pt idx="828">11.752799999999999</cx:pt>
          <cx:pt idx="829">13.5924</cx:pt>
          <cx:pt idx="830">5.7683999999999997</cx:pt>
          <cx:pt idx="831">6.03059999999999</cx:pt>
          <cx:pt idx="832">16.764200000000002</cx:pt>
          <cx:pt idx="833">10.0008</cx:pt>
          <cx:pt idx="834">8.6527999999999992</cx:pt>
          <cx:pt idx="835">12.825000000000001</cx:pt>
          <cx:pt idx="836">9.4451999999999998</cx:pt>
          <cx:pt idx="837">17.687000000000001</cx:pt>
          <cx:pt idx="838">6.2927999999999997</cx:pt>
          <cx:pt idx="839">45.141599999999997</cx:pt>
          <cx:pt idx="840">5.63729999999999</cx:pt>
          <cx:pt idx="841">6.8171999999999997</cx:pt>
          <cx:pt idx="842">8.6527999999999992</cx:pt>
          <cx:pt idx="843">16.917999999999999</cx:pt>
          <cx:pt idx="844">11.4696</cx:pt>
          <cx:pt idx="845">12.177599999999899</cx:pt>
          <cx:pt idx="846">11.752799999999999</cx:pt>
          <cx:pt idx="847">11.328000000000001</cx:pt>
          <cx:pt idx="848">13.2421799999999</cx:pt>
          <cx:pt idx="849">6.5549999999999997</cx:pt>
          <cx:pt idx="850">12.319199999999899</cx:pt>
          <cx:pt idx="851">10.973099999999999</cx:pt>
          <cx:pt idx="852">5.1279999999999903</cx:pt>
          <cx:pt idx="853">16.764200000000002</cx:pt>
          <cx:pt idx="854">19.071199999999997</cx:pt>
          <cx:pt idx="855">5.6504099999999999</cx:pt>
          <cx:pt idx="856">17.08718</cx:pt>
          <cx:pt idx="857">16.917999999999999</cx:pt>
          <cx:pt idx="858">17.687000000000001</cx:pt>
          <cx:pt idx="859">1.55122</cx:pt>
          <cx:pt idx="860">4.4870000000000001</cx:pt>
          <cx:pt idx="861">17.687000000000001</cx:pt>
          <cx:pt idx="862">4.8715999999999999</cx:pt>
          <cx:pt idx="863">11.550380000000001</cx:pt>
          <cx:pt idx="864">10.7091899999999</cx:pt>
          <cx:pt idx="865">7.1655999999999995</cx:pt>
          <cx:pt idx="866">10.6952999999999</cx:pt>
          <cx:pt idx="867">4.4870000000000001</cx:pt>
          <cx:pt idx="868">12.460799999999999</cx:pt>
          <cx:pt idx="869">14.1708</cx:pt>
          <cx:pt idx="870">6.03059999999999</cx:pt>
          <cx:pt idx="871">11.752799999999999</cx:pt>
          <cx:pt idx="872">6.6860999999999908</cx:pt>
          <cx:pt idx="873">5.89949999999999</cx:pt>
          <cx:pt idx="874">6.14175</cx:pt>
          <cx:pt idx="875">5.5193099999999999</cx:pt>
          <cx:pt idx="876">9.30093999999999</cx:pt>
          <cx:pt idx="877">10.973099999999999</cx:pt>
          <cx:pt idx="878">36.543199999999999</cx:pt>
          <cx:pt idx="879">10.834199999999999</cx:pt>
          <cx:pt idx="880">19.071199999999997</cx:pt>
          <cx:pt idx="881">12.036</cx:pt>
          <cx:pt idx="882">11.752799999999999</cx:pt>
          <cx:pt idx="883">12.825000000000001</cx:pt>
          <cx:pt idx="884">10.973099999999999</cx:pt>
          <cx:pt idx="885">11.328000000000001</cx:pt>
          <cx:pt idx="886">17.994599999999998</cx:pt>
          <cx:pt idx="887">17.533199999999997</cx:pt>
          <cx:pt idx="888">4.8715999999999999</cx:pt>
          <cx:pt idx="889">8.5175999999999998</cx:pt>
          <cx:pt idx="890">12.967500000000001</cx:pt>
          <cx:pt idx="891">9.5840999999999994</cx:pt>
          <cx:pt idx="892">5.89949999999999</cx:pt>
          <cx:pt idx="893">7.1655999999999995</cx:pt>
          <cx:pt idx="894">10.973099999999999</cx:pt>
          <cx:pt idx="895">11.752799999999999</cx:pt>
          <cx:pt idx="896">8.5175999999999998</cx:pt>
          <cx:pt idx="897">10.973099999999999</cx:pt>
          <cx:pt idx="898">6.5549999999999997</cx:pt>
          <cx:pt idx="899">6.6860999999999908</cx:pt>
          <cx:pt idx="900">8.9232000000000014</cx:pt>
          <cx:pt idx="901">15.771799999999999</cx:pt>
          <cx:pt idx="902">3.9741999999999997</cx:pt>
          <cx:pt idx="903">6.2927999999999997</cx:pt>
          <cx:pt idx="904">17.0718</cx:pt>
          <cx:pt idx="905">12.177599999999899</cx:pt>
          <cx:pt idx="906">6.8171999999999997</cx:pt>
          <cx:pt idx="907">4.7433999999999994</cx:pt>
          <cx:pt idx="908">12.036</cx:pt>
          <cx:pt idx="909">6.5549999999999997</cx:pt>
          <cx:pt idx="910">10.6952999999999</cx:pt>
          <cx:pt idx="911">10.834199999999999</cx:pt>
          <cx:pt idx="912">8.5175999999999998</cx:pt>
          <cx:pt idx="913">9.4451999999999998</cx:pt>
          <cx:pt idx="914">12.967500000000001</cx:pt>
          <cx:pt idx="915">52.933899999999902</cx:pt>
          <cx:pt idx="916">4.7562199999999999</cx:pt>
          <cx:pt idx="917">12.036</cx:pt>
          <cx:pt idx="918">8.3823999999999987</cx:pt>
          <cx:pt idx="919">6.1616999999999997</cx:pt>
          <cx:pt idx="920">10.139699999999999</cx:pt>
          <cx:pt idx="921">18.7636</cx:pt>
          <cx:pt idx="922">10.5564</cx:pt>
          <cx:pt idx="923">38.1554</cx:pt>
          <cx:pt idx="924">4.7433999999999994</cx:pt>
          <cx:pt idx="925">13.1242499999999</cx:pt>
          <cx:pt idx="926">6.03059999999999</cx:pt>
          <cx:pt idx="927">5.89949999999999</cx:pt>
        </cx:lvl>
      </cx:numDim>
    </cx:data>
    <cx:data id="5">
      <cx:numDim type="val">
        <cx:f>DEATCH_Region_Box_Plots!$I$2:$I$929</cx:f>
        <cx:lvl ptCount="928" formatCode="_(* #,##0_);_(* \(#,##0\);_(* &quot;-&quot;??_);_(@_)">
          <cx:pt idx="0">42.481469999999902</cx:pt>
          <cx:pt idx="1">46.511969999999906</cx:pt>
          <cx:pt idx="2">18.6098</cx:pt>
          <cx:pt idx="3">10.834199999999999</cx:pt>
          <cx:pt idx="4">5.4309900000000004</cx:pt>
          <cx:pt idx="5">13.751459999999899</cx:pt>
          <cx:pt idx="6">10.986989999999899</cx:pt>
          <cx:pt idx="7">15.344340000000001</cx:pt>
          <cx:pt idx="8">14.75474</cx:pt>
          <cx:pt idx="9">26.628170000000001</cx:pt>
          <cx:pt idx="10">19.240380000000002</cx:pt>
          <cx:pt idx="11">5.8197600000000005</cx:pt>
          <cx:pt idx="12">2.9614199999999999</cx:pt>
          <cx:pt idx="13">15.491739999999901</cx:pt>
          <cx:pt idx="14">6.5549999999999997</cx:pt>
          <cx:pt idx="15">26.628170000000001</cx:pt>
          <cx:pt idx="16">6.5549999999999997</cx:pt>
          <cx:pt idx="17">7.1655999999999995</cx:pt>
          <cx:pt idx="18">4.3588000000000005</cx:pt>
          <cx:pt idx="19">6.03059999999999</cx:pt>
          <cx:pt idx="20">5.4309900000000004</cx:pt>
          <cx:pt idx="21">8.7880000000000003</cx:pt>
          <cx:pt idx="22">5.6504099999999999</cx:pt>
          <cx:pt idx="23">11.766959999999999</cx:pt>
          <cx:pt idx="24">7.0998599999999996</cx:pt>
          <cx:pt idx="25">10.292490000000001</cx:pt>
          <cx:pt idx="26">17.548580000000001</cx:pt>
          <cx:pt idx="27">5.5061999999999998</cx:pt>
          <cx:pt idx="28">5.5061999999999998</cx:pt>
          <cx:pt idx="29">10.292490000000001</cx:pt>
          <cx:pt idx="30">10.92234</cx:pt>
          <cx:pt idx="31">4.1023999999999994</cx:pt>
          <cx:pt idx="32">8.5175999999999998</cx:pt>
          <cx:pt idx="33">11.752799999999999</cx:pt>
          <cx:pt idx="34">5.7683999999999997</cx:pt>
          <cx:pt idx="35">18.7636</cx:pt>
          <cx:pt idx="36">4.8715999999999999</cx:pt>
          <cx:pt idx="37">5.7683999999999997</cx:pt>
          <cx:pt idx="38">6.8171999999999997</cx:pt>
          <cx:pt idx="39">4.6151999999999997</cx:pt>
          <cx:pt idx="40">10.6952999999999</cx:pt>
          <cx:pt idx="41">10.292490000000001</cx:pt>
          <cx:pt idx="42">5.4309900000000004</cx:pt>
          <cx:pt idx="43">10.6952999999999</cx:pt>
          <cx:pt idx="44">6.03059999999999</cx:pt>
          <cx:pt idx="45">10.6952999999999</cx:pt>
          <cx:pt idx="46">6.03059999999999</cx:pt>
          <cx:pt idx="47">10.6952999999999</cx:pt>
          <cx:pt idx="48">5.5061999999999998</cx:pt>
          <cx:pt idx="49">6.03059999999999</cx:pt>
          <cx:pt idx="50">5.0126199999999894</cx:pt>
          <cx:pt idx="51">6.03059999999999</cx:pt>
          <cx:pt idx="52">12.825000000000001</cx:pt>
          <cx:pt idx="53">6.03059999999999</cx:pt>
          <cx:pt idx="54">11.4696</cx:pt>
          <cx:pt idx="55">10.292490000000001</cx:pt>
          <cx:pt idx="56">13.447799999999999</cx:pt>
          <cx:pt idx="57">11.4696</cx:pt>
          <cx:pt idx="58">9.4451999999999998</cx:pt>
          <cx:pt idx="59">3.08962</cx:pt>
          <cx:pt idx="60">10.6952999999999</cx:pt>
          <cx:pt idx="61">11.4696</cx:pt>
          <cx:pt idx="62">10.92234</cx:pt>
          <cx:pt idx="63">4.1023999999999994</cx:pt>
          <cx:pt idx="64">5.5061999999999998</cx:pt>
          <cx:pt idx="65">7.5847200000000008</cx:pt>
          <cx:pt idx="66">5.4309900000000004</cx:pt>
          <cx:pt idx="67">11.90856</cx:pt>
          <cx:pt idx="68">12.825000000000001</cx:pt>
          <cx:pt idx="69">5.7683999999999997</cx:pt>
          <cx:pt idx="70">12.319199999999899</cx:pt>
          <cx:pt idx="71">6.03059999999999</cx:pt>
          <cx:pt idx="72">5.5061999999999998</cx:pt>
          <cx:pt idx="73">3.94611</cx:pt>
          <cx:pt idx="74">11.4696</cx:pt>
          <cx:pt idx="75">5.4309900000000004</cx:pt>
          <cx:pt idx="76">11.4696</cx:pt>
          <cx:pt idx="77">5.5061999999999998</cx:pt>
          <cx:pt idx="78">12.177599999999899</cx:pt>
          <cx:pt idx="79">10.92234</cx:pt>
          <cx:pt idx="80">18.778979999999901</cx:pt>
          <cx:pt idx="81">5.4309900000000004</cx:pt>
          <cx:pt idx="82">5.7683999999999997</cx:pt>
          <cx:pt idx="83">27.97167</cx:pt>
          <cx:pt idx="84">5.2561999999999998</cx:pt>
          <cx:pt idx="85">5.7683999999999997</cx:pt>
          <cx:pt idx="86">10.92234</cx:pt>
          <cx:pt idx="87">11.704180000000001</cx:pt>
          <cx:pt idx="88">10.848089999999901</cx:pt>
          <cx:pt idx="89">11.611199999999899</cx:pt>
          <cx:pt idx="90">5.2690199999999905</cx:pt>
          <cx:pt idx="91">13.31766</cx:pt>
          <cx:pt idx="92">6.8171999999999997</cx:pt>
          <cx:pt idx="93">5.4309900000000004</cx:pt>
          <cx:pt idx="94">6.0437099999999999</cx:pt>
          <cx:pt idx="95">10.6952999999999</cx:pt>
          <cx:pt idx="96">12.177599999999899</cx:pt>
          <cx:pt idx="97">10.292490000000001</cx:pt>
          <cx:pt idx="98">10.6952999999999</cx:pt>
          <cx:pt idx="99">10.292490000000001</cx:pt>
          <cx:pt idx="100">6.03059999999999</cx:pt>
          <cx:pt idx="101">5.4309900000000004</cx:pt>
          <cx:pt idx="102">7.5712000000000002</cx:pt>
          <cx:pt idx="103">11.752799999999999</cx:pt>
          <cx:pt idx="104">11.4696</cx:pt>
          <cx:pt idx="105">26.359470000000002</cx:pt>
          <cx:pt idx="106">11.894399999999999</cx:pt>
          <cx:pt idx="107">27.434269999999998</cx:pt>
          <cx:pt idx="108">11.704180000000001</cx:pt>
          <cx:pt idx="109">11.34216</cx:pt>
          <cx:pt idx="110">7.5625800000000298</cx:pt>
          <cx:pt idx="111">5.4309900000000004</cx:pt>
          <cx:pt idx="112">7.5712000000000002</cx:pt>
          <cx:pt idx="113">6.03059999999999</cx:pt>
          <cx:pt idx="114">10.973099999999999</cx:pt>
          <cx:pt idx="115">4.1023999999999994</cx:pt>
          <cx:pt idx="116">10.973099999999999</cx:pt>
          <cx:pt idx="117">11.4696</cx:pt>
          <cx:pt idx="118">10.6952999999999</cx:pt>
          <cx:pt idx="119">5.4309900000000004</cx:pt>
          <cx:pt idx="120">8.5639399999999899</cx:pt>
          <cx:pt idx="121">8.6663199999999989</cx:pt>
          <cx:pt idx="122">6.8171999999999997</cx:pt>
          <cx:pt idx="123">10.57029</cx:pt>
          <cx:pt idx="124">5.7683999999999997</cx:pt>
          <cx:pt idx="125">4.1023999999999994</cx:pt>
          <cx:pt idx="126">14.040659999999999</cx:pt>
          <cx:pt idx="127">7.5712000000000002</cx:pt>
          <cx:pt idx="128">10.139699999999999</cx:pt>
          <cx:pt idx="129">5.63729999999999</cx:pt>
          <cx:pt idx="130">2.1922199999999998</cx:pt>
          <cx:pt idx="131">5.2690199999999905</cx:pt>
          <cx:pt idx="132">7.1655999999999995</cx:pt>
          <cx:pt idx="133">5.7683999999999997</cx:pt>
          <cx:pt idx="134">7.4359999999999999</cx:pt>
          <cx:pt idx="135">10.973099999999999</cx:pt>
          <cx:pt idx="136">3.9741999999999997</cx:pt>
          <cx:pt idx="137">10.92234</cx:pt>
          <cx:pt idx="138">10.973099999999999</cx:pt>
          <cx:pt idx="139">5.63729999999999</cx:pt>
          <cx:pt idx="140">5.6781600000000001</cx:pt>
          <cx:pt idx="141">13.1242499999999</cx:pt>
          <cx:pt idx="142">15.04954</cx:pt>
          <cx:pt idx="143">12.474959999999999</cx:pt>
          <cx:pt idx="144">3.4742199999999896</cx:pt>
          <cx:pt idx="145">13.1242499999999</cx:pt>
          <cx:pt idx="146">8.1120000000000001</cx:pt>
          <cx:pt idx="147">6.2927999999999997</cx:pt>
          <cx:pt idx="148">5.7683999999999997</cx:pt>
          <cx:pt idx="149">4.2305999999999999</cx:pt>
          <cx:pt idx="150">2.9614199999999999</cx:pt>
          <cx:pt idx="151">5.7683999999999997</cx:pt>
          <cx:pt idx="152">6.03059999999999</cx:pt>
          <cx:pt idx="153">11.4696</cx:pt>
          <cx:pt idx="154">5.4309900000000004</cx:pt>
          <cx:pt idx="155">60.484369999999998</cx:pt>
          <cx:pt idx="156">10.92234</cx:pt>
          <cx:pt idx="157">6.14175</cx:pt>
          <cx:pt idx="158">47.855469999999698</cx:pt>
          <cx:pt idx="159">6.5549999999999997</cx:pt>
          <cx:pt idx="160">11.550380000000001</cx:pt>
          <cx:pt idx="161">44.899769999999698</cx:pt>
          <cx:pt idx="162">7.1655999999999995</cx:pt>
          <cx:pt idx="163">10.973099999999999</cx:pt>
          <cx:pt idx="164">7.9767999999999892</cx:pt>
          <cx:pt idx="165">18.3175799999999</cx:pt>
          <cx:pt idx="166">10.92234</cx:pt>
          <cx:pt idx="167">17.24098</cx:pt>
          <cx:pt idx="168">10.92234</cx:pt>
          <cx:pt idx="169">8.3823999999999987</cx:pt>
          <cx:pt idx="170">17.08718</cx:pt>
          <cx:pt idx="171">27.165569999999999</cx:pt>
          <cx:pt idx="172">5.4309900000000004</cx:pt>
        </cx:lvl>
      </cx:numDim>
    </cx:data>
    <cx:data id="6">
      <cx:numDim type="val">
        <cx:f>DEATCH_Region_Box_Plots!$J$2:$J$929</cx:f>
        <cx:lvl ptCount="928" formatCode="_(* #,##0_);_(* \(#,##0\);_(* &quot;-&quot;??_);_(@_)">
          <cx:pt idx="0">15.04954</cx:pt>
          <cx:pt idx="1">13.1242499999999</cx:pt>
          <cx:pt idx="2">27.97167</cx:pt>
          <cx:pt idx="3">15.04954</cx:pt>
          <cx:pt idx="4">15.04954</cx:pt>
          <cx:pt idx="5">13.1242499999999</cx:pt>
          <cx:pt idx="6">13.1242499999999</cx:pt>
          <cx:pt idx="7">15.04954</cx:pt>
          <cx:pt idx="8">15.04954</cx:pt>
          <cx:pt idx="9">15.04954</cx:pt>
          <cx:pt idx="10">12.825000000000001</cx:pt>
          <cx:pt idx="11">5.8197600000000005</cx:pt>
          <cx:pt idx="12">15.6244</cx:pt>
          <cx:pt idx="13">3.42171</cx:pt>
          <cx:pt idx="14">15.04954</cx:pt>
          <cx:pt idx="15">15.04954</cx:pt>
          <cx:pt idx="16">15.04954</cx:pt>
          <cx:pt idx="17">5.4309900000000004</cx:pt>
          <cx:pt idx="18">45.168469999999701</cx:pt>
          <cx:pt idx="19">17.24098</cx:pt>
          <cx:pt idx="20">43.556270000000005</cx:pt>
          <cx:pt idx="21">13.462259999999901</cx:pt>
          <cx:pt idx="22">3.08962</cx:pt>
          <cx:pt idx="23">15.04954</cx:pt>
          <cx:pt idx="24">15.491739999999901</cx:pt>
          <cx:pt idx="25">13.1242499999999</cx:pt>
          <cx:pt idx="26">52.154669999999705</cx:pt>
          <cx:pt idx="27">17.24098</cx:pt>
          <cx:pt idx="28">15.04954</cx:pt>
          <cx:pt idx="29">15.491739999999901</cx:pt>
          <cx:pt idx="30">15.04954</cx:pt>
          <cx:pt idx="31">13.1242499999999</cx:pt>
          <cx:pt idx="32">13.606859999999902</cx:pt>
          <cx:pt idx="33">15.491739999999901</cx:pt>
          <cx:pt idx="34">13.1242499999999</cx:pt>
          <cx:pt idx="35">17.24098</cx:pt>
          <cx:pt idx="36">13.1242499999999</cx:pt>
          <cx:pt idx="37">13.1242499999999</cx:pt>
          <cx:pt idx="38">15.04954</cx:pt>
          <cx:pt idx="39">15.04954</cx:pt>
          <cx:pt idx="40">15.04954</cx:pt>
          <cx:pt idx="41">15.04954</cx:pt>
          <cx:pt idx="42">15.04954</cx:pt>
          <cx:pt idx="43">16.93338</cx:pt>
          <cx:pt idx="44">13.1242499999999</cx:pt>
          <cx:pt idx="45">13.1242499999999</cx:pt>
          <cx:pt idx="46">15.344340000000001</cx:pt>
          <cx:pt idx="47">17.702379999999902</cx:pt>
          <cx:pt idx="48">13.1242499999999</cx:pt>
          <cx:pt idx="49">15.04954</cx:pt>
          <cx:pt idx="50">15.04954</cx:pt>
          <cx:pt idx="51">15.04954</cx:pt>
          <cx:pt idx="52">13.1242499999999</cx:pt>
          <cx:pt idx="53">13.1242499999999</cx:pt>
          <cx:pt idx="54">15.344340000000001</cx:pt>
          <cx:pt idx="55">17.24098</cx:pt>
          <cx:pt idx="56">17.24098</cx:pt>
          <cx:pt idx="57">15.04954</cx:pt>
          <cx:pt idx="58">40.600569999999706</cx:pt>
          <cx:pt idx="59">35.495269999999898</cx:pt>
          <cx:pt idx="60">15.04954</cx:pt>
          <cx:pt idx="61">38.182270000000003</cx:pt>
          <cx:pt idx="62">14.75474</cx:pt>
          <cx:pt idx="63">5.4309900000000004</cx:pt>
          <cx:pt idx="64">17.24098</cx:pt>
          <cx:pt idx="65">13.1242499999999</cx:pt>
          <cx:pt idx="66">15.04954</cx:pt>
          <cx:pt idx="67">15.04954</cx:pt>
          <cx:pt idx="68">13.1242499999999</cx:pt>
          <cx:pt idx="69">15.04954</cx:pt>
          <cx:pt idx="70">44.3623699999997</cx:pt>
          <cx:pt idx="71">15.04954</cx:pt>
          <cx:pt idx="72">15.491739999999901</cx:pt>
          <cx:pt idx="73">13.1242499999999</cx:pt>
          <cx:pt idx="74">13.1242499999999</cx:pt>
          <cx:pt idx="75">15.04954</cx:pt>
          <cx:pt idx="76">15.344340000000001</cx:pt>
          <cx:pt idx="77">15.04954</cx:pt>
          <cx:pt idx="78">17.24098</cx:pt>
          <cx:pt idx="79">15.04954</cx:pt>
          <cx:pt idx="80">6.9552600000000009</cx:pt>
          <cx:pt idx="81">15.04954</cx:pt>
          <cx:pt idx="82">15.04954</cx:pt>
          <cx:pt idx="83">34.95787</cx:pt>
          <cx:pt idx="84">13.1242499999999</cx:pt>
          <cx:pt idx="85">15.344340000000001</cx:pt>
          <cx:pt idx="86">15.04954</cx:pt>
          <cx:pt idx="87">15.04954</cx:pt>
          <cx:pt idx="88">15.04954</cx:pt>
          <cx:pt idx="89">15.04954</cx:pt>
          <cx:pt idx="90">15.04954</cx:pt>
          <cx:pt idx="91">11.704180000000001</cx:pt>
          <cx:pt idx="92">10.92234</cx:pt>
          <cx:pt idx="93">13.606859999999902</cx:pt>
          <cx:pt idx="94">4.3716200000000001</cx:pt>
          <cx:pt idx="95">35.495269999999898</cx:pt>
          <cx:pt idx="96">15.04954</cx:pt>
          <cx:pt idx="97">4.5254600000000202</cx:pt>
          <cx:pt idx="98">17.702379999999902</cx:pt>
          <cx:pt idx="99">15.04954</cx:pt>
          <cx:pt idx="100">15.04954</cx:pt>
          <cx:pt idx="101">34.95787</cx:pt>
          <cx:pt idx="102">15.04954</cx:pt>
          <cx:pt idx="103">15.04954</cx:pt>
          <cx:pt idx="104">15.491739999999901</cx:pt>
          <cx:pt idx="105">13.1242499999999</cx:pt>
          <cx:pt idx="106">13.1242499999999</cx:pt>
          <cx:pt idx="107">2.9614199999999999</cx:pt>
          <cx:pt idx="108">15.04954</cx:pt>
          <cx:pt idx="109">17.24098</cx:pt>
          <cx:pt idx="110">15.04954</cx:pt>
          <cx:pt idx="111">15.344340000000001</cx:pt>
          <cx:pt idx="112">13.1242499999999</cx:pt>
          <cx:pt idx="113">13.606859999999902</cx:pt>
          <cx:pt idx="114">13.1242499999999</cx:pt>
          <cx:pt idx="115">13.1242499999999</cx:pt>
          <cx:pt idx="116">15.344340000000001</cx:pt>
          <cx:pt idx="117">13.1242499999999</cx:pt>
          <cx:pt idx="118">15.04954</cx:pt>
          <cx:pt idx="119">13.703579999999899</cx:pt>
          <cx:pt idx="120">13.1242499999999</cx:pt>
          <cx:pt idx="121">35.763969999999901</cx:pt>
          <cx:pt idx="122">15.04954</cx:pt>
          <cx:pt idx="123">14.75474</cx:pt>
          <cx:pt idx="124">2.1922199999999998</cx:pt>
          <cx:pt idx="125">15.04954</cx:pt>
          <cx:pt idx="126">15.04954</cx:pt>
          <cx:pt idx="127">13.1242499999999</cx:pt>
          <cx:pt idx="128">14.0406599999999</cx:pt>
          <cx:pt idx="129">13.606859999999902</cx:pt>
          <cx:pt idx="130">15.04954</cx:pt>
          <cx:pt idx="131">15.04954</cx:pt>
          <cx:pt idx="132">3.60242</cx:pt>
          <cx:pt idx="133">6.6860999999999908</cx:pt>
          <cx:pt idx="134">5.63729999999999</cx:pt>
          <cx:pt idx="135">13.1242499999999</cx:pt>
          <cx:pt idx="136">15.04954</cx:pt>
          <cx:pt idx="137">3.4742199999999896</cx:pt>
          <cx:pt idx="138">17.24098</cx:pt>
          <cx:pt idx="139">16.93338</cx:pt>
          <cx:pt idx="140">15.04954</cx:pt>
          <cx:pt idx="141">15.04954</cx:pt>
          <cx:pt idx="142">15.04954</cx:pt>
          <cx:pt idx="143">15.04954</cx:pt>
          <cx:pt idx="144">4.6151999999999997</cx:pt>
          <cx:pt idx="145">14.0406599999999</cx:pt>
          <cx:pt idx="146">15.04954</cx:pt>
          <cx:pt idx="147">13.1242499999999</cx:pt>
          <cx:pt idx="148">17.24098</cx:pt>
          <cx:pt idx="149">15.04954</cx:pt>
          <cx:pt idx="150">15.04954</cx:pt>
          <cx:pt idx="151">13.1242499999999</cx:pt>
          <cx:pt idx="152">15.491739999999901</cx:pt>
          <cx:pt idx="153">5.2561999999999998</cx:pt>
          <cx:pt idx="154">36.032670000000003</cx:pt>
          <cx:pt idx="155">17.24098</cx:pt>
          <cx:pt idx="156">15.04954</cx:pt>
          <cx:pt idx="157">15.04954</cx:pt>
          <cx:pt idx="158">13.606859999999902</cx:pt>
          <cx:pt idx="159">15.04954</cx:pt>
          <cx:pt idx="160">15.04954</cx:pt>
          <cx:pt idx="161">2.5639999999999898</cx:pt>
          <cx:pt idx="162">2.1922199999999998</cx:pt>
          <cx:pt idx="163">4.3399200000000002</cx:pt>
          <cx:pt idx="164">15.04954</cx:pt>
          <cx:pt idx="165">15.04954</cx:pt>
          <cx:pt idx="166">15.04954</cx:pt>
          <cx:pt idx="167">13.1242499999999</cx:pt>
          <cx:pt idx="168">15.04954</cx:pt>
          <cx:pt idx="169">15.04954</cx:pt>
          <cx:pt idx="170">13.1242499999999</cx:pt>
          <cx:pt idx="171">15.04954</cx:pt>
          <cx:pt idx="172">13.1242499999999</cx:pt>
          <cx:pt idx="173">5.8197600000000005</cx:pt>
          <cx:pt idx="174">15.04954</cx:pt>
          <cx:pt idx="175">15.04954</cx:pt>
          <cx:pt idx="176">7.7063999999999995</cx:pt>
          <cx:pt idx="177">5.1511199999999997</cx:pt>
          <cx:pt idx="178">13.1242499999999</cx:pt>
          <cx:pt idx="179">4.20472</cx:pt>
          <cx:pt idx="180">15.04954</cx:pt>
          <cx:pt idx="181">12.3333599999999</cx:pt>
          <cx:pt idx="182">3.94611</cx:pt>
          <cx:pt idx="183">6.14175</cx:pt>
          <cx:pt idx="184">15.04954</cx:pt>
          <cx:pt idx="185">15.04954</cx:pt>
          <cx:pt idx="186">13.1242499999999</cx:pt>
          <cx:pt idx="187">13.1242499999999</cx:pt>
          <cx:pt idx="188">15.04954</cx:pt>
          <cx:pt idx="189">8.5446400000000207</cx:pt>
          <cx:pt idx="190">4.1152199999999999</cx:pt>
          <cx:pt idx="191">17.24098</cx:pt>
          <cx:pt idx="192">15.04954</cx:pt>
          <cx:pt idx="193">5.4309900000000004</cx:pt>
          <cx:pt idx="194">15.344340000000001</cx:pt>
          <cx:pt idx="195">15.04954</cx:pt>
          <cx:pt idx="196">3.34601999999999</cx:pt>
          <cx:pt idx="197">5.9126099999999893</cx:pt>
          <cx:pt idx="198">6.6660599999999999</cx:pt>
          <cx:pt idx="199">7.8415999999999997</cx:pt>
          <cx:pt idx="200">6.0437099999999999</cx:pt>
          <cx:pt idx="201">2.1922199999999998</cx:pt>
          <cx:pt idx="202">5.6504099999999999</cx:pt>
          <cx:pt idx="203">10.6952999999999</cx:pt>
          <cx:pt idx="204">2.5639999999999898</cx:pt>
          <cx:pt idx="205">10.72308</cx:pt>
          <cx:pt idx="206">17.533199999999997</cx:pt>
          <cx:pt idx="207">3.08962</cx:pt>
          <cx:pt idx="208">3.08962</cx:pt>
          <cx:pt idx="209">7.8228599999999995</cx:pt>
          <cx:pt idx="210">3.08962</cx:pt>
          <cx:pt idx="211">3.7178000000000004</cx:pt>
          <cx:pt idx="212">8.3959200000000003</cx:pt>
          <cx:pt idx="213">4.8715999999999999</cx:pt>
          <cx:pt idx="214">9.722999999999999</cx:pt>
          <cx:pt idx="215">7.3008000000000006</cx:pt>
          <cx:pt idx="216">7.1655999999999995</cx:pt>
          <cx:pt idx="217">5.4309900000000004</cx:pt>
          <cx:pt idx="218">7.7063999999999995</cx:pt>
          <cx:pt idx="219">14.0261999999999</cx:pt>
          <cx:pt idx="220">3.4742199999999896</cx:pt>
          <cx:pt idx="221">4.7433999999999994</cx:pt>
          <cx:pt idx="222">5.5061999999999998</cx:pt>
          <cx:pt idx="223">10.834199999999999</cx:pt>
          <cx:pt idx="224">4.4870000000000001</cx:pt>
          <cx:pt idx="225">3.08962</cx:pt>
          <cx:pt idx="226">5.5061999999999998</cx:pt>
          <cx:pt idx="227">3.08962</cx:pt>
          <cx:pt idx="228">4.4998199999999899</cx:pt>
          <cx:pt idx="229">3.4742199999999896</cx:pt>
          <cx:pt idx="230">3.08962</cx:pt>
          <cx:pt idx="231">12.460799999999999</cx:pt>
          <cx:pt idx="232">13.606860000000001</cx:pt>
          <cx:pt idx="233">8.6663199999999989</cx:pt>
          <cx:pt idx="234">10.834199999999999</cx:pt>
          <cx:pt idx="235">3.08962</cx:pt>
          <cx:pt idx="236">14.0261999999999</cx:pt>
          <cx:pt idx="237">2.3204199999999999</cx:pt>
          <cx:pt idx="238">12.01178</cx:pt>
          <cx:pt idx="239">5.7683999999999997</cx:pt>
          <cx:pt idx="240">2.9614199999999999</cx:pt>
          <cx:pt idx="241">6.1616999999999997</cx:pt>
          <cx:pt idx="242">4.1152199999999999</cx:pt>
          <cx:pt idx="243">3.08962</cx:pt>
          <cx:pt idx="244">12.62698</cx:pt>
          <cx:pt idx="245">2.1922199999999998</cx:pt>
          <cx:pt idx="246">15.771799999999999</cx:pt>
          <cx:pt idx="247">12.01178</cx:pt>
          <cx:pt idx="248">4.7433999999999994</cx:pt>
          <cx:pt idx="249">2.5768200000000001</cx:pt>
          <cx:pt idx="250">3.08962</cx:pt>
          <cx:pt idx="251">4.3716200000000001</cx:pt>
          <cx:pt idx="252">3.08962</cx:pt>
          <cx:pt idx="253">3.08962</cx:pt>
          <cx:pt idx="254">3.08962</cx:pt>
          <cx:pt idx="255">10.986989999999899</cx:pt>
          <cx:pt idx="256">13.5924</cx:pt>
          <cx:pt idx="257">3.2434600000000202</cx:pt>
          <cx:pt idx="258">3.08962</cx:pt>
          <cx:pt idx="259">4.1152199999999999</cx:pt>
          <cx:pt idx="260">11.704180000000001</cx:pt>
          <cx:pt idx="261">6.1748099999999999</cx:pt>
          <cx:pt idx="262">10.6952999999999</cx:pt>
          <cx:pt idx="263">10.6952999999999</cx:pt>
          <cx:pt idx="264">11.781120000000001</cx:pt>
          <cx:pt idx="265">4.3716200000000001</cx:pt>
          <cx:pt idx="266">18.009979999999899</cx:pt>
          <cx:pt idx="267">3.42171</cx:pt>
          <cx:pt idx="268">8.1120000000000001</cx:pt>
          <cx:pt idx="269">14.784220000000001</cx:pt>
          <cx:pt idx="270">12.319199999999899</cx:pt>
          <cx:pt idx="271">6.14175</cx:pt>
          <cx:pt idx="272">6.1616999999999997</cx:pt>
          <cx:pt idx="273">6.14175</cx:pt>
          <cx:pt idx="274">6.2842499999999992</cx:pt>
          <cx:pt idx="275">11.4696</cx:pt>
          <cx:pt idx="276">11.4696</cx:pt>
          <cx:pt idx="277">9.722999999999999</cx:pt>
          <cx:pt idx="278">10.6952999999999</cx:pt>
          <cx:pt idx="279">5.5061999999999998</cx:pt>
          <cx:pt idx="280">6.2927999999999997</cx:pt>
          <cx:pt idx="281">14.472579999999999</cx:pt>
          <cx:pt idx="282">6.9552600000000009</cx:pt>
          <cx:pt idx="283">10.6952999999999</cx:pt>
          <cx:pt idx="284">5.5061999999999998</cx:pt>
          <cx:pt idx="285">10.6952999999999</cx:pt>
          <cx:pt idx="286">10.6952999999999</cx:pt>
          <cx:pt idx="287">3.08962</cx:pt>
          <cx:pt idx="288">5.63729999999999</cx:pt>
          <cx:pt idx="289">10.6952999999999</cx:pt>
          <cx:pt idx="290">10.6952999999999</cx:pt>
          <cx:pt idx="291">5.5061999999999998</cx:pt>
          <cx:pt idx="292">9.8619000000000003</cx:pt>
          <cx:pt idx="293">10.92234</cx:pt>
          <cx:pt idx="294">10.0008</cx:pt>
          <cx:pt idx="295">10.139699999999999</cx:pt>
          <cx:pt idx="296">7.7063999999999995</cx:pt>
          <cx:pt idx="297">12.319199999999899</cx:pt>
          <cx:pt idx="298">5.5061999999999998</cx:pt>
          <cx:pt idx="299">7.9767999999999892</cx:pt>
          <cx:pt idx="300">7.1655999999999995</cx:pt>
          <cx:pt idx="301">10.6952999999999</cx:pt>
          <cx:pt idx="302">10.6952999999999</cx:pt>
          <cx:pt idx="303">5.63729999999999</cx:pt>
          <cx:pt idx="304">10.292490000000001</cx:pt>
          <cx:pt idx="305">17.24098</cx:pt>
          <cx:pt idx="306">12.01178</cx:pt>
          <cx:pt idx="307">5.4309900000000004</cx:pt>
          <cx:pt idx="308">10.834199999999999</cx:pt>
          <cx:pt idx="309">5.4309900000000004</cx:pt>
          <cx:pt idx="310">4.4751199999999898</cx:pt>
          <cx:pt idx="311">43.2607</cx:pt>
          <cx:pt idx="312">10.92234</cx:pt>
          <cx:pt idx="313">10.92234</cx:pt>
          <cx:pt idx="314">10.973099999999999</cx:pt>
          <cx:pt idx="315">6.03059999999999</cx:pt>
          <cx:pt idx="316">4.7433999999999994</cx:pt>
          <cx:pt idx="317">13.109999999999999</cx:pt>
          <cx:pt idx="318">2.1922199999999998</cx:pt>
          <cx:pt idx="319">10.92234</cx:pt>
          <cx:pt idx="320">5.0126199999999894</cx:pt>
          <cx:pt idx="321">11.4696</cx:pt>
          <cx:pt idx="322">12.460799999999999</cx:pt>
          <cx:pt idx="323">10.973099999999999</cx:pt>
          <cx:pt idx="324">10.92234</cx:pt>
          <cx:pt idx="325">10.973099999999999</cx:pt>
          <cx:pt idx="326">3.08962</cx:pt>
          <cx:pt idx="327">10.92234</cx:pt>
          <cx:pt idx="328">7.7063999999999995</cx:pt>
          <cx:pt idx="329">5.4309900000000004</cx:pt>
          <cx:pt idx="330">18.794359999999998</cx:pt>
          <cx:pt idx="331">4.7433999999999994</cx:pt>
          <cx:pt idx="332">11.704180000000001</cx:pt>
          <cx:pt idx="333">10.292490000000001</cx:pt>
          <cx:pt idx="334">7.5712000000000002</cx:pt>
          <cx:pt idx="335">11.704180000000001</cx:pt>
          <cx:pt idx="336">13.5924</cx:pt>
          <cx:pt idx="337">6.03059999999999</cx:pt>
          <cx:pt idx="338">17.840799999999902</cx:pt>
          <cx:pt idx="339">14.16498</cx:pt>
          <cx:pt idx="340">11.704180000000001</cx:pt>
          <cx:pt idx="341">11.328000000000001</cx:pt>
          <cx:pt idx="342">12.177599999999899</cx:pt>
          <cx:pt idx="343">5.5061999999999998</cx:pt>
          <cx:pt idx="344">36.032670000000003</cx:pt>
          <cx:pt idx="345">3.49986000000002</cx:pt>
          <cx:pt idx="346">5.89949999999999</cx:pt>
          <cx:pt idx="347">10.6952999999999</cx:pt>
          <cx:pt idx="348">14.0261999999999</cx:pt>
          <cx:pt idx="349">10.92234</cx:pt>
          <cx:pt idx="350">6.03059999999999</cx:pt>
          <cx:pt idx="351">35.495269999999898</cx:pt>
          <cx:pt idx="352">10.7091899999999</cx:pt>
          <cx:pt idx="353">9.8757900000000003</cx:pt>
          <cx:pt idx="354">18.163779999999999</cx:pt>
          <cx:pt idx="355">10.92234</cx:pt>
          <cx:pt idx="356">11.85798</cx:pt>
          <cx:pt idx="357">15.04954</cx:pt>
          <cx:pt idx="358">3.5895999999999999</cx:pt>
          <cx:pt idx="359">8.9232000000000014</cx:pt>
          <cx:pt idx="360">10.01469</cx:pt>
          <cx:pt idx="361">17.0718</cx:pt>
          <cx:pt idx="362">3.68391</cx:pt>
          <cx:pt idx="363">10.92234</cx:pt>
          <cx:pt idx="364">10.92234</cx:pt>
          <cx:pt idx="365">11.752799999999999</cx:pt>
          <cx:pt idx="366">9.0583999999999989</cx:pt>
          <cx:pt idx="367">13.1242499999999</cx:pt>
          <cx:pt idx="368">5.7815099999999902</cx:pt>
          <cx:pt idx="369">5.4309900000000004</cx:pt>
          <cx:pt idx="370">4.3716200000000001</cx:pt>
          <cx:pt idx="371">7.8415999999999997</cx:pt>
          <cx:pt idx="372">11.85798</cx:pt>
          <cx:pt idx="373">15.491739999999901</cx:pt>
          <cx:pt idx="374">4.9998000000000005</cx:pt>
          <cx:pt idx="375">47.049369999999705</cx:pt>
          <cx:pt idx="376">4.7433999999999994</cx:pt>
          <cx:pt idx="377">36.032670000000003</cx:pt>
          <cx:pt idx="378">12.473180000000001</cx:pt>
          <cx:pt idx="379">3.81501</cx:pt>
          <cx:pt idx="380">38.988370000000003</cx:pt>
          <cx:pt idx="381">10.92234</cx:pt>
          <cx:pt idx="382">14.472579999999999</cx:pt>
          <cx:pt idx="383">3.08962</cx:pt>
          <cx:pt idx="384">10.92234</cx:pt>
          <cx:pt idx="385">6.4370099999999999</cx:pt>
          <cx:pt idx="386">14.63682</cx:pt>
          <cx:pt idx="387">17.24098</cx:pt>
          <cx:pt idx="388">4.6151999999999997</cx:pt>
          <cx:pt idx="389">5.0126199999999894</cx:pt>
          <cx:pt idx="390">7.1655999999999995</cx:pt>
          <cx:pt idx="391">5.1408199999999997</cx:pt>
          <cx:pt idx="392">5.4309900000000004</cx:pt>
          <cx:pt idx="393">35.495269999999898</cx:pt>
          <cx:pt idx="394">44.362369999999999</cx:pt>
          <cx:pt idx="395">10.92234</cx:pt>
          <cx:pt idx="396">5.7683999999999997</cx:pt>
          <cx:pt idx="397">11.894399999999999</cx:pt>
          <cx:pt idx="398">7.8415999999999997</cx:pt>
          <cx:pt idx="399">15.639140000000001</cx:pt>
          <cx:pt idx="400">13.1242499999999</cx:pt>
          <cx:pt idx="401">5.8197600000000005</cx:pt>
          <cx:pt idx="402">3.81501</cx:pt>
          <cx:pt idx="403">4.2434199999999995</cx:pt>
          <cx:pt idx="404">17.24098</cx:pt>
          <cx:pt idx="405">10.92234</cx:pt>
          <cx:pt idx="406">5.89949999999999</cx:pt>
          <cx:pt idx="407">2.1922199999999998</cx:pt>
          <cx:pt idx="408">15.04954</cx:pt>
          <cx:pt idx="409">2.5639999999999898</cx:pt>
          <cx:pt idx="410">2.5768200000000001</cx:pt>
          <cx:pt idx="411">3.7178000000000004</cx:pt>
          <cx:pt idx="412">5.8197600000000005</cx:pt>
          <cx:pt idx="413">14.0406599999999</cx:pt>
          <cx:pt idx="414">6.9552600000000009</cx:pt>
          <cx:pt idx="415">13.896059999999899</cx:pt>
          <cx:pt idx="416">12.967500000000001</cx:pt>
          <cx:pt idx="417">9.44834</cx:pt>
          <cx:pt idx="418">15.04954</cx:pt>
          <cx:pt idx="419">4.8715999999999999</cx:pt>
          <cx:pt idx="420">3.81501</cx:pt>
          <cx:pt idx="421">15.04954</cx:pt>
          <cx:pt idx="422">3.8588200000000001</cx:pt>
          <cx:pt idx="423">39.525770000000001</cx:pt>
        </cx:lvl>
      </cx:numDim>
    </cx:data>
  </cx:chartData>
  <cx:chart>
    <cx:plotArea>
      <cx:plotAreaRegion>
        <cx:series layoutId="boxWhisker" uniqueId="{53FA5222-3022-45C6-891C-9E13DBDB81EB}">
          <cx:tx>
            <cx:txData>
              <cx:f>DEATCH_Region_Box_Plots!$D$1</cx:f>
              <cx:v>Global Accounts</cx:v>
            </cx:txData>
          </cx:tx>
          <cx:spPr>
            <a:ln w="28575"/>
          </cx:spPr>
          <cx:dataId val="0"/>
          <cx:layoutPr>
            <cx:visibility meanLine="1" meanMarker="1" nonoutliers="0" outliers="1"/>
            <cx:statistics quartileMethod="exclusive"/>
          </cx:layoutPr>
        </cx:series>
        <cx:series layoutId="boxWhisker" uniqueId="{760EAAB2-6FFE-4CBA-BA04-493B10F7C77D}">
          <cx:tx>
            <cx:txData>
              <cx:f>DEATCH_Region_Box_Plots!$E$1</cx:f>
              <cx:v>A</cx:v>
            </cx:txData>
          </cx:tx>
          <cx:spPr>
            <a:ln w="28575"/>
          </cx:spPr>
          <cx:dataId val="1"/>
          <cx:layoutPr>
            <cx:visibility meanLine="1" meanMarker="1" nonoutliers="0" outliers="1"/>
            <cx:statistics quartileMethod="exclusive"/>
          </cx:layoutPr>
        </cx:series>
        <cx:series layoutId="boxWhisker" uniqueId="{1FA3E43E-F753-4920-9C57-874ACB8E57A2}">
          <cx:tx>
            <cx:txData>
              <cx:f>DEATCH_Region_Box_Plots!$F$1</cx:f>
              <cx:v>B1</cx:v>
            </cx:txData>
          </cx:tx>
          <cx:spPr>
            <a:ln w="28575"/>
          </cx:spPr>
          <cx:dataId val="2"/>
          <cx:layoutPr>
            <cx:visibility meanLine="1" meanMarker="1" nonoutliers="0" outliers="1"/>
            <cx:statistics quartileMethod="exclusive"/>
          </cx:layoutPr>
        </cx:series>
        <cx:series layoutId="boxWhisker" uniqueId="{731F24FD-1217-4EE3-A2A5-EE964546664A}">
          <cx:tx>
            <cx:txData>
              <cx:f>DEATCH_Region_Box_Plots!$G$1</cx:f>
              <cx:v>B2</cx:v>
            </cx:txData>
          </cx:tx>
          <cx:spPr>
            <a:solidFill>
              <a:schemeClr val="accent6"/>
            </a:solidFill>
            <a:ln w="28575">
              <a:solidFill>
                <a:srgbClr val="009A6E"/>
              </a:solidFill>
            </a:ln>
          </cx:spPr>
          <cx:dataId val="3"/>
          <cx:layoutPr>
            <cx:visibility meanLine="1" meanMarker="1" nonoutliers="0" outliers="1"/>
            <cx:statistics quartileMethod="exclusive"/>
          </cx:layoutPr>
        </cx:series>
        <cx:series layoutId="boxWhisker" uniqueId="{D556A43A-E72B-4A88-AAA1-DB45DB282376}">
          <cx:tx>
            <cx:txData>
              <cx:f>DEATCH_Region_Box_Plots!$H$1</cx:f>
              <cx:v>B3</cx:v>
            </cx:txData>
          </cx:tx>
          <cx:spPr>
            <a:solidFill>
              <a:schemeClr val="accent3">
                <a:lumMod val="50000"/>
              </a:schemeClr>
            </a:solidFill>
            <a:ln w="28575">
              <a:solidFill>
                <a:srgbClr val="21012D"/>
              </a:solidFill>
            </a:ln>
          </cx:spPr>
          <cx:dataId val="4"/>
          <cx:layoutPr>
            <cx:visibility meanLine="1" meanMarker="1" nonoutliers="0" outliers="1"/>
            <cx:statistics quartileMethod="exclusive"/>
          </cx:layoutPr>
        </cx:series>
        <cx:series layoutId="boxWhisker" uniqueId="{C17E2DE6-0FBC-4F2E-9A1B-562AD4A98A76}">
          <cx:tx>
            <cx:txData>
              <cx:f>DEATCH_Region_Box_Plots!$I$1</cx:f>
              <cx:v>C</cx:v>
            </cx:txData>
          </cx:tx>
          <cx:spPr>
            <a:solidFill>
              <a:schemeClr val="accent6">
                <a:lumMod val="50000"/>
              </a:schemeClr>
            </a:solidFill>
            <a:ln w="28575">
              <a:solidFill>
                <a:srgbClr val="003E2B"/>
              </a:solidFill>
            </a:ln>
          </cx:spPr>
          <cx:dataId val="5"/>
          <cx:layoutPr>
            <cx:visibility meanLine="1" meanMarker="1" nonoutliers="0" outliers="1"/>
            <cx:statistics quartileMethod="exclusive"/>
          </cx:layoutPr>
        </cx:series>
        <cx:series layoutId="boxWhisker" uniqueId="{15F0B592-6737-4C63-B8F6-DFC9D77D9FB2}">
          <cx:tx>
            <cx:txData>
              <cx:f>DEATCH_Region_Box_Plots!$J$1</cx:f>
              <cx:v>D</cx:v>
            </cx:txData>
          </cx:tx>
          <cx:spPr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rgbClr val="009FDE"/>
              </a:solidFill>
            </a:ln>
          </cx:spPr>
          <cx:dataId val="6"/>
          <cx:layoutPr>
            <cx:visibility meanLine="1" meanMarker="1" nonoutliers="0" outliers="1"/>
            <cx:statistics quartileMethod="exclusive"/>
          </cx:layoutPr>
        </cx:series>
      </cx:plotAreaRegion>
      <cx:axis id="0" hidden="1">
        <cx:catScaling gapWidth="0"/>
        <cx:tickLabels/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50" b="1"/>
            </a:pPr>
            <a:endParaRPr lang="en-US" sz="1050" b="1" i="0" u="none" strike="noStrike" baseline="0">
              <a:solidFill>
                <a:prstClr val="black">
                  <a:lumMod val="65000"/>
                  <a:lumOff val="35000"/>
                </a:prstClr>
              </a:solidFill>
              <a:latin typeface="PayPal Sans Big Light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7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7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7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7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1-10-11T09:13:46.276" idx="1">
    <p:pos x="7467" y="1446"/>
    <p:text>[@Jay Kulkarni] - Please review this version and let me know in case it requires further updates</p:text>
    <p:extLst>
      <p:ext uri="{C676402C-5697-4E1C-873F-D02D1690AC5C}">
        <p15:threadingInfo xmlns:p15="http://schemas.microsoft.com/office/powerpoint/2012/main" timeZoneBias="-33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FDF1E3-9FDB-604C-B440-8795FB152118}" type="doc">
      <dgm:prSet loTypeId="urn:microsoft.com/office/officeart/2005/8/layout/cycle4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9D95E08-F924-F842-8375-D6289E257444}">
      <dgm:prSet phldrT="[Text]"/>
      <dgm:spPr/>
      <dgm:t>
        <a:bodyPr/>
        <a:lstStyle/>
        <a:p>
          <a:r>
            <a:rPr lang="en-US"/>
            <a:t>Business Operations</a:t>
          </a:r>
        </a:p>
      </dgm:t>
    </dgm:pt>
    <dgm:pt modelId="{3F85E42A-89A9-F845-910A-C8EA12C4EA06}" type="parTrans" cxnId="{EB364300-97DF-DB4B-9263-961D4B43C8A7}">
      <dgm:prSet/>
      <dgm:spPr/>
      <dgm:t>
        <a:bodyPr/>
        <a:lstStyle/>
        <a:p>
          <a:endParaRPr lang="en-US"/>
        </a:p>
      </dgm:t>
    </dgm:pt>
    <dgm:pt modelId="{971F5438-6991-AE4B-A547-41244A4BC576}" type="sibTrans" cxnId="{EB364300-97DF-DB4B-9263-961D4B43C8A7}">
      <dgm:prSet/>
      <dgm:spPr/>
      <dgm:t>
        <a:bodyPr/>
        <a:lstStyle/>
        <a:p>
          <a:endParaRPr lang="en-US"/>
        </a:p>
      </dgm:t>
    </dgm:pt>
    <dgm:pt modelId="{E508F3A0-6707-D043-B5F1-F189FB80563F}">
      <dgm:prSet phldrT="[Text]"/>
      <dgm:spPr/>
      <dgm:t>
        <a:bodyPr/>
        <a:lstStyle/>
        <a:p>
          <a:r>
            <a:rPr lang="en-US"/>
            <a:t>Observe movements in portfolio complexity before/after segmentation</a:t>
          </a:r>
        </a:p>
      </dgm:t>
    </dgm:pt>
    <dgm:pt modelId="{B55476C1-FF11-4E41-8D27-B93D35E76717}" type="parTrans" cxnId="{3FBB9377-9AEB-FA40-B5CA-F96EF0AD86D2}">
      <dgm:prSet/>
      <dgm:spPr/>
      <dgm:t>
        <a:bodyPr/>
        <a:lstStyle/>
        <a:p>
          <a:endParaRPr lang="en-US"/>
        </a:p>
      </dgm:t>
    </dgm:pt>
    <dgm:pt modelId="{ECB2DB5B-52B7-FA49-BD46-9B83B8101F75}" type="sibTrans" cxnId="{3FBB9377-9AEB-FA40-B5CA-F96EF0AD86D2}">
      <dgm:prSet/>
      <dgm:spPr/>
      <dgm:t>
        <a:bodyPr/>
        <a:lstStyle/>
        <a:p>
          <a:endParaRPr lang="en-US"/>
        </a:p>
      </dgm:t>
    </dgm:pt>
    <dgm:pt modelId="{9FE6C347-749C-F041-B320-8AEE62E4321C}">
      <dgm:prSet phldrT="[Text]"/>
      <dgm:spPr/>
      <dgm:t>
        <a:bodyPr/>
        <a:lstStyle/>
        <a:p>
          <a:r>
            <a:rPr lang="en-US"/>
            <a:t>CSM Portfolio Allocation</a:t>
          </a:r>
        </a:p>
      </dgm:t>
    </dgm:pt>
    <dgm:pt modelId="{5D86B7CC-D28E-4A46-B3D9-FEC8C5AB24BB}" type="parTrans" cxnId="{673F546E-172C-904B-B12D-89F53EB71BC8}">
      <dgm:prSet/>
      <dgm:spPr/>
      <dgm:t>
        <a:bodyPr/>
        <a:lstStyle/>
        <a:p>
          <a:endParaRPr lang="en-US"/>
        </a:p>
      </dgm:t>
    </dgm:pt>
    <dgm:pt modelId="{650C2EEC-299E-1C45-9BCC-ADC77A63091A}" type="sibTrans" cxnId="{673F546E-172C-904B-B12D-89F53EB71BC8}">
      <dgm:prSet/>
      <dgm:spPr/>
      <dgm:t>
        <a:bodyPr/>
        <a:lstStyle/>
        <a:p>
          <a:endParaRPr lang="en-US"/>
        </a:p>
      </dgm:t>
    </dgm:pt>
    <dgm:pt modelId="{2DFD79A8-CE2A-8B42-9E60-8207CB17DACF}">
      <dgm:prSet phldrT="[Text]"/>
      <dgm:spPr/>
      <dgm:t>
        <a:bodyPr/>
        <a:lstStyle/>
        <a:p>
          <a:r>
            <a:rPr lang="en-US">
              <a:solidFill>
                <a:schemeClr val="tx1"/>
              </a:solidFill>
            </a:rPr>
            <a:t>Portfolio allocation of accounts to CSMs</a:t>
          </a:r>
        </a:p>
      </dgm:t>
    </dgm:pt>
    <dgm:pt modelId="{8B211B63-98ED-E541-9229-8FC01F65588F}" type="parTrans" cxnId="{15A31FF7-387C-9F46-80DB-FED6EC88B895}">
      <dgm:prSet/>
      <dgm:spPr/>
      <dgm:t>
        <a:bodyPr/>
        <a:lstStyle/>
        <a:p>
          <a:endParaRPr lang="en-US"/>
        </a:p>
      </dgm:t>
    </dgm:pt>
    <dgm:pt modelId="{029A861C-F650-674B-A3A0-BDE413989E0B}" type="sibTrans" cxnId="{15A31FF7-387C-9F46-80DB-FED6EC88B895}">
      <dgm:prSet/>
      <dgm:spPr/>
      <dgm:t>
        <a:bodyPr/>
        <a:lstStyle/>
        <a:p>
          <a:endParaRPr lang="en-US"/>
        </a:p>
      </dgm:t>
    </dgm:pt>
    <dgm:pt modelId="{B9B4ACBE-5E85-CA43-A4ED-A3E10076A274}">
      <dgm:prSet phldrT="[Text]"/>
      <dgm:spPr/>
      <dgm:t>
        <a:bodyPr/>
        <a:lstStyle/>
        <a:p>
          <a:r>
            <a:rPr lang="en-US"/>
            <a:t>Portfolio Prioritization</a:t>
          </a:r>
        </a:p>
      </dgm:t>
    </dgm:pt>
    <dgm:pt modelId="{092566A0-9412-834F-873B-0EB1D7A8509D}" type="parTrans" cxnId="{B50FB1AD-2DB9-614B-ADD1-CC185AE64ADF}">
      <dgm:prSet/>
      <dgm:spPr/>
      <dgm:t>
        <a:bodyPr/>
        <a:lstStyle/>
        <a:p>
          <a:endParaRPr lang="en-US"/>
        </a:p>
      </dgm:t>
    </dgm:pt>
    <dgm:pt modelId="{0C64EB39-495F-3545-88D7-5A338711DAE9}" type="sibTrans" cxnId="{B50FB1AD-2DB9-614B-ADD1-CC185AE64ADF}">
      <dgm:prSet/>
      <dgm:spPr/>
      <dgm:t>
        <a:bodyPr/>
        <a:lstStyle/>
        <a:p>
          <a:endParaRPr lang="en-US"/>
        </a:p>
      </dgm:t>
    </dgm:pt>
    <dgm:pt modelId="{E1515B04-558D-6842-AAC0-62BD3AE8D690}">
      <dgm:prSet phldrT="[Text]"/>
      <dgm:spPr/>
      <dgm:t>
        <a:bodyPr/>
        <a:lstStyle/>
        <a:p>
          <a:r>
            <a:rPr lang="en-US"/>
            <a:t>Capacity Planning</a:t>
          </a:r>
        </a:p>
      </dgm:t>
    </dgm:pt>
    <dgm:pt modelId="{F82B5AF0-41D1-BC44-B05B-A86EBE811260}" type="parTrans" cxnId="{881B4A4C-FCC5-5746-BB6F-02B9F3401E65}">
      <dgm:prSet/>
      <dgm:spPr/>
      <dgm:t>
        <a:bodyPr/>
        <a:lstStyle/>
        <a:p>
          <a:endParaRPr lang="en-US"/>
        </a:p>
      </dgm:t>
    </dgm:pt>
    <dgm:pt modelId="{8B00A7C7-F944-7A47-8FC4-343310FFAA2E}" type="sibTrans" cxnId="{881B4A4C-FCC5-5746-BB6F-02B9F3401E65}">
      <dgm:prSet/>
      <dgm:spPr/>
      <dgm:t>
        <a:bodyPr/>
        <a:lstStyle/>
        <a:p>
          <a:endParaRPr lang="en-US"/>
        </a:p>
      </dgm:t>
    </dgm:pt>
    <dgm:pt modelId="{D344FE34-6834-D344-8D64-692751635D3E}">
      <dgm:prSet phldrT="[Text]"/>
      <dgm:spPr/>
      <dgm:t>
        <a:bodyPr/>
        <a:lstStyle/>
        <a:p>
          <a:r>
            <a:rPr lang="en-US"/>
            <a:t>Required capacity across regions </a:t>
          </a:r>
        </a:p>
      </dgm:t>
    </dgm:pt>
    <dgm:pt modelId="{F02211DF-638C-6F40-A5AD-4873F72430B8}" type="parTrans" cxnId="{2A3E0FCA-4F0B-2247-886E-3F26E0A17D1B}">
      <dgm:prSet/>
      <dgm:spPr/>
      <dgm:t>
        <a:bodyPr/>
        <a:lstStyle/>
        <a:p>
          <a:endParaRPr lang="en-US"/>
        </a:p>
      </dgm:t>
    </dgm:pt>
    <dgm:pt modelId="{D10D3994-122E-F542-B201-064F71437206}" type="sibTrans" cxnId="{2A3E0FCA-4F0B-2247-886E-3F26E0A17D1B}">
      <dgm:prSet/>
      <dgm:spPr/>
      <dgm:t>
        <a:bodyPr/>
        <a:lstStyle/>
        <a:p>
          <a:endParaRPr lang="en-US"/>
        </a:p>
      </dgm:t>
    </dgm:pt>
    <dgm:pt modelId="{CB2CE329-4EA2-4FC2-95D3-E82C433CBD57}">
      <dgm:prSet phldrT="[Text]"/>
      <dgm:spPr/>
      <dgm:t>
        <a:bodyPr/>
        <a:lstStyle/>
        <a:p>
          <a:r>
            <a:rPr lang="en-US"/>
            <a:t>Optimization of revenue under management</a:t>
          </a:r>
        </a:p>
      </dgm:t>
    </dgm:pt>
    <dgm:pt modelId="{EE19C44C-A128-426E-9D38-3B040680975E}" type="parTrans" cxnId="{22D8312D-5E47-48BE-9786-017AAA76726D}">
      <dgm:prSet/>
      <dgm:spPr/>
      <dgm:t>
        <a:bodyPr/>
        <a:lstStyle/>
        <a:p>
          <a:endParaRPr lang="en-US"/>
        </a:p>
      </dgm:t>
    </dgm:pt>
    <dgm:pt modelId="{7EC23296-9FC3-45AF-881C-5A7C967A8B72}" type="sibTrans" cxnId="{22D8312D-5E47-48BE-9786-017AAA76726D}">
      <dgm:prSet/>
      <dgm:spPr/>
      <dgm:t>
        <a:bodyPr/>
        <a:lstStyle/>
        <a:p>
          <a:endParaRPr lang="en-US"/>
        </a:p>
      </dgm:t>
    </dgm:pt>
    <dgm:pt modelId="{B54D17D3-116A-429F-A8C7-D660271880EC}">
      <dgm:prSet phldrT="[Text]"/>
      <dgm:spPr/>
      <dgm:t>
        <a:bodyPr/>
        <a:lstStyle/>
        <a:p>
          <a:r>
            <a:rPr lang="en-US"/>
            <a:t>Prioritize high-value and more complex accounts for servicing</a:t>
          </a:r>
        </a:p>
      </dgm:t>
    </dgm:pt>
    <dgm:pt modelId="{361F8BC2-BA27-41A5-B71F-E65615426D44}" type="parTrans" cxnId="{42EA2A61-B5B0-44CC-9EDD-FB4C37A614B0}">
      <dgm:prSet/>
      <dgm:spPr/>
      <dgm:t>
        <a:bodyPr/>
        <a:lstStyle/>
        <a:p>
          <a:endParaRPr lang="en-US"/>
        </a:p>
      </dgm:t>
    </dgm:pt>
    <dgm:pt modelId="{DBD0C23C-D432-4920-82FB-8103BC888230}" type="sibTrans" cxnId="{42EA2A61-B5B0-44CC-9EDD-FB4C37A614B0}">
      <dgm:prSet/>
      <dgm:spPr/>
      <dgm:t>
        <a:bodyPr/>
        <a:lstStyle/>
        <a:p>
          <a:endParaRPr lang="en-US"/>
        </a:p>
      </dgm:t>
    </dgm:pt>
    <dgm:pt modelId="{4C267F08-E23C-2243-AC23-C58A898BE02B}" type="pres">
      <dgm:prSet presAssocID="{8DFDF1E3-9FDB-604C-B440-8795FB152118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8A2CC440-7D75-4C45-B5FE-260D016893A2}" type="pres">
      <dgm:prSet presAssocID="{8DFDF1E3-9FDB-604C-B440-8795FB152118}" presName="children" presStyleCnt="0"/>
      <dgm:spPr/>
    </dgm:pt>
    <dgm:pt modelId="{344055B0-1375-C047-8368-2B86BEC822D7}" type="pres">
      <dgm:prSet presAssocID="{8DFDF1E3-9FDB-604C-B440-8795FB152118}" presName="child1group" presStyleCnt="0"/>
      <dgm:spPr/>
    </dgm:pt>
    <dgm:pt modelId="{6EF244D3-569D-F243-8CB6-1F329845958D}" type="pres">
      <dgm:prSet presAssocID="{8DFDF1E3-9FDB-604C-B440-8795FB152118}" presName="child1" presStyleLbl="bgAcc1" presStyleIdx="0" presStyleCnt="4"/>
      <dgm:spPr/>
    </dgm:pt>
    <dgm:pt modelId="{1051DA45-2F51-874C-A91B-5611DE41559C}" type="pres">
      <dgm:prSet presAssocID="{8DFDF1E3-9FDB-604C-B440-8795FB152118}" presName="child1Text" presStyleLbl="bgAcc1" presStyleIdx="0" presStyleCnt="4">
        <dgm:presLayoutVars>
          <dgm:bulletEnabled val="1"/>
        </dgm:presLayoutVars>
      </dgm:prSet>
      <dgm:spPr/>
    </dgm:pt>
    <dgm:pt modelId="{E5FB1E9E-671F-FF42-AE20-B1148F4A0326}" type="pres">
      <dgm:prSet presAssocID="{8DFDF1E3-9FDB-604C-B440-8795FB152118}" presName="child2group" presStyleCnt="0"/>
      <dgm:spPr/>
    </dgm:pt>
    <dgm:pt modelId="{02A0E7A5-7649-634C-AE93-D428F52269AE}" type="pres">
      <dgm:prSet presAssocID="{8DFDF1E3-9FDB-604C-B440-8795FB152118}" presName="child2" presStyleLbl="bgAcc1" presStyleIdx="1" presStyleCnt="4"/>
      <dgm:spPr/>
    </dgm:pt>
    <dgm:pt modelId="{C69CE6A8-99AD-D949-9C10-96882342D19F}" type="pres">
      <dgm:prSet presAssocID="{8DFDF1E3-9FDB-604C-B440-8795FB152118}" presName="child2Text" presStyleLbl="bgAcc1" presStyleIdx="1" presStyleCnt="4">
        <dgm:presLayoutVars>
          <dgm:bulletEnabled val="1"/>
        </dgm:presLayoutVars>
      </dgm:prSet>
      <dgm:spPr/>
    </dgm:pt>
    <dgm:pt modelId="{3F922861-39AA-F945-AD48-D533E304BA6A}" type="pres">
      <dgm:prSet presAssocID="{8DFDF1E3-9FDB-604C-B440-8795FB152118}" presName="child3group" presStyleCnt="0"/>
      <dgm:spPr/>
    </dgm:pt>
    <dgm:pt modelId="{4D688878-0DF1-9E47-A5F1-8A80A125E63D}" type="pres">
      <dgm:prSet presAssocID="{8DFDF1E3-9FDB-604C-B440-8795FB152118}" presName="child3" presStyleLbl="bgAcc1" presStyleIdx="2" presStyleCnt="4" custLinFactNeighborX="5604" custLinFactNeighborY="206"/>
      <dgm:spPr/>
    </dgm:pt>
    <dgm:pt modelId="{8CF1493D-A9E7-B042-AAFA-10591DB08C85}" type="pres">
      <dgm:prSet presAssocID="{8DFDF1E3-9FDB-604C-B440-8795FB152118}" presName="child3Text" presStyleLbl="bgAcc1" presStyleIdx="2" presStyleCnt="4">
        <dgm:presLayoutVars>
          <dgm:bulletEnabled val="1"/>
        </dgm:presLayoutVars>
      </dgm:prSet>
      <dgm:spPr/>
    </dgm:pt>
    <dgm:pt modelId="{269EF856-0D1E-A04E-B020-8B41FF018824}" type="pres">
      <dgm:prSet presAssocID="{8DFDF1E3-9FDB-604C-B440-8795FB152118}" presName="child4group" presStyleCnt="0"/>
      <dgm:spPr/>
    </dgm:pt>
    <dgm:pt modelId="{353D9C0F-6084-3A49-B924-9703EEDF8873}" type="pres">
      <dgm:prSet presAssocID="{8DFDF1E3-9FDB-604C-B440-8795FB152118}" presName="child4" presStyleLbl="bgAcc1" presStyleIdx="3" presStyleCnt="4"/>
      <dgm:spPr/>
    </dgm:pt>
    <dgm:pt modelId="{1E0EBC01-14D3-1A42-BDEB-1FEC1D8023A7}" type="pres">
      <dgm:prSet presAssocID="{8DFDF1E3-9FDB-604C-B440-8795FB152118}" presName="child4Text" presStyleLbl="bgAcc1" presStyleIdx="3" presStyleCnt="4">
        <dgm:presLayoutVars>
          <dgm:bulletEnabled val="1"/>
        </dgm:presLayoutVars>
      </dgm:prSet>
      <dgm:spPr/>
    </dgm:pt>
    <dgm:pt modelId="{BB27ACE8-2A3F-E543-A2C4-1A20B20BA0FE}" type="pres">
      <dgm:prSet presAssocID="{8DFDF1E3-9FDB-604C-B440-8795FB152118}" presName="childPlaceholder" presStyleCnt="0"/>
      <dgm:spPr/>
    </dgm:pt>
    <dgm:pt modelId="{CA6B7EBB-B386-2644-8742-86A65385A165}" type="pres">
      <dgm:prSet presAssocID="{8DFDF1E3-9FDB-604C-B440-8795FB152118}" presName="circle" presStyleCnt="0"/>
      <dgm:spPr/>
    </dgm:pt>
    <dgm:pt modelId="{23218660-E62C-B642-8347-DA9B347385EE}" type="pres">
      <dgm:prSet presAssocID="{8DFDF1E3-9FDB-604C-B440-8795FB152118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2D3DFE6E-F421-C042-BF62-736DAD3F926F}" type="pres">
      <dgm:prSet presAssocID="{8DFDF1E3-9FDB-604C-B440-8795FB152118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A9E4F73C-2FEF-9C49-AA83-E3A22B538383}" type="pres">
      <dgm:prSet presAssocID="{8DFDF1E3-9FDB-604C-B440-8795FB152118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3C0D4A66-B705-7542-8CE0-E65F77B68EDE}" type="pres">
      <dgm:prSet presAssocID="{8DFDF1E3-9FDB-604C-B440-8795FB152118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BB302383-59EA-2B44-A458-D7BFD2E7455B}" type="pres">
      <dgm:prSet presAssocID="{8DFDF1E3-9FDB-604C-B440-8795FB152118}" presName="quadrantPlaceholder" presStyleCnt="0"/>
      <dgm:spPr/>
    </dgm:pt>
    <dgm:pt modelId="{C0F6448B-8AE4-B74E-B5C5-545203469DF7}" type="pres">
      <dgm:prSet presAssocID="{8DFDF1E3-9FDB-604C-B440-8795FB152118}" presName="center1" presStyleLbl="fgShp" presStyleIdx="0" presStyleCnt="2"/>
      <dgm:spPr/>
    </dgm:pt>
    <dgm:pt modelId="{BFEAD95E-B95B-6B41-9EEE-69FF1ADE6E13}" type="pres">
      <dgm:prSet presAssocID="{8DFDF1E3-9FDB-604C-B440-8795FB152118}" presName="center2" presStyleLbl="fgShp" presStyleIdx="1" presStyleCnt="2"/>
      <dgm:spPr/>
    </dgm:pt>
  </dgm:ptLst>
  <dgm:cxnLst>
    <dgm:cxn modelId="{EB364300-97DF-DB4B-9263-961D4B43C8A7}" srcId="{8DFDF1E3-9FDB-604C-B440-8795FB152118}" destId="{09D95E08-F924-F842-8375-D6289E257444}" srcOrd="0" destOrd="0" parTransId="{3F85E42A-89A9-F845-910A-C8EA12C4EA06}" sibTransId="{971F5438-6991-AE4B-A547-41244A4BC576}"/>
    <dgm:cxn modelId="{EEB0CC08-71EB-FA46-91EC-6F947139596A}" type="presOf" srcId="{09D95E08-F924-F842-8375-D6289E257444}" destId="{23218660-E62C-B642-8347-DA9B347385EE}" srcOrd="0" destOrd="0" presId="urn:microsoft.com/office/officeart/2005/8/layout/cycle4"/>
    <dgm:cxn modelId="{BE408828-1789-224F-9578-3F1A3299FB97}" type="presOf" srcId="{D344FE34-6834-D344-8D64-692751635D3E}" destId="{353D9C0F-6084-3A49-B924-9703EEDF8873}" srcOrd="0" destOrd="0" presId="urn:microsoft.com/office/officeart/2005/8/layout/cycle4"/>
    <dgm:cxn modelId="{22D8312D-5E47-48BE-9786-017AAA76726D}" srcId="{9FE6C347-749C-F041-B320-8AEE62E4321C}" destId="{CB2CE329-4EA2-4FC2-95D3-E82C433CBD57}" srcOrd="1" destOrd="0" parTransId="{EE19C44C-A128-426E-9D38-3B040680975E}" sibTransId="{7EC23296-9FC3-45AF-881C-5A7C967A8B72}"/>
    <dgm:cxn modelId="{42EA2A61-B5B0-44CC-9EDD-FB4C37A614B0}" srcId="{B9B4ACBE-5E85-CA43-A4ED-A3E10076A274}" destId="{B54D17D3-116A-429F-A8C7-D660271880EC}" srcOrd="0" destOrd="0" parTransId="{361F8BC2-BA27-41A5-B71F-E65615426D44}" sibTransId="{DBD0C23C-D432-4920-82FB-8103BC888230}"/>
    <dgm:cxn modelId="{90ECC242-7D13-004E-B06B-45E61B702D4E}" type="presOf" srcId="{E508F3A0-6707-D043-B5F1-F189FB80563F}" destId="{1051DA45-2F51-874C-A91B-5611DE41559C}" srcOrd="1" destOrd="0" presId="urn:microsoft.com/office/officeart/2005/8/layout/cycle4"/>
    <dgm:cxn modelId="{257A6F43-C97D-4759-BB77-1965C29BD86B}" type="presOf" srcId="{CB2CE329-4EA2-4FC2-95D3-E82C433CBD57}" destId="{02A0E7A5-7649-634C-AE93-D428F52269AE}" srcOrd="0" destOrd="1" presId="urn:microsoft.com/office/officeart/2005/8/layout/cycle4"/>
    <dgm:cxn modelId="{1E342747-49D5-F34F-9F44-69CF3E0F6308}" type="presOf" srcId="{B9B4ACBE-5E85-CA43-A4ED-A3E10076A274}" destId="{A9E4F73C-2FEF-9C49-AA83-E3A22B538383}" srcOrd="0" destOrd="0" presId="urn:microsoft.com/office/officeart/2005/8/layout/cycle4"/>
    <dgm:cxn modelId="{881B4A4C-FCC5-5746-BB6F-02B9F3401E65}" srcId="{8DFDF1E3-9FDB-604C-B440-8795FB152118}" destId="{E1515B04-558D-6842-AAC0-62BD3AE8D690}" srcOrd="3" destOrd="0" parTransId="{F82B5AF0-41D1-BC44-B05B-A86EBE811260}" sibTransId="{8B00A7C7-F944-7A47-8FC4-343310FFAA2E}"/>
    <dgm:cxn modelId="{673F546E-172C-904B-B12D-89F53EB71BC8}" srcId="{8DFDF1E3-9FDB-604C-B440-8795FB152118}" destId="{9FE6C347-749C-F041-B320-8AEE62E4321C}" srcOrd="1" destOrd="0" parTransId="{5D86B7CC-D28E-4A46-B3D9-FEC8C5AB24BB}" sibTransId="{650C2EEC-299E-1C45-9BCC-ADC77A63091A}"/>
    <dgm:cxn modelId="{99CB8F54-177F-D243-928B-2DFAF42894A3}" type="presOf" srcId="{2DFD79A8-CE2A-8B42-9E60-8207CB17DACF}" destId="{02A0E7A5-7649-634C-AE93-D428F52269AE}" srcOrd="0" destOrd="0" presId="urn:microsoft.com/office/officeart/2005/8/layout/cycle4"/>
    <dgm:cxn modelId="{3FBB9377-9AEB-FA40-B5CA-F96EF0AD86D2}" srcId="{09D95E08-F924-F842-8375-D6289E257444}" destId="{E508F3A0-6707-D043-B5F1-F189FB80563F}" srcOrd="0" destOrd="0" parTransId="{B55476C1-FF11-4E41-8D27-B93D35E76717}" sibTransId="{ECB2DB5B-52B7-FA49-BD46-9B83B8101F75}"/>
    <dgm:cxn modelId="{44C7767B-796C-4B78-8F02-1C5C42662334}" type="presOf" srcId="{CB2CE329-4EA2-4FC2-95D3-E82C433CBD57}" destId="{C69CE6A8-99AD-D949-9C10-96882342D19F}" srcOrd="1" destOrd="1" presId="urn:microsoft.com/office/officeart/2005/8/layout/cycle4"/>
    <dgm:cxn modelId="{558CB88D-5A15-423A-B33D-C45921019F28}" type="presOf" srcId="{B54D17D3-116A-429F-A8C7-D660271880EC}" destId="{8CF1493D-A9E7-B042-AAFA-10591DB08C85}" srcOrd="1" destOrd="0" presId="urn:microsoft.com/office/officeart/2005/8/layout/cycle4"/>
    <dgm:cxn modelId="{0F0067A2-08B5-BB47-B701-E908771FB58B}" type="presOf" srcId="{2DFD79A8-CE2A-8B42-9E60-8207CB17DACF}" destId="{C69CE6A8-99AD-D949-9C10-96882342D19F}" srcOrd="1" destOrd="0" presId="urn:microsoft.com/office/officeart/2005/8/layout/cycle4"/>
    <dgm:cxn modelId="{48B1A5A8-C94C-479F-84C0-61A826D62A38}" type="presOf" srcId="{B54D17D3-116A-429F-A8C7-D660271880EC}" destId="{4D688878-0DF1-9E47-A5F1-8A80A125E63D}" srcOrd="0" destOrd="0" presId="urn:microsoft.com/office/officeart/2005/8/layout/cycle4"/>
    <dgm:cxn modelId="{144CC0AB-5835-494E-890C-65890C57A769}" type="presOf" srcId="{9FE6C347-749C-F041-B320-8AEE62E4321C}" destId="{2D3DFE6E-F421-C042-BF62-736DAD3F926F}" srcOrd="0" destOrd="0" presId="urn:microsoft.com/office/officeart/2005/8/layout/cycle4"/>
    <dgm:cxn modelId="{B50FB1AD-2DB9-614B-ADD1-CC185AE64ADF}" srcId="{8DFDF1E3-9FDB-604C-B440-8795FB152118}" destId="{B9B4ACBE-5E85-CA43-A4ED-A3E10076A274}" srcOrd="2" destOrd="0" parTransId="{092566A0-9412-834F-873B-0EB1D7A8509D}" sibTransId="{0C64EB39-495F-3545-88D7-5A338711DAE9}"/>
    <dgm:cxn modelId="{0A7FF5BA-F280-7F44-9E17-17B47D2E601A}" type="presOf" srcId="{D344FE34-6834-D344-8D64-692751635D3E}" destId="{1E0EBC01-14D3-1A42-BDEB-1FEC1D8023A7}" srcOrd="1" destOrd="0" presId="urn:microsoft.com/office/officeart/2005/8/layout/cycle4"/>
    <dgm:cxn modelId="{2A3E0FCA-4F0B-2247-886E-3F26E0A17D1B}" srcId="{E1515B04-558D-6842-AAC0-62BD3AE8D690}" destId="{D344FE34-6834-D344-8D64-692751635D3E}" srcOrd="0" destOrd="0" parTransId="{F02211DF-638C-6F40-A5AD-4873F72430B8}" sibTransId="{D10D3994-122E-F542-B201-064F71437206}"/>
    <dgm:cxn modelId="{52D208CD-ABE7-C541-8701-A1713F5A7217}" type="presOf" srcId="{E508F3A0-6707-D043-B5F1-F189FB80563F}" destId="{6EF244D3-569D-F243-8CB6-1F329845958D}" srcOrd="0" destOrd="0" presId="urn:microsoft.com/office/officeart/2005/8/layout/cycle4"/>
    <dgm:cxn modelId="{87D540CD-61BE-FF47-B4A4-F5A9449A4A11}" type="presOf" srcId="{E1515B04-558D-6842-AAC0-62BD3AE8D690}" destId="{3C0D4A66-B705-7542-8CE0-E65F77B68EDE}" srcOrd="0" destOrd="0" presId="urn:microsoft.com/office/officeart/2005/8/layout/cycle4"/>
    <dgm:cxn modelId="{794346EF-2BCE-9A48-A59D-E37272A11A14}" type="presOf" srcId="{8DFDF1E3-9FDB-604C-B440-8795FB152118}" destId="{4C267F08-E23C-2243-AC23-C58A898BE02B}" srcOrd="0" destOrd="0" presId="urn:microsoft.com/office/officeart/2005/8/layout/cycle4"/>
    <dgm:cxn modelId="{15A31FF7-387C-9F46-80DB-FED6EC88B895}" srcId="{9FE6C347-749C-F041-B320-8AEE62E4321C}" destId="{2DFD79A8-CE2A-8B42-9E60-8207CB17DACF}" srcOrd="0" destOrd="0" parTransId="{8B211B63-98ED-E541-9229-8FC01F65588F}" sibTransId="{029A861C-F650-674B-A3A0-BDE413989E0B}"/>
    <dgm:cxn modelId="{09C84E96-5098-0B47-9C15-C156202090C8}" type="presParOf" srcId="{4C267F08-E23C-2243-AC23-C58A898BE02B}" destId="{8A2CC440-7D75-4C45-B5FE-260D016893A2}" srcOrd="0" destOrd="0" presId="urn:microsoft.com/office/officeart/2005/8/layout/cycle4"/>
    <dgm:cxn modelId="{CD5F93EB-9351-1049-B7CE-84E77805BFE4}" type="presParOf" srcId="{8A2CC440-7D75-4C45-B5FE-260D016893A2}" destId="{344055B0-1375-C047-8368-2B86BEC822D7}" srcOrd="0" destOrd="0" presId="urn:microsoft.com/office/officeart/2005/8/layout/cycle4"/>
    <dgm:cxn modelId="{27530D22-B3F1-D74A-872E-F66DCC09F0D6}" type="presParOf" srcId="{344055B0-1375-C047-8368-2B86BEC822D7}" destId="{6EF244D3-569D-F243-8CB6-1F329845958D}" srcOrd="0" destOrd="0" presId="urn:microsoft.com/office/officeart/2005/8/layout/cycle4"/>
    <dgm:cxn modelId="{B705C7C2-7B17-EF4D-B8B3-2BEA286E40F5}" type="presParOf" srcId="{344055B0-1375-C047-8368-2B86BEC822D7}" destId="{1051DA45-2F51-874C-A91B-5611DE41559C}" srcOrd="1" destOrd="0" presId="urn:microsoft.com/office/officeart/2005/8/layout/cycle4"/>
    <dgm:cxn modelId="{5D116B32-737B-254E-8E0E-E97CA182A473}" type="presParOf" srcId="{8A2CC440-7D75-4C45-B5FE-260D016893A2}" destId="{E5FB1E9E-671F-FF42-AE20-B1148F4A0326}" srcOrd="1" destOrd="0" presId="urn:microsoft.com/office/officeart/2005/8/layout/cycle4"/>
    <dgm:cxn modelId="{D9316879-4554-8E4B-A117-B53447531D9C}" type="presParOf" srcId="{E5FB1E9E-671F-FF42-AE20-B1148F4A0326}" destId="{02A0E7A5-7649-634C-AE93-D428F52269AE}" srcOrd="0" destOrd="0" presId="urn:microsoft.com/office/officeart/2005/8/layout/cycle4"/>
    <dgm:cxn modelId="{74F9762E-37F5-5843-9C45-4EEA103373A8}" type="presParOf" srcId="{E5FB1E9E-671F-FF42-AE20-B1148F4A0326}" destId="{C69CE6A8-99AD-D949-9C10-96882342D19F}" srcOrd="1" destOrd="0" presId="urn:microsoft.com/office/officeart/2005/8/layout/cycle4"/>
    <dgm:cxn modelId="{BBF811DA-5F30-7E43-AD1A-B6B77FFD85CF}" type="presParOf" srcId="{8A2CC440-7D75-4C45-B5FE-260D016893A2}" destId="{3F922861-39AA-F945-AD48-D533E304BA6A}" srcOrd="2" destOrd="0" presId="urn:microsoft.com/office/officeart/2005/8/layout/cycle4"/>
    <dgm:cxn modelId="{6D92E9EA-A201-EE4B-A84F-B623F2462140}" type="presParOf" srcId="{3F922861-39AA-F945-AD48-D533E304BA6A}" destId="{4D688878-0DF1-9E47-A5F1-8A80A125E63D}" srcOrd="0" destOrd="0" presId="urn:microsoft.com/office/officeart/2005/8/layout/cycle4"/>
    <dgm:cxn modelId="{4280EE7A-3A9F-0448-950B-A12DC39D58E7}" type="presParOf" srcId="{3F922861-39AA-F945-AD48-D533E304BA6A}" destId="{8CF1493D-A9E7-B042-AAFA-10591DB08C85}" srcOrd="1" destOrd="0" presId="urn:microsoft.com/office/officeart/2005/8/layout/cycle4"/>
    <dgm:cxn modelId="{80069940-7B92-B549-A084-44AF546DB794}" type="presParOf" srcId="{8A2CC440-7D75-4C45-B5FE-260D016893A2}" destId="{269EF856-0D1E-A04E-B020-8B41FF018824}" srcOrd="3" destOrd="0" presId="urn:microsoft.com/office/officeart/2005/8/layout/cycle4"/>
    <dgm:cxn modelId="{19F08CF8-6C18-174F-A208-A5546E3C3716}" type="presParOf" srcId="{269EF856-0D1E-A04E-B020-8B41FF018824}" destId="{353D9C0F-6084-3A49-B924-9703EEDF8873}" srcOrd="0" destOrd="0" presId="urn:microsoft.com/office/officeart/2005/8/layout/cycle4"/>
    <dgm:cxn modelId="{DDC55EDC-CFA7-CE4F-B5F9-D3BE58F89610}" type="presParOf" srcId="{269EF856-0D1E-A04E-B020-8B41FF018824}" destId="{1E0EBC01-14D3-1A42-BDEB-1FEC1D8023A7}" srcOrd="1" destOrd="0" presId="urn:microsoft.com/office/officeart/2005/8/layout/cycle4"/>
    <dgm:cxn modelId="{BB27773C-F369-6348-8406-F37C0BD0C03D}" type="presParOf" srcId="{8A2CC440-7D75-4C45-B5FE-260D016893A2}" destId="{BB27ACE8-2A3F-E543-A2C4-1A20B20BA0FE}" srcOrd="4" destOrd="0" presId="urn:microsoft.com/office/officeart/2005/8/layout/cycle4"/>
    <dgm:cxn modelId="{A997C572-FB79-7943-B6CA-9CEEC0E84204}" type="presParOf" srcId="{4C267F08-E23C-2243-AC23-C58A898BE02B}" destId="{CA6B7EBB-B386-2644-8742-86A65385A165}" srcOrd="1" destOrd="0" presId="urn:microsoft.com/office/officeart/2005/8/layout/cycle4"/>
    <dgm:cxn modelId="{A5C6D073-4223-AB4D-A482-54C63B93F2FC}" type="presParOf" srcId="{CA6B7EBB-B386-2644-8742-86A65385A165}" destId="{23218660-E62C-B642-8347-DA9B347385EE}" srcOrd="0" destOrd="0" presId="urn:microsoft.com/office/officeart/2005/8/layout/cycle4"/>
    <dgm:cxn modelId="{DF14FC75-C2B6-124C-9AB8-416404CFBFB4}" type="presParOf" srcId="{CA6B7EBB-B386-2644-8742-86A65385A165}" destId="{2D3DFE6E-F421-C042-BF62-736DAD3F926F}" srcOrd="1" destOrd="0" presId="urn:microsoft.com/office/officeart/2005/8/layout/cycle4"/>
    <dgm:cxn modelId="{040DBAEF-1E05-204F-9120-DC2931B9AB36}" type="presParOf" srcId="{CA6B7EBB-B386-2644-8742-86A65385A165}" destId="{A9E4F73C-2FEF-9C49-AA83-E3A22B538383}" srcOrd="2" destOrd="0" presId="urn:microsoft.com/office/officeart/2005/8/layout/cycle4"/>
    <dgm:cxn modelId="{97FB8CE0-D49D-7347-9F1B-F86636ACBDFD}" type="presParOf" srcId="{CA6B7EBB-B386-2644-8742-86A65385A165}" destId="{3C0D4A66-B705-7542-8CE0-E65F77B68EDE}" srcOrd="3" destOrd="0" presId="urn:microsoft.com/office/officeart/2005/8/layout/cycle4"/>
    <dgm:cxn modelId="{08CF370B-F191-944F-AD35-D5E0269E3473}" type="presParOf" srcId="{CA6B7EBB-B386-2644-8742-86A65385A165}" destId="{BB302383-59EA-2B44-A458-D7BFD2E7455B}" srcOrd="4" destOrd="0" presId="urn:microsoft.com/office/officeart/2005/8/layout/cycle4"/>
    <dgm:cxn modelId="{C1B7AE9E-9540-9F4A-BBEF-A54EA24D7C9D}" type="presParOf" srcId="{4C267F08-E23C-2243-AC23-C58A898BE02B}" destId="{C0F6448B-8AE4-B74E-B5C5-545203469DF7}" srcOrd="2" destOrd="0" presId="urn:microsoft.com/office/officeart/2005/8/layout/cycle4"/>
    <dgm:cxn modelId="{4D7B4542-2458-BB4D-A2A9-27DEA1490DAA}" type="presParOf" srcId="{4C267F08-E23C-2243-AC23-C58A898BE02B}" destId="{BFEAD95E-B95B-6B41-9EEE-69FF1ADE6E13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88878-0DF1-9E47-A5F1-8A80A125E63D}">
      <dsp:nvSpPr>
        <dsp:cNvPr id="0" name=""/>
        <dsp:cNvSpPr/>
      </dsp:nvSpPr>
      <dsp:spPr>
        <a:xfrm>
          <a:off x="6479722" y="3280600"/>
          <a:ext cx="2383259" cy="15438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rioritize high-value and more complex accounts for servicing</a:t>
          </a:r>
        </a:p>
      </dsp:txBody>
      <dsp:txXfrm>
        <a:off x="7228613" y="3700466"/>
        <a:ext cx="1600455" cy="1090032"/>
      </dsp:txXfrm>
    </dsp:sp>
    <dsp:sp modelId="{353D9C0F-6084-3A49-B924-9703EEDF8873}">
      <dsp:nvSpPr>
        <dsp:cNvPr id="0" name=""/>
        <dsp:cNvSpPr/>
      </dsp:nvSpPr>
      <dsp:spPr>
        <a:xfrm>
          <a:off x="2457688" y="3280600"/>
          <a:ext cx="2383259" cy="15438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Required capacity across regions </a:t>
          </a:r>
        </a:p>
      </dsp:txBody>
      <dsp:txXfrm>
        <a:off x="2491601" y="3700466"/>
        <a:ext cx="1600455" cy="1090032"/>
      </dsp:txXfrm>
    </dsp:sp>
    <dsp:sp modelId="{02A0E7A5-7649-634C-AE93-D428F52269AE}">
      <dsp:nvSpPr>
        <dsp:cNvPr id="0" name=""/>
        <dsp:cNvSpPr/>
      </dsp:nvSpPr>
      <dsp:spPr>
        <a:xfrm>
          <a:off x="6346164" y="0"/>
          <a:ext cx="2383259" cy="15438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</a:rPr>
            <a:t>Portfolio allocation of accounts to CSM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Optimization of revenue under management</a:t>
          </a:r>
        </a:p>
      </dsp:txBody>
      <dsp:txXfrm>
        <a:off x="7095055" y="33913"/>
        <a:ext cx="1600455" cy="1090032"/>
      </dsp:txXfrm>
    </dsp:sp>
    <dsp:sp modelId="{6EF244D3-569D-F243-8CB6-1F329845958D}">
      <dsp:nvSpPr>
        <dsp:cNvPr id="0" name=""/>
        <dsp:cNvSpPr/>
      </dsp:nvSpPr>
      <dsp:spPr>
        <a:xfrm>
          <a:off x="2457688" y="0"/>
          <a:ext cx="2383259" cy="15438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Observe movements in portfolio complexity before/after segmentation</a:t>
          </a:r>
        </a:p>
      </dsp:txBody>
      <dsp:txXfrm>
        <a:off x="2491601" y="33913"/>
        <a:ext cx="1600455" cy="1090032"/>
      </dsp:txXfrm>
    </dsp:sp>
    <dsp:sp modelId="{23218660-E62C-B642-8347-DA9B347385EE}">
      <dsp:nvSpPr>
        <dsp:cNvPr id="0" name=""/>
        <dsp:cNvSpPr/>
      </dsp:nvSpPr>
      <dsp:spPr>
        <a:xfrm>
          <a:off x="3456341" y="274991"/>
          <a:ext cx="2088970" cy="20889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Business Operations</a:t>
          </a:r>
        </a:p>
      </dsp:txBody>
      <dsp:txXfrm>
        <a:off x="4068186" y="886836"/>
        <a:ext cx="1477125" cy="1477125"/>
      </dsp:txXfrm>
    </dsp:sp>
    <dsp:sp modelId="{2D3DFE6E-F421-C042-BF62-736DAD3F926F}">
      <dsp:nvSpPr>
        <dsp:cNvPr id="0" name=""/>
        <dsp:cNvSpPr/>
      </dsp:nvSpPr>
      <dsp:spPr>
        <a:xfrm rot="5400000">
          <a:off x="5641800" y="274991"/>
          <a:ext cx="2088970" cy="20889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CSM Portfolio Allocation</a:t>
          </a:r>
        </a:p>
      </dsp:txBody>
      <dsp:txXfrm rot="-5400000">
        <a:off x="5641800" y="886836"/>
        <a:ext cx="1477125" cy="1477125"/>
      </dsp:txXfrm>
    </dsp:sp>
    <dsp:sp modelId="{A9E4F73C-2FEF-9C49-AA83-E3A22B538383}">
      <dsp:nvSpPr>
        <dsp:cNvPr id="0" name=""/>
        <dsp:cNvSpPr/>
      </dsp:nvSpPr>
      <dsp:spPr>
        <a:xfrm rot="10800000">
          <a:off x="5641800" y="2460450"/>
          <a:ext cx="2088970" cy="20889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Portfolio Prioritization</a:t>
          </a:r>
        </a:p>
      </dsp:txBody>
      <dsp:txXfrm rot="10800000">
        <a:off x="5641800" y="2460450"/>
        <a:ext cx="1477125" cy="1477125"/>
      </dsp:txXfrm>
    </dsp:sp>
    <dsp:sp modelId="{3C0D4A66-B705-7542-8CE0-E65F77B68EDE}">
      <dsp:nvSpPr>
        <dsp:cNvPr id="0" name=""/>
        <dsp:cNvSpPr/>
      </dsp:nvSpPr>
      <dsp:spPr>
        <a:xfrm rot="16200000">
          <a:off x="3456341" y="2460450"/>
          <a:ext cx="2088970" cy="20889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Capacity Planning</a:t>
          </a:r>
        </a:p>
      </dsp:txBody>
      <dsp:txXfrm rot="5400000">
        <a:off x="4068186" y="2460450"/>
        <a:ext cx="1477125" cy="1477125"/>
      </dsp:txXfrm>
    </dsp:sp>
    <dsp:sp modelId="{C0F6448B-8AE4-B74E-B5C5-545203469DF7}">
      <dsp:nvSpPr>
        <dsp:cNvPr id="0" name=""/>
        <dsp:cNvSpPr/>
      </dsp:nvSpPr>
      <dsp:spPr>
        <a:xfrm>
          <a:off x="5232931" y="1978008"/>
          <a:ext cx="721249" cy="627173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EAD95E-B95B-6B41-9EEE-69FF1ADE6E13}">
      <dsp:nvSpPr>
        <dsp:cNvPr id="0" name=""/>
        <dsp:cNvSpPr/>
      </dsp:nvSpPr>
      <dsp:spPr>
        <a:xfrm rot="10800000">
          <a:off x="5232931" y="2219229"/>
          <a:ext cx="721249" cy="627173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321</cdr:x>
      <cdr:y>0.0443</cdr:y>
    </cdr:from>
    <cdr:to>
      <cdr:x>0.91224</cdr:x>
      <cdr:y>0.31168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6774E21E-D57C-4C06-89B8-5A7A175B59C4}"/>
            </a:ext>
          </a:extLst>
        </cdr:cNvPr>
        <cdr:cNvSpPr/>
      </cdr:nvSpPr>
      <cdr:spPr>
        <a:xfrm xmlns:a="http://schemas.openxmlformats.org/drawingml/2006/main">
          <a:off x="3789091" y="125452"/>
          <a:ext cx="3219232" cy="75710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headEnd type="none" w="med" len="med"/>
          <a:tailEnd type="arrow" w="med" len="med"/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b="1" dirty="0">
              <a:latin typeface="+mj-lt"/>
            </a:rPr>
            <a:t>Complexity Score Distribution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0D458-9A60-4F7B-A846-EDAE9A64B312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E8E3D0-12AD-4D81-A26A-AA40CD988F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176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3018971"/>
            <a:ext cx="9144000" cy="1212352"/>
          </a:xfrm>
        </p:spPr>
        <p:txBody>
          <a:bodyPr anchor="b">
            <a:noAutofit/>
          </a:bodyPr>
          <a:lstStyle>
            <a:lvl1pPr algn="ctr">
              <a:defRPr sz="5300">
                <a:solidFill>
                  <a:schemeClr val="bg1"/>
                </a:solidFill>
                <a:latin typeface="PayPal Sans Big Medium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552950"/>
            <a:ext cx="9144000" cy="384048"/>
          </a:xfrm>
        </p:spPr>
        <p:txBody>
          <a:bodyPr tIns="0" rIns="0" bIns="0">
            <a:noAutofit/>
          </a:bodyPr>
          <a:lstStyle>
            <a:lvl1pPr marL="0" indent="0" algn="ctr">
              <a:buNone/>
              <a:defRPr sz="2400" baseline="0">
                <a:solidFill>
                  <a:schemeClr val="bg1">
                    <a:alpha val="6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46850"/>
            <a:ext cx="4114800" cy="120650"/>
          </a:xfrm>
        </p:spPr>
        <p:txBody>
          <a:bodyPr/>
          <a:lstStyle>
            <a:lvl1pPr algn="ctr">
              <a:defRPr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/>
              <a:t>© 2021 PayPal Inc. Confidential and proprietary.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4962525"/>
            <a:ext cx="9144000" cy="485775"/>
          </a:xfr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1600" kern="1200" baseline="0" dirty="0">
                <a:solidFill>
                  <a:schemeClr val="bg1">
                    <a:alpha val="6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Presenter/Dat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666611" y="1914525"/>
            <a:ext cx="870431" cy="1019175"/>
            <a:chOff x="6589712" y="1914525"/>
            <a:chExt cx="870431" cy="1019175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6589712" y="1914525"/>
              <a:ext cx="870431" cy="1019175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76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3238" y="1703389"/>
            <a:ext cx="10844212" cy="1674811"/>
          </a:xfrm>
        </p:spPr>
        <p:txBody>
          <a:bodyPr anchor="b">
            <a:normAutofit/>
          </a:bodyPr>
          <a:lstStyle>
            <a:lvl1pPr>
              <a:defRPr sz="3700" spc="300">
                <a:solidFill>
                  <a:schemeClr val="bg1"/>
                </a:solidFill>
                <a:latin typeface="PayPal Sans Big Medium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3538856"/>
            <a:ext cx="10515600" cy="382587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1800">
                <a:solidFill>
                  <a:schemeClr val="bg1">
                    <a:alpha val="60000"/>
                  </a:schemeClr>
                </a:solidFill>
                <a:latin typeface="PayPal Sans Big Medium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64566" y="6356350"/>
            <a:ext cx="4114800" cy="31115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/>
              <a:t>© 2021 PayPal Inc. Confidential and proprietary.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03238" y="6350761"/>
            <a:ext cx="999330" cy="243258"/>
            <a:chOff x="842963" y="5748338"/>
            <a:chExt cx="1206499" cy="293687"/>
          </a:xfrm>
        </p:grpSpPr>
        <p:sp>
          <p:nvSpPr>
            <p:cNvPr id="10" name="Freeform 5"/>
            <p:cNvSpPr>
              <a:spLocks noEditPoints="1"/>
            </p:cNvSpPr>
            <p:nvPr userDrawn="1"/>
          </p:nvSpPr>
          <p:spPr bwMode="auto">
            <a:xfrm>
              <a:off x="1668463" y="5813425"/>
              <a:ext cx="161925" cy="185737"/>
            </a:xfrm>
            <a:custGeom>
              <a:avLst/>
              <a:gdLst>
                <a:gd name="T0" fmla="*/ 138 w 218"/>
                <a:gd name="T1" fmla="*/ 0 h 247"/>
                <a:gd name="T2" fmla="*/ 49 w 218"/>
                <a:gd name="T3" fmla="*/ 0 h 247"/>
                <a:gd name="T4" fmla="*/ 37 w 218"/>
                <a:gd name="T5" fmla="*/ 10 h 247"/>
                <a:gd name="T6" fmla="*/ 1 w 218"/>
                <a:gd name="T7" fmla="*/ 239 h 247"/>
                <a:gd name="T8" fmla="*/ 8 w 218"/>
                <a:gd name="T9" fmla="*/ 247 h 247"/>
                <a:gd name="T10" fmla="*/ 54 w 218"/>
                <a:gd name="T11" fmla="*/ 247 h 247"/>
                <a:gd name="T12" fmla="*/ 62 w 218"/>
                <a:gd name="T13" fmla="*/ 240 h 247"/>
                <a:gd name="T14" fmla="*/ 72 w 218"/>
                <a:gd name="T15" fmla="*/ 175 h 247"/>
                <a:gd name="T16" fmla="*/ 85 w 218"/>
                <a:gd name="T17" fmla="*/ 165 h 247"/>
                <a:gd name="T18" fmla="*/ 113 w 218"/>
                <a:gd name="T19" fmla="*/ 165 h 247"/>
                <a:gd name="T20" fmla="*/ 214 w 218"/>
                <a:gd name="T21" fmla="*/ 80 h 247"/>
                <a:gd name="T22" fmla="*/ 203 w 218"/>
                <a:gd name="T23" fmla="*/ 23 h 247"/>
                <a:gd name="T24" fmla="*/ 138 w 218"/>
                <a:gd name="T25" fmla="*/ 0 h 247"/>
                <a:gd name="T26" fmla="*/ 148 w 218"/>
                <a:gd name="T27" fmla="*/ 83 h 247"/>
                <a:gd name="T28" fmla="*/ 95 w 218"/>
                <a:gd name="T29" fmla="*/ 115 h 247"/>
                <a:gd name="T30" fmla="*/ 82 w 218"/>
                <a:gd name="T31" fmla="*/ 115 h 247"/>
                <a:gd name="T32" fmla="*/ 91 w 218"/>
                <a:gd name="T33" fmla="*/ 56 h 247"/>
                <a:gd name="T34" fmla="*/ 99 w 218"/>
                <a:gd name="T35" fmla="*/ 49 h 247"/>
                <a:gd name="T36" fmla="*/ 105 w 218"/>
                <a:gd name="T37" fmla="*/ 49 h 247"/>
                <a:gd name="T38" fmla="*/ 144 w 218"/>
                <a:gd name="T39" fmla="*/ 59 h 247"/>
                <a:gd name="T40" fmla="*/ 148 w 218"/>
                <a:gd name="T41" fmla="*/ 8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8" h="247">
                  <a:moveTo>
                    <a:pt x="138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3" y="0"/>
                    <a:pt x="38" y="4"/>
                    <a:pt x="37" y="10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3" y="247"/>
                    <a:pt x="8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8" y="247"/>
                    <a:pt x="62" y="244"/>
                    <a:pt x="62" y="240"/>
                  </a:cubicBezTo>
                  <a:cubicBezTo>
                    <a:pt x="72" y="175"/>
                    <a:pt x="72" y="175"/>
                    <a:pt x="72" y="175"/>
                  </a:cubicBezTo>
                  <a:cubicBezTo>
                    <a:pt x="73" y="169"/>
                    <a:pt x="79" y="165"/>
                    <a:pt x="85" y="165"/>
                  </a:cubicBezTo>
                  <a:cubicBezTo>
                    <a:pt x="113" y="165"/>
                    <a:pt x="113" y="165"/>
                    <a:pt x="113" y="165"/>
                  </a:cubicBezTo>
                  <a:cubicBezTo>
                    <a:pt x="171" y="165"/>
                    <a:pt x="205" y="136"/>
                    <a:pt x="214" y="80"/>
                  </a:cubicBezTo>
                  <a:cubicBezTo>
                    <a:pt x="218" y="56"/>
                    <a:pt x="214" y="36"/>
                    <a:pt x="203" y="23"/>
                  </a:cubicBezTo>
                  <a:cubicBezTo>
                    <a:pt x="190" y="8"/>
                    <a:pt x="168" y="0"/>
                    <a:pt x="138" y="0"/>
                  </a:cubicBezTo>
                  <a:close/>
                  <a:moveTo>
                    <a:pt x="148" y="83"/>
                  </a:moveTo>
                  <a:cubicBezTo>
                    <a:pt x="143" y="115"/>
                    <a:pt x="119" y="115"/>
                    <a:pt x="95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2"/>
                    <a:pt x="95" y="49"/>
                    <a:pt x="99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21" y="49"/>
                    <a:pt x="136" y="49"/>
                    <a:pt x="144" y="59"/>
                  </a:cubicBezTo>
                  <a:cubicBezTo>
                    <a:pt x="148" y="64"/>
                    <a:pt x="150" y="72"/>
                    <a:pt x="148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1196975" y="5813425"/>
              <a:ext cx="161925" cy="185737"/>
            </a:xfrm>
            <a:custGeom>
              <a:avLst/>
              <a:gdLst>
                <a:gd name="T0" fmla="*/ 138 w 218"/>
                <a:gd name="T1" fmla="*/ 0 h 247"/>
                <a:gd name="T2" fmla="*/ 49 w 218"/>
                <a:gd name="T3" fmla="*/ 0 h 247"/>
                <a:gd name="T4" fmla="*/ 37 w 218"/>
                <a:gd name="T5" fmla="*/ 10 h 247"/>
                <a:gd name="T6" fmla="*/ 1 w 218"/>
                <a:gd name="T7" fmla="*/ 239 h 247"/>
                <a:gd name="T8" fmla="*/ 8 w 218"/>
                <a:gd name="T9" fmla="*/ 247 h 247"/>
                <a:gd name="T10" fmla="*/ 51 w 218"/>
                <a:gd name="T11" fmla="*/ 247 h 247"/>
                <a:gd name="T12" fmla="*/ 63 w 218"/>
                <a:gd name="T13" fmla="*/ 237 h 247"/>
                <a:gd name="T14" fmla="*/ 73 w 218"/>
                <a:gd name="T15" fmla="*/ 175 h 247"/>
                <a:gd name="T16" fmla="*/ 85 w 218"/>
                <a:gd name="T17" fmla="*/ 165 h 247"/>
                <a:gd name="T18" fmla="*/ 113 w 218"/>
                <a:gd name="T19" fmla="*/ 165 h 247"/>
                <a:gd name="T20" fmla="*/ 214 w 218"/>
                <a:gd name="T21" fmla="*/ 80 h 247"/>
                <a:gd name="T22" fmla="*/ 203 w 218"/>
                <a:gd name="T23" fmla="*/ 23 h 247"/>
                <a:gd name="T24" fmla="*/ 138 w 218"/>
                <a:gd name="T25" fmla="*/ 0 h 247"/>
                <a:gd name="T26" fmla="*/ 148 w 218"/>
                <a:gd name="T27" fmla="*/ 83 h 247"/>
                <a:gd name="T28" fmla="*/ 95 w 218"/>
                <a:gd name="T29" fmla="*/ 115 h 247"/>
                <a:gd name="T30" fmla="*/ 82 w 218"/>
                <a:gd name="T31" fmla="*/ 115 h 247"/>
                <a:gd name="T32" fmla="*/ 91 w 218"/>
                <a:gd name="T33" fmla="*/ 56 h 247"/>
                <a:gd name="T34" fmla="*/ 99 w 218"/>
                <a:gd name="T35" fmla="*/ 49 h 247"/>
                <a:gd name="T36" fmla="*/ 105 w 218"/>
                <a:gd name="T37" fmla="*/ 49 h 247"/>
                <a:gd name="T38" fmla="*/ 144 w 218"/>
                <a:gd name="T39" fmla="*/ 59 h 247"/>
                <a:gd name="T40" fmla="*/ 148 w 218"/>
                <a:gd name="T41" fmla="*/ 8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8" h="247">
                  <a:moveTo>
                    <a:pt x="138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3" y="0"/>
                    <a:pt x="38" y="4"/>
                    <a:pt x="37" y="10"/>
                  </a:cubicBez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4" y="247"/>
                    <a:pt x="8" y="247"/>
                  </a:cubicBezTo>
                  <a:cubicBezTo>
                    <a:pt x="51" y="247"/>
                    <a:pt x="51" y="247"/>
                    <a:pt x="51" y="247"/>
                  </a:cubicBezTo>
                  <a:cubicBezTo>
                    <a:pt x="57" y="247"/>
                    <a:pt x="62" y="243"/>
                    <a:pt x="63" y="237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4" y="169"/>
                    <a:pt x="79" y="165"/>
                    <a:pt x="85" y="165"/>
                  </a:cubicBezTo>
                  <a:cubicBezTo>
                    <a:pt x="113" y="165"/>
                    <a:pt x="113" y="165"/>
                    <a:pt x="113" y="165"/>
                  </a:cubicBezTo>
                  <a:cubicBezTo>
                    <a:pt x="172" y="165"/>
                    <a:pt x="205" y="136"/>
                    <a:pt x="214" y="80"/>
                  </a:cubicBezTo>
                  <a:cubicBezTo>
                    <a:pt x="218" y="56"/>
                    <a:pt x="214" y="36"/>
                    <a:pt x="203" y="23"/>
                  </a:cubicBezTo>
                  <a:cubicBezTo>
                    <a:pt x="190" y="8"/>
                    <a:pt x="168" y="0"/>
                    <a:pt x="138" y="0"/>
                  </a:cubicBezTo>
                  <a:close/>
                  <a:moveTo>
                    <a:pt x="148" y="83"/>
                  </a:moveTo>
                  <a:cubicBezTo>
                    <a:pt x="143" y="115"/>
                    <a:pt x="119" y="115"/>
                    <a:pt x="95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2"/>
                    <a:pt x="95" y="49"/>
                    <a:pt x="99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21" y="49"/>
                    <a:pt x="136" y="49"/>
                    <a:pt x="144" y="59"/>
                  </a:cubicBezTo>
                  <a:cubicBezTo>
                    <a:pt x="149" y="64"/>
                    <a:pt x="150" y="72"/>
                    <a:pt x="148" y="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1344613" y="5872163"/>
              <a:ext cx="158750" cy="130175"/>
            </a:xfrm>
            <a:custGeom>
              <a:avLst/>
              <a:gdLst>
                <a:gd name="T0" fmla="*/ 204 w 212"/>
                <a:gd name="T1" fmla="*/ 4 h 173"/>
                <a:gd name="T2" fmla="*/ 161 w 212"/>
                <a:gd name="T3" fmla="*/ 4 h 173"/>
                <a:gd name="T4" fmla="*/ 154 w 212"/>
                <a:gd name="T5" fmla="*/ 11 h 173"/>
                <a:gd name="T6" fmla="*/ 152 w 212"/>
                <a:gd name="T7" fmla="*/ 22 h 173"/>
                <a:gd name="T8" fmla="*/ 149 w 212"/>
                <a:gd name="T9" fmla="*/ 18 h 173"/>
                <a:gd name="T10" fmla="*/ 99 w 212"/>
                <a:gd name="T11" fmla="*/ 0 h 173"/>
                <a:gd name="T12" fmla="*/ 4 w 212"/>
                <a:gd name="T13" fmla="*/ 86 h 173"/>
                <a:gd name="T14" fmla="*/ 20 w 212"/>
                <a:gd name="T15" fmla="*/ 151 h 173"/>
                <a:gd name="T16" fmla="*/ 73 w 212"/>
                <a:gd name="T17" fmla="*/ 173 h 173"/>
                <a:gd name="T18" fmla="*/ 132 w 212"/>
                <a:gd name="T19" fmla="*/ 149 h 173"/>
                <a:gd name="T20" fmla="*/ 130 w 212"/>
                <a:gd name="T21" fmla="*/ 161 h 173"/>
                <a:gd name="T22" fmla="*/ 138 w 212"/>
                <a:gd name="T23" fmla="*/ 169 h 173"/>
                <a:gd name="T24" fmla="*/ 176 w 212"/>
                <a:gd name="T25" fmla="*/ 169 h 173"/>
                <a:gd name="T26" fmla="*/ 188 w 212"/>
                <a:gd name="T27" fmla="*/ 159 h 173"/>
                <a:gd name="T28" fmla="*/ 211 w 212"/>
                <a:gd name="T29" fmla="*/ 13 h 173"/>
                <a:gd name="T30" fmla="*/ 204 w 212"/>
                <a:gd name="T31" fmla="*/ 4 h 173"/>
                <a:gd name="T32" fmla="*/ 145 w 212"/>
                <a:gd name="T33" fmla="*/ 87 h 173"/>
                <a:gd name="T34" fmla="*/ 97 w 212"/>
                <a:gd name="T35" fmla="*/ 128 h 173"/>
                <a:gd name="T36" fmla="*/ 68 w 212"/>
                <a:gd name="T37" fmla="*/ 116 h 173"/>
                <a:gd name="T38" fmla="*/ 61 w 212"/>
                <a:gd name="T39" fmla="*/ 87 h 173"/>
                <a:gd name="T40" fmla="*/ 109 w 212"/>
                <a:gd name="T41" fmla="*/ 45 h 173"/>
                <a:gd name="T42" fmla="*/ 137 w 212"/>
                <a:gd name="T43" fmla="*/ 57 h 173"/>
                <a:gd name="T44" fmla="*/ 145 w 212"/>
                <a:gd name="T45" fmla="*/ 8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173">
                  <a:moveTo>
                    <a:pt x="204" y="4"/>
                  </a:moveTo>
                  <a:cubicBezTo>
                    <a:pt x="161" y="4"/>
                    <a:pt x="161" y="4"/>
                    <a:pt x="161" y="4"/>
                  </a:cubicBezTo>
                  <a:cubicBezTo>
                    <a:pt x="158" y="4"/>
                    <a:pt x="155" y="7"/>
                    <a:pt x="154" y="11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0" y="5"/>
                    <a:pt x="119" y="0"/>
                    <a:pt x="99" y="0"/>
                  </a:cubicBezTo>
                  <a:cubicBezTo>
                    <a:pt x="52" y="0"/>
                    <a:pt x="12" y="36"/>
                    <a:pt x="4" y="86"/>
                  </a:cubicBezTo>
                  <a:cubicBezTo>
                    <a:pt x="0" y="111"/>
                    <a:pt x="6" y="135"/>
                    <a:pt x="20" y="151"/>
                  </a:cubicBezTo>
                  <a:cubicBezTo>
                    <a:pt x="33" y="167"/>
                    <a:pt x="51" y="173"/>
                    <a:pt x="73" y="173"/>
                  </a:cubicBezTo>
                  <a:cubicBezTo>
                    <a:pt x="111" y="173"/>
                    <a:pt x="132" y="149"/>
                    <a:pt x="132" y="149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5"/>
                    <a:pt x="133" y="169"/>
                    <a:pt x="138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82" y="169"/>
                    <a:pt x="187" y="165"/>
                    <a:pt x="188" y="159"/>
                  </a:cubicBezTo>
                  <a:cubicBezTo>
                    <a:pt x="211" y="13"/>
                    <a:pt x="211" y="13"/>
                    <a:pt x="211" y="13"/>
                  </a:cubicBezTo>
                  <a:cubicBezTo>
                    <a:pt x="212" y="8"/>
                    <a:pt x="209" y="4"/>
                    <a:pt x="204" y="4"/>
                  </a:cubicBezTo>
                  <a:close/>
                  <a:moveTo>
                    <a:pt x="145" y="87"/>
                  </a:moveTo>
                  <a:cubicBezTo>
                    <a:pt x="141" y="112"/>
                    <a:pt x="121" y="128"/>
                    <a:pt x="97" y="128"/>
                  </a:cubicBezTo>
                  <a:cubicBezTo>
                    <a:pt x="84" y="128"/>
                    <a:pt x="74" y="124"/>
                    <a:pt x="68" y="116"/>
                  </a:cubicBezTo>
                  <a:cubicBezTo>
                    <a:pt x="62" y="109"/>
                    <a:pt x="59" y="98"/>
                    <a:pt x="61" y="87"/>
                  </a:cubicBezTo>
                  <a:cubicBezTo>
                    <a:pt x="65" y="62"/>
                    <a:pt x="85" y="45"/>
                    <a:pt x="109" y="45"/>
                  </a:cubicBezTo>
                  <a:cubicBezTo>
                    <a:pt x="121" y="45"/>
                    <a:pt x="131" y="50"/>
                    <a:pt x="137" y="57"/>
                  </a:cubicBezTo>
                  <a:cubicBezTo>
                    <a:pt x="144" y="65"/>
                    <a:pt x="147" y="75"/>
                    <a:pt x="145" y="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817688" y="5872163"/>
              <a:ext cx="157162" cy="130175"/>
            </a:xfrm>
            <a:custGeom>
              <a:avLst/>
              <a:gdLst>
                <a:gd name="T0" fmla="*/ 204 w 212"/>
                <a:gd name="T1" fmla="*/ 4 h 173"/>
                <a:gd name="T2" fmla="*/ 161 w 212"/>
                <a:gd name="T3" fmla="*/ 4 h 173"/>
                <a:gd name="T4" fmla="*/ 154 w 212"/>
                <a:gd name="T5" fmla="*/ 11 h 173"/>
                <a:gd name="T6" fmla="*/ 152 w 212"/>
                <a:gd name="T7" fmla="*/ 22 h 173"/>
                <a:gd name="T8" fmla="*/ 149 w 212"/>
                <a:gd name="T9" fmla="*/ 18 h 173"/>
                <a:gd name="T10" fmla="*/ 99 w 212"/>
                <a:gd name="T11" fmla="*/ 0 h 173"/>
                <a:gd name="T12" fmla="*/ 4 w 212"/>
                <a:gd name="T13" fmla="*/ 86 h 173"/>
                <a:gd name="T14" fmla="*/ 19 w 212"/>
                <a:gd name="T15" fmla="*/ 151 h 173"/>
                <a:gd name="T16" fmla="*/ 73 w 212"/>
                <a:gd name="T17" fmla="*/ 173 h 173"/>
                <a:gd name="T18" fmla="*/ 132 w 212"/>
                <a:gd name="T19" fmla="*/ 149 h 173"/>
                <a:gd name="T20" fmla="*/ 130 w 212"/>
                <a:gd name="T21" fmla="*/ 161 h 173"/>
                <a:gd name="T22" fmla="*/ 138 w 212"/>
                <a:gd name="T23" fmla="*/ 169 h 173"/>
                <a:gd name="T24" fmla="*/ 176 w 212"/>
                <a:gd name="T25" fmla="*/ 169 h 173"/>
                <a:gd name="T26" fmla="*/ 188 w 212"/>
                <a:gd name="T27" fmla="*/ 159 h 173"/>
                <a:gd name="T28" fmla="*/ 211 w 212"/>
                <a:gd name="T29" fmla="*/ 13 h 173"/>
                <a:gd name="T30" fmla="*/ 204 w 212"/>
                <a:gd name="T31" fmla="*/ 4 h 173"/>
                <a:gd name="T32" fmla="*/ 144 w 212"/>
                <a:gd name="T33" fmla="*/ 87 h 173"/>
                <a:gd name="T34" fmla="*/ 96 w 212"/>
                <a:gd name="T35" fmla="*/ 128 h 173"/>
                <a:gd name="T36" fmla="*/ 68 w 212"/>
                <a:gd name="T37" fmla="*/ 116 h 173"/>
                <a:gd name="T38" fmla="*/ 61 w 212"/>
                <a:gd name="T39" fmla="*/ 87 h 173"/>
                <a:gd name="T40" fmla="*/ 109 w 212"/>
                <a:gd name="T41" fmla="*/ 45 h 173"/>
                <a:gd name="T42" fmla="*/ 137 w 212"/>
                <a:gd name="T43" fmla="*/ 57 h 173"/>
                <a:gd name="T44" fmla="*/ 144 w 212"/>
                <a:gd name="T45" fmla="*/ 8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2" h="173">
                  <a:moveTo>
                    <a:pt x="204" y="4"/>
                  </a:moveTo>
                  <a:cubicBezTo>
                    <a:pt x="161" y="4"/>
                    <a:pt x="161" y="4"/>
                    <a:pt x="161" y="4"/>
                  </a:cubicBezTo>
                  <a:cubicBezTo>
                    <a:pt x="158" y="4"/>
                    <a:pt x="155" y="7"/>
                    <a:pt x="154" y="11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0" y="5"/>
                    <a:pt x="119" y="0"/>
                    <a:pt x="99" y="0"/>
                  </a:cubicBezTo>
                  <a:cubicBezTo>
                    <a:pt x="52" y="0"/>
                    <a:pt x="11" y="36"/>
                    <a:pt x="4" y="86"/>
                  </a:cubicBezTo>
                  <a:cubicBezTo>
                    <a:pt x="0" y="111"/>
                    <a:pt x="5" y="135"/>
                    <a:pt x="19" y="151"/>
                  </a:cubicBezTo>
                  <a:cubicBezTo>
                    <a:pt x="32" y="167"/>
                    <a:pt x="51" y="173"/>
                    <a:pt x="73" y="173"/>
                  </a:cubicBezTo>
                  <a:cubicBezTo>
                    <a:pt x="111" y="173"/>
                    <a:pt x="132" y="149"/>
                    <a:pt x="132" y="149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5"/>
                    <a:pt x="133" y="169"/>
                    <a:pt x="138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82" y="169"/>
                    <a:pt x="187" y="165"/>
                    <a:pt x="188" y="159"/>
                  </a:cubicBezTo>
                  <a:cubicBezTo>
                    <a:pt x="211" y="13"/>
                    <a:pt x="211" y="13"/>
                    <a:pt x="211" y="13"/>
                  </a:cubicBezTo>
                  <a:cubicBezTo>
                    <a:pt x="212" y="8"/>
                    <a:pt x="208" y="4"/>
                    <a:pt x="204" y="4"/>
                  </a:cubicBezTo>
                  <a:close/>
                  <a:moveTo>
                    <a:pt x="144" y="87"/>
                  </a:moveTo>
                  <a:cubicBezTo>
                    <a:pt x="140" y="112"/>
                    <a:pt x="121" y="128"/>
                    <a:pt x="96" y="128"/>
                  </a:cubicBezTo>
                  <a:cubicBezTo>
                    <a:pt x="84" y="128"/>
                    <a:pt x="74" y="124"/>
                    <a:pt x="68" y="116"/>
                  </a:cubicBezTo>
                  <a:cubicBezTo>
                    <a:pt x="61" y="109"/>
                    <a:pt x="59" y="98"/>
                    <a:pt x="61" y="87"/>
                  </a:cubicBezTo>
                  <a:cubicBezTo>
                    <a:pt x="65" y="62"/>
                    <a:pt x="85" y="45"/>
                    <a:pt x="109" y="45"/>
                  </a:cubicBezTo>
                  <a:cubicBezTo>
                    <a:pt x="121" y="45"/>
                    <a:pt x="131" y="50"/>
                    <a:pt x="137" y="57"/>
                  </a:cubicBezTo>
                  <a:cubicBezTo>
                    <a:pt x="144" y="65"/>
                    <a:pt x="146" y="75"/>
                    <a:pt x="144" y="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1517650" y="5875338"/>
              <a:ext cx="155575" cy="166687"/>
            </a:xfrm>
            <a:custGeom>
              <a:avLst/>
              <a:gdLst>
                <a:gd name="T0" fmla="*/ 200 w 210"/>
                <a:gd name="T1" fmla="*/ 0 h 223"/>
                <a:gd name="T2" fmla="*/ 157 w 210"/>
                <a:gd name="T3" fmla="*/ 0 h 223"/>
                <a:gd name="T4" fmla="*/ 147 w 210"/>
                <a:gd name="T5" fmla="*/ 6 h 223"/>
                <a:gd name="T6" fmla="*/ 88 w 210"/>
                <a:gd name="T7" fmla="*/ 93 h 223"/>
                <a:gd name="T8" fmla="*/ 63 w 210"/>
                <a:gd name="T9" fmla="*/ 9 h 223"/>
                <a:gd name="T10" fmla="*/ 51 w 210"/>
                <a:gd name="T11" fmla="*/ 0 h 223"/>
                <a:gd name="T12" fmla="*/ 9 w 210"/>
                <a:gd name="T13" fmla="*/ 0 h 223"/>
                <a:gd name="T14" fmla="*/ 2 w 210"/>
                <a:gd name="T15" fmla="*/ 10 h 223"/>
                <a:gd name="T16" fmla="*/ 49 w 210"/>
                <a:gd name="T17" fmla="*/ 149 h 223"/>
                <a:gd name="T18" fmla="*/ 5 w 210"/>
                <a:gd name="T19" fmla="*/ 211 h 223"/>
                <a:gd name="T20" fmla="*/ 11 w 210"/>
                <a:gd name="T21" fmla="*/ 223 h 223"/>
                <a:gd name="T22" fmla="*/ 54 w 210"/>
                <a:gd name="T23" fmla="*/ 223 h 223"/>
                <a:gd name="T24" fmla="*/ 64 w 210"/>
                <a:gd name="T25" fmla="*/ 218 h 223"/>
                <a:gd name="T26" fmla="*/ 206 w 210"/>
                <a:gd name="T27" fmla="*/ 12 h 223"/>
                <a:gd name="T28" fmla="*/ 200 w 210"/>
                <a:gd name="T29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0" h="223">
                  <a:moveTo>
                    <a:pt x="200" y="0"/>
                  </a:moveTo>
                  <a:cubicBezTo>
                    <a:pt x="157" y="0"/>
                    <a:pt x="157" y="0"/>
                    <a:pt x="157" y="0"/>
                  </a:cubicBezTo>
                  <a:cubicBezTo>
                    <a:pt x="153" y="0"/>
                    <a:pt x="149" y="2"/>
                    <a:pt x="147" y="6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1" y="4"/>
                    <a:pt x="56" y="0"/>
                    <a:pt x="5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2" y="10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" y="211"/>
                    <a:pt x="5" y="211"/>
                    <a:pt x="5" y="211"/>
                  </a:cubicBezTo>
                  <a:cubicBezTo>
                    <a:pt x="1" y="216"/>
                    <a:pt x="5" y="223"/>
                    <a:pt x="11" y="223"/>
                  </a:cubicBezTo>
                  <a:cubicBezTo>
                    <a:pt x="54" y="223"/>
                    <a:pt x="54" y="223"/>
                    <a:pt x="54" y="223"/>
                  </a:cubicBezTo>
                  <a:cubicBezTo>
                    <a:pt x="58" y="223"/>
                    <a:pt x="61" y="221"/>
                    <a:pt x="64" y="218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10" y="7"/>
                    <a:pt x="206" y="0"/>
                    <a:pt x="2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978025" y="5813425"/>
              <a:ext cx="71437" cy="185737"/>
            </a:xfrm>
            <a:custGeom>
              <a:avLst/>
              <a:gdLst>
                <a:gd name="T0" fmla="*/ 37 w 94"/>
                <a:gd name="T1" fmla="*/ 6 h 247"/>
                <a:gd name="T2" fmla="*/ 1 w 94"/>
                <a:gd name="T3" fmla="*/ 239 h 247"/>
                <a:gd name="T4" fmla="*/ 8 w 94"/>
                <a:gd name="T5" fmla="*/ 247 h 247"/>
                <a:gd name="T6" fmla="*/ 45 w 94"/>
                <a:gd name="T7" fmla="*/ 247 h 247"/>
                <a:gd name="T8" fmla="*/ 57 w 94"/>
                <a:gd name="T9" fmla="*/ 237 h 247"/>
                <a:gd name="T10" fmla="*/ 93 w 94"/>
                <a:gd name="T11" fmla="*/ 9 h 247"/>
                <a:gd name="T12" fmla="*/ 86 w 94"/>
                <a:gd name="T13" fmla="*/ 0 h 247"/>
                <a:gd name="T14" fmla="*/ 44 w 94"/>
                <a:gd name="T15" fmla="*/ 0 h 247"/>
                <a:gd name="T16" fmla="*/ 37 w 94"/>
                <a:gd name="T17" fmla="*/ 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47">
                  <a:moveTo>
                    <a:pt x="37" y="6"/>
                  </a:moveTo>
                  <a:cubicBezTo>
                    <a:pt x="1" y="239"/>
                    <a:pt x="1" y="239"/>
                    <a:pt x="1" y="239"/>
                  </a:cubicBezTo>
                  <a:cubicBezTo>
                    <a:pt x="0" y="243"/>
                    <a:pt x="3" y="247"/>
                    <a:pt x="8" y="247"/>
                  </a:cubicBezTo>
                  <a:cubicBezTo>
                    <a:pt x="45" y="247"/>
                    <a:pt x="45" y="247"/>
                    <a:pt x="45" y="247"/>
                  </a:cubicBezTo>
                  <a:cubicBezTo>
                    <a:pt x="51" y="247"/>
                    <a:pt x="56" y="243"/>
                    <a:pt x="57" y="237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4" y="4"/>
                    <a:pt x="90" y="0"/>
                    <a:pt x="8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1" y="0"/>
                    <a:pt x="38" y="3"/>
                    <a:pt x="37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842963" y="5748338"/>
              <a:ext cx="250825" cy="293687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842963" y="5748338"/>
              <a:ext cx="227012" cy="260350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842963" y="5748338"/>
              <a:ext cx="227012" cy="260350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195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4" y="1619452"/>
            <a:ext cx="3575304" cy="2112264"/>
          </a:xfrm>
        </p:spPr>
        <p:txBody>
          <a:bodyPr anchor="t"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504825" y="1530349"/>
            <a:ext cx="3566160" cy="548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98672" y="1524000"/>
            <a:ext cx="0" cy="42976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190275" y="1528762"/>
            <a:ext cx="5495544" cy="482803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5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1500"/>
              </a:spcBef>
              <a:buNone/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93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+mj-lt"/>
              <a:buNone/>
              <a:defRPr sz="1600">
                <a:solidFill>
                  <a:schemeClr val="accent1"/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64566" y="6356350"/>
            <a:ext cx="4114800" cy="311150"/>
          </a:xfr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03238" y="851806"/>
            <a:ext cx="11188700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84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>
          <p15:clr>
            <a:srgbClr val="FBAE40"/>
          </p15:clr>
        </p15:guide>
        <p15:guide id="2" orient="horz" pos="80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4" y="527050"/>
            <a:ext cx="11187113" cy="311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824" y="2041048"/>
            <a:ext cx="5349240" cy="4296932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03238" y="1680415"/>
            <a:ext cx="5349240" cy="4794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342697" y="2041048"/>
            <a:ext cx="5349240" cy="4296932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287338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3pPr>
            <a:lvl4pPr marL="73977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4pPr>
            <a:lvl5pPr marL="974725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342697" y="1680415"/>
            <a:ext cx="5349240" cy="4794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03238" y="851806"/>
            <a:ext cx="11188700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51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0">
          <p15:clr>
            <a:srgbClr val="FBAE40"/>
          </p15:clr>
        </p15:guide>
        <p15:guide id="2" orient="horz" pos="80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Image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5972175" y="0"/>
            <a:ext cx="6219825" cy="6781800"/>
          </a:xfrm>
        </p:spPr>
        <p:txBody>
          <a:bodyPr tIns="3657600" anchor="t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40" y="527050"/>
            <a:ext cx="5221306" cy="31115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03238" y="851806"/>
            <a:ext cx="5221307" cy="4794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524" y="6784848"/>
            <a:ext cx="12188952" cy="73152"/>
          </a:xfrm>
          <a:prstGeom prst="rect">
            <a:avLst/>
          </a:prstGeo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504824" y="1528762"/>
            <a:ext cx="5220567" cy="4824413"/>
          </a:xfr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600"/>
              </a:spcAft>
              <a:defRPr>
                <a:solidFill>
                  <a:schemeClr val="bg2">
                    <a:lumMod val="75000"/>
                  </a:schemeClr>
                </a:solidFill>
              </a:defRPr>
            </a:lvl1pPr>
            <a:lvl2pPr marL="514350" indent="-228600">
              <a:spcBef>
                <a:spcPts val="300"/>
              </a:spcBef>
              <a:spcAft>
                <a:spcPts val="600"/>
              </a:spcAft>
              <a:defRPr sz="1400">
                <a:solidFill>
                  <a:schemeClr val="bg2">
                    <a:lumMod val="75000"/>
                  </a:schemeClr>
                </a:solidFill>
              </a:defRPr>
            </a:lvl2pPr>
            <a:lvl3pPr marL="7429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3pPr>
            <a:lvl4pPr marL="9715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4pPr>
            <a:lvl5pPr marL="1200150" indent="-228600"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37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0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8000">
                <a:srgbClr val="19468E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662863" y="2659761"/>
            <a:ext cx="874580" cy="1024033"/>
            <a:chOff x="6589712" y="1914525"/>
            <a:chExt cx="870431" cy="1019175"/>
          </a:xfrm>
        </p:grpSpPr>
        <p:sp>
          <p:nvSpPr>
            <p:cNvPr id="6" name="Freeform 11"/>
            <p:cNvSpPr>
              <a:spLocks/>
            </p:cNvSpPr>
            <p:nvPr userDrawn="1"/>
          </p:nvSpPr>
          <p:spPr bwMode="auto">
            <a:xfrm>
              <a:off x="6589712" y="1914525"/>
              <a:ext cx="870431" cy="1019175"/>
            </a:xfrm>
            <a:custGeom>
              <a:avLst/>
              <a:gdLst>
                <a:gd name="T0" fmla="*/ 301 w 337"/>
                <a:gd name="T1" fmla="*/ 100 h 393"/>
                <a:gd name="T2" fmla="*/ 285 w 337"/>
                <a:gd name="T3" fmla="*/ 30 h 393"/>
                <a:gd name="T4" fmla="*/ 192 w 337"/>
                <a:gd name="T5" fmla="*/ 0 h 393"/>
                <a:gd name="T6" fmla="*/ 70 w 337"/>
                <a:gd name="T7" fmla="*/ 0 h 393"/>
                <a:gd name="T8" fmla="*/ 52 w 337"/>
                <a:gd name="T9" fmla="*/ 15 h 393"/>
                <a:gd name="T10" fmla="*/ 1 w 337"/>
                <a:gd name="T11" fmla="*/ 337 h 393"/>
                <a:gd name="T12" fmla="*/ 12 w 337"/>
                <a:gd name="T13" fmla="*/ 349 h 393"/>
                <a:gd name="T14" fmla="*/ 87 w 337"/>
                <a:gd name="T15" fmla="*/ 349 h 393"/>
                <a:gd name="T16" fmla="*/ 82 w 337"/>
                <a:gd name="T17" fmla="*/ 382 h 393"/>
                <a:gd name="T18" fmla="*/ 91 w 337"/>
                <a:gd name="T19" fmla="*/ 393 h 393"/>
                <a:gd name="T20" fmla="*/ 155 w 337"/>
                <a:gd name="T21" fmla="*/ 393 h 393"/>
                <a:gd name="T22" fmla="*/ 170 w 337"/>
                <a:gd name="T23" fmla="*/ 380 h 393"/>
                <a:gd name="T24" fmla="*/ 170 w 337"/>
                <a:gd name="T25" fmla="*/ 377 h 393"/>
                <a:gd name="T26" fmla="*/ 182 w 337"/>
                <a:gd name="T27" fmla="*/ 301 h 393"/>
                <a:gd name="T28" fmla="*/ 183 w 337"/>
                <a:gd name="T29" fmla="*/ 297 h 393"/>
                <a:gd name="T30" fmla="*/ 198 w 337"/>
                <a:gd name="T31" fmla="*/ 284 h 393"/>
                <a:gd name="T32" fmla="*/ 208 w 337"/>
                <a:gd name="T33" fmla="*/ 284 h 393"/>
                <a:gd name="T34" fmla="*/ 331 w 337"/>
                <a:gd name="T35" fmla="*/ 186 h 393"/>
                <a:gd name="T36" fmla="*/ 319 w 337"/>
                <a:gd name="T37" fmla="*/ 113 h 393"/>
                <a:gd name="T38" fmla="*/ 301 w 337"/>
                <a:gd name="T39" fmla="*/ 100 h 393"/>
                <a:gd name="T40" fmla="*/ 301 w 337"/>
                <a:gd name="T41" fmla="*/ 10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7" h="393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82" y="382"/>
                    <a:pt x="82" y="382"/>
                    <a:pt x="82" y="382"/>
                  </a:cubicBezTo>
                  <a:cubicBezTo>
                    <a:pt x="81" y="388"/>
                    <a:pt x="85" y="393"/>
                    <a:pt x="91" y="393"/>
                  </a:cubicBezTo>
                  <a:cubicBezTo>
                    <a:pt x="155" y="393"/>
                    <a:pt x="155" y="393"/>
                    <a:pt x="155" y="393"/>
                  </a:cubicBezTo>
                  <a:cubicBezTo>
                    <a:pt x="162" y="393"/>
                    <a:pt x="168" y="387"/>
                    <a:pt x="170" y="380"/>
                  </a:cubicBezTo>
                  <a:cubicBezTo>
                    <a:pt x="170" y="377"/>
                    <a:pt x="170" y="377"/>
                    <a:pt x="170" y="377"/>
                  </a:cubicBezTo>
                  <a:cubicBezTo>
                    <a:pt x="182" y="301"/>
                    <a:pt x="182" y="301"/>
                    <a:pt x="182" y="301"/>
                  </a:cubicBezTo>
                  <a:cubicBezTo>
                    <a:pt x="183" y="297"/>
                    <a:pt x="183" y="297"/>
                    <a:pt x="183" y="297"/>
                  </a:cubicBezTo>
                  <a:cubicBezTo>
                    <a:pt x="184" y="289"/>
                    <a:pt x="191" y="284"/>
                    <a:pt x="198" y="284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69" y="284"/>
                    <a:pt x="317" y="259"/>
                    <a:pt x="331" y="186"/>
                  </a:cubicBezTo>
                  <a:cubicBezTo>
                    <a:pt x="337" y="156"/>
                    <a:pt x="334" y="131"/>
                    <a:pt x="319" y="113"/>
                  </a:cubicBezTo>
                  <a:cubicBezTo>
                    <a:pt x="314" y="108"/>
                    <a:pt x="308" y="104"/>
                    <a:pt x="301" y="100"/>
                  </a:cubicBezTo>
                  <a:cubicBezTo>
                    <a:pt x="301" y="100"/>
                    <a:pt x="301" y="100"/>
                    <a:pt x="301" y="100"/>
                  </a:cubicBezTo>
                </a:path>
              </a:pathLst>
            </a:custGeom>
            <a:solidFill>
              <a:srgbClr val="FFFFFF">
                <a:alpha val="68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8" name="Freeform 12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301 w 306"/>
                <a:gd name="T1" fmla="*/ 100 h 349"/>
                <a:gd name="T2" fmla="*/ 285 w 306"/>
                <a:gd name="T3" fmla="*/ 30 h 349"/>
                <a:gd name="T4" fmla="*/ 192 w 306"/>
                <a:gd name="T5" fmla="*/ 0 h 349"/>
                <a:gd name="T6" fmla="*/ 70 w 306"/>
                <a:gd name="T7" fmla="*/ 0 h 349"/>
                <a:gd name="T8" fmla="*/ 52 w 306"/>
                <a:gd name="T9" fmla="*/ 15 h 349"/>
                <a:gd name="T10" fmla="*/ 1 w 306"/>
                <a:gd name="T11" fmla="*/ 337 h 349"/>
                <a:gd name="T12" fmla="*/ 12 w 306"/>
                <a:gd name="T13" fmla="*/ 349 h 349"/>
                <a:gd name="T14" fmla="*/ 87 w 306"/>
                <a:gd name="T15" fmla="*/ 349 h 349"/>
                <a:gd name="T16" fmla="*/ 106 w 306"/>
                <a:gd name="T17" fmla="*/ 229 h 349"/>
                <a:gd name="T18" fmla="*/ 106 w 306"/>
                <a:gd name="T19" fmla="*/ 233 h 349"/>
                <a:gd name="T20" fmla="*/ 123 w 306"/>
                <a:gd name="T21" fmla="*/ 218 h 349"/>
                <a:gd name="T22" fmla="*/ 159 w 306"/>
                <a:gd name="T23" fmla="*/ 218 h 349"/>
                <a:gd name="T24" fmla="*/ 300 w 306"/>
                <a:gd name="T25" fmla="*/ 107 h 349"/>
                <a:gd name="T26" fmla="*/ 301 w 306"/>
                <a:gd name="T27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349">
                  <a:moveTo>
                    <a:pt x="301" y="100"/>
                  </a:move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7" y="225"/>
                    <a:pt x="114" y="218"/>
                    <a:pt x="123" y="218"/>
                  </a:cubicBezTo>
                  <a:cubicBezTo>
                    <a:pt x="159" y="218"/>
                    <a:pt x="159" y="218"/>
                    <a:pt x="159" y="218"/>
                  </a:cubicBezTo>
                  <a:cubicBezTo>
                    <a:pt x="229" y="218"/>
                    <a:pt x="284" y="190"/>
                    <a:pt x="300" y="107"/>
                  </a:cubicBezTo>
                  <a:cubicBezTo>
                    <a:pt x="301" y="105"/>
                    <a:pt x="301" y="102"/>
                    <a:pt x="301" y="100"/>
                  </a:cubicBezTo>
                </a:path>
              </a:pathLst>
            </a:custGeom>
            <a:solidFill>
              <a:srgbClr val="FFFFFF">
                <a:alpha val="7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6589712" y="1914525"/>
              <a:ext cx="787793" cy="903486"/>
            </a:xfrm>
            <a:custGeom>
              <a:avLst/>
              <a:gdLst>
                <a:gd name="T0" fmla="*/ 126 w 306"/>
                <a:gd name="T1" fmla="*/ 100 h 349"/>
                <a:gd name="T2" fmla="*/ 135 w 306"/>
                <a:gd name="T3" fmla="*/ 89 h 349"/>
                <a:gd name="T4" fmla="*/ 142 w 306"/>
                <a:gd name="T5" fmla="*/ 87 h 349"/>
                <a:gd name="T6" fmla="*/ 237 w 306"/>
                <a:gd name="T7" fmla="*/ 87 h 349"/>
                <a:gd name="T8" fmla="*/ 269 w 306"/>
                <a:gd name="T9" fmla="*/ 90 h 349"/>
                <a:gd name="T10" fmla="*/ 277 w 306"/>
                <a:gd name="T11" fmla="*/ 91 h 349"/>
                <a:gd name="T12" fmla="*/ 284 w 306"/>
                <a:gd name="T13" fmla="*/ 93 h 349"/>
                <a:gd name="T14" fmla="*/ 288 w 306"/>
                <a:gd name="T15" fmla="*/ 94 h 349"/>
                <a:gd name="T16" fmla="*/ 301 w 306"/>
                <a:gd name="T17" fmla="*/ 100 h 349"/>
                <a:gd name="T18" fmla="*/ 285 w 306"/>
                <a:gd name="T19" fmla="*/ 30 h 349"/>
                <a:gd name="T20" fmla="*/ 192 w 306"/>
                <a:gd name="T21" fmla="*/ 0 h 349"/>
                <a:gd name="T22" fmla="*/ 70 w 306"/>
                <a:gd name="T23" fmla="*/ 0 h 349"/>
                <a:gd name="T24" fmla="*/ 52 w 306"/>
                <a:gd name="T25" fmla="*/ 15 h 349"/>
                <a:gd name="T26" fmla="*/ 1 w 306"/>
                <a:gd name="T27" fmla="*/ 337 h 349"/>
                <a:gd name="T28" fmla="*/ 12 w 306"/>
                <a:gd name="T29" fmla="*/ 349 h 349"/>
                <a:gd name="T30" fmla="*/ 87 w 306"/>
                <a:gd name="T31" fmla="*/ 349 h 349"/>
                <a:gd name="T32" fmla="*/ 106 w 306"/>
                <a:gd name="T33" fmla="*/ 229 h 349"/>
                <a:gd name="T34" fmla="*/ 126 w 306"/>
                <a:gd name="T35" fmla="*/ 10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6" h="349">
                  <a:moveTo>
                    <a:pt x="126" y="100"/>
                  </a:moveTo>
                  <a:cubicBezTo>
                    <a:pt x="127" y="95"/>
                    <a:pt x="131" y="91"/>
                    <a:pt x="135" y="89"/>
                  </a:cubicBezTo>
                  <a:cubicBezTo>
                    <a:pt x="137" y="88"/>
                    <a:pt x="139" y="87"/>
                    <a:pt x="142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49" y="87"/>
                    <a:pt x="259" y="88"/>
                    <a:pt x="269" y="90"/>
                  </a:cubicBezTo>
                  <a:cubicBezTo>
                    <a:pt x="272" y="90"/>
                    <a:pt x="274" y="91"/>
                    <a:pt x="277" y="91"/>
                  </a:cubicBezTo>
                  <a:cubicBezTo>
                    <a:pt x="279" y="92"/>
                    <a:pt x="282" y="92"/>
                    <a:pt x="284" y="93"/>
                  </a:cubicBezTo>
                  <a:cubicBezTo>
                    <a:pt x="286" y="94"/>
                    <a:pt x="287" y="94"/>
                    <a:pt x="288" y="94"/>
                  </a:cubicBezTo>
                  <a:cubicBezTo>
                    <a:pt x="293" y="96"/>
                    <a:pt x="297" y="98"/>
                    <a:pt x="301" y="100"/>
                  </a:cubicBezTo>
                  <a:cubicBezTo>
                    <a:pt x="306" y="69"/>
                    <a:pt x="301" y="49"/>
                    <a:pt x="285" y="30"/>
                  </a:cubicBezTo>
                  <a:cubicBezTo>
                    <a:pt x="267" y="9"/>
                    <a:pt x="234" y="0"/>
                    <a:pt x="19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1" y="0"/>
                    <a:pt x="54" y="6"/>
                    <a:pt x="52" y="15"/>
                  </a:cubicBezTo>
                  <a:cubicBezTo>
                    <a:pt x="1" y="337"/>
                    <a:pt x="1" y="337"/>
                    <a:pt x="1" y="337"/>
                  </a:cubicBezTo>
                  <a:cubicBezTo>
                    <a:pt x="0" y="344"/>
                    <a:pt x="5" y="349"/>
                    <a:pt x="12" y="349"/>
                  </a:cubicBezTo>
                  <a:cubicBezTo>
                    <a:pt x="87" y="349"/>
                    <a:pt x="87" y="349"/>
                    <a:pt x="87" y="349"/>
                  </a:cubicBezTo>
                  <a:cubicBezTo>
                    <a:pt x="106" y="229"/>
                    <a:pt x="106" y="229"/>
                    <a:pt x="106" y="229"/>
                  </a:cubicBezTo>
                  <a:lnTo>
                    <a:pt x="126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PayPal Sans Big Medium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12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4" y="1619452"/>
            <a:ext cx="3575304" cy="2112264"/>
          </a:xfrm>
        </p:spPr>
        <p:txBody>
          <a:bodyPr anchor="t"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504825" y="1530349"/>
            <a:ext cx="3566160" cy="548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PayPal Sans Big Medium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698672" y="1524000"/>
            <a:ext cx="0" cy="429768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190275" y="1528762"/>
            <a:ext cx="5495544" cy="482803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50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en-US" sz="20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1500"/>
              </a:spcBef>
              <a:buNone/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0" y="6784848"/>
            <a:ext cx="12188952" cy="73152"/>
          </a:xfrm>
          <a:gradFill flip="none" rotWithShape="1">
            <a:gsLst>
              <a:gs pos="0">
                <a:srgbClr val="0092D4"/>
              </a:gs>
              <a:gs pos="89000">
                <a:srgbClr val="003181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00" dirty="0" smtClean="0">
                <a:solidFill>
                  <a:schemeClr val="lt1"/>
                </a:solidFill>
                <a:latin typeface="PayPal Sans Big Medium" pitchFamily="34" charset="0"/>
              </a:defRPr>
            </a:lvl1pPr>
          </a:lstStyle>
          <a:p>
            <a:pPr lvl="0" algn="ctr"/>
            <a:r>
              <a:rPr lang="en-US"/>
              <a:t>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2921" y="6353176"/>
            <a:ext cx="1007178" cy="24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1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828387-9D6E-4BF7-B9CD-CBF42C162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0506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828387-9D6E-4BF7-B9CD-CBF42C162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29572E-EADB-4FA6-AB00-685B73E1F84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700" b="0" i="0" baseline="0">
              <a:latin typeface="PayPal Sans Big" panose="020B0503040504040204" pitchFamily="34" charset="0"/>
              <a:ea typeface="+mj-ea"/>
              <a:cs typeface="+mj-cs"/>
              <a:sym typeface="PayPal Sans Big" panose="020B050304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824" y="527050"/>
            <a:ext cx="11187113" cy="3111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4" y="1528762"/>
            <a:ext cx="11187114" cy="482441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37618" y="6356350"/>
            <a:ext cx="879763" cy="2926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US" sz="800" kern="1200" smtClean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64566" y="6356350"/>
            <a:ext cx="4114800" cy="31115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</a:defRPr>
            </a:lvl1pPr>
          </a:lstStyle>
          <a:p>
            <a:r>
              <a:rPr lang="en-US"/>
              <a:t>© 2021 PayPal Inc. Confidential and proprietar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69650" y="6356350"/>
            <a:ext cx="527050" cy="2920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 b="0">
                <a:solidFill>
                  <a:schemeClr val="tx2">
                    <a:lumMod val="60000"/>
                    <a:lumOff val="40000"/>
                  </a:schemeClr>
                </a:solidFill>
                <a:latin typeface="PayPal Sans Big Medium" pitchFamily="34" charset="0"/>
              </a:defRPr>
            </a:lvl1pPr>
          </a:lstStyle>
          <a:p>
            <a:fld id="{07CF5707-6B01-4E28-B52C-5F626EA6C5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74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500"/>
        </a:spcBef>
        <a:buClr>
          <a:schemeClr val="accent1"/>
        </a:buClr>
        <a:buFont typeface="Arial" panose="020B0604020202020204" pitchFamily="34" charset="0"/>
        <a:buNone/>
        <a:defRPr sz="1600" kern="1200">
          <a:solidFill>
            <a:schemeClr val="accent1"/>
          </a:solidFill>
          <a:latin typeface="PayPal Sans Big Medium" pitchFamily="34" charset="0"/>
          <a:ea typeface="+mn-ea"/>
          <a:cs typeface="+mn-cs"/>
        </a:defRPr>
      </a:lvl1pPr>
      <a:lvl2pPr marL="287338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bg2">
              <a:lumMod val="75000"/>
            </a:schemeClr>
          </a:solidFill>
          <a:latin typeface="PayPal Sans Big Medium" pitchFamily="34" charset="0"/>
          <a:ea typeface="+mn-ea"/>
          <a:cs typeface="+mn-cs"/>
        </a:defRPr>
      </a:lvl2pPr>
      <a:lvl3pPr marL="51435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bg2">
              <a:lumMod val="75000"/>
            </a:schemeClr>
          </a:solidFill>
          <a:latin typeface="PayPal Sans Big Medium" pitchFamily="34" charset="0"/>
          <a:ea typeface="+mn-ea"/>
          <a:cs typeface="+mn-cs"/>
        </a:defRPr>
      </a:lvl3pPr>
      <a:lvl4pPr marL="739775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bg2">
              <a:lumMod val="75000"/>
            </a:schemeClr>
          </a:solidFill>
          <a:latin typeface="PayPal Sans Big Medium" pitchFamily="34" charset="0"/>
          <a:ea typeface="+mn-ea"/>
          <a:cs typeface="+mn-cs"/>
        </a:defRPr>
      </a:lvl4pPr>
      <a:lvl5pPr marL="974725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bg2">
              <a:lumMod val="75000"/>
            </a:schemeClr>
          </a:solidFill>
          <a:latin typeface="PayPal Sans Big Medium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F26B43"/>
          </p15:clr>
        </p15:guide>
        <p15:guide id="2" pos="7365">
          <p15:clr>
            <a:srgbClr val="F26B43"/>
          </p15:clr>
        </p15:guide>
        <p15:guide id="3" orient="horz" pos="4002">
          <p15:clr>
            <a:srgbClr val="F26B43"/>
          </p15:clr>
        </p15:guide>
        <p15:guide id="6" orient="horz" pos="3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comments" Target="../comments/comment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microsoft.com/office/2014/relationships/chartEx" Target="../charts/chartEx2.xml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microsoft.com/office/2014/relationships/chartEx" Target="../charts/chartEx3.xml"/><Relationship Id="rId4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microsoft.com/office/2014/relationships/chartEx" Target="../charts/chartEx4.xml"/><Relationship Id="rId4" Type="http://schemas.openxmlformats.org/officeDocument/2006/relationships/image" Target="../media/image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2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.emf"/><Relationship Id="rId9" Type="http://schemas.microsoft.com/office/2007/relationships/diagramDrawing" Target="../diagrams/drawing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chart" Target="../charts/chart1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hyperlink" Target="Excel_Working_Files/Feature_Details_Merchant_Examples.xlsx" TargetMode="Externa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microsoft.com/office/2014/relationships/chartEx" Target="../charts/chartEx1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 dirty="0">
                <a:latin typeface="PayPal Sans Big Medium"/>
              </a:rPr>
              <a:t>Servicing Segmentation Updat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0D895-9A87-AA41-9A56-6103F899BD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US">
                <a:solidFill>
                  <a:srgbClr val="FFFFFF"/>
                </a:solidFill>
                <a:latin typeface="PayPal Sans Big Medium"/>
              </a:rPr>
              <a:t>Jay Kulkarni, Aniket Chhabra, Ashwin Rajagopalan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259EA0-1E73-49E8-A93F-70FAF4A0774D}"/>
              </a:ext>
            </a:extLst>
          </p:cNvPr>
          <p:cNvSpPr txBox="1">
            <a:spLocks/>
          </p:cNvSpPr>
          <p:nvPr/>
        </p:nvSpPr>
        <p:spPr>
          <a:xfrm>
            <a:off x="507196" y="4126685"/>
            <a:ext cx="10515600" cy="38258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bg1">
                    <a:alpha val="60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  <a:latin typeface="PayPal Sans Big Medium"/>
              </a:rPr>
              <a:t>September 7,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8F5105-20FC-446C-B6B5-E4AF0FA304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37436B-0F77-43CE-A754-D6C53E4E8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0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97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Regional View of Complexity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0E993FD-3F06-4BA3-8B9F-B28878A82B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DF4D93D-FFC8-4DFC-9053-38D88CAEE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42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02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US Regi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ED3505-E918-4F55-8AB6-CF0E2E8C59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E3EA3FE-8054-4C6A-A290-A88372224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AB7810-AF12-4EB5-A9AB-1CE7B45632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314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AB7810-AF12-4EB5-A9AB-1CE7B4563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40F6601-B2D0-4519-8C6D-A98F5EA71712}"/>
              </a:ext>
            </a:extLst>
          </p:cNvPr>
          <p:cNvSpPr/>
          <p:nvPr/>
        </p:nvSpPr>
        <p:spPr>
          <a:xfrm>
            <a:off x="84422" y="1066961"/>
            <a:ext cx="12045876" cy="5363697"/>
          </a:xfrm>
          <a:prstGeom prst="rect">
            <a:avLst/>
          </a:prstGeom>
          <a:solidFill>
            <a:srgbClr val="FBFBFB"/>
          </a:solidFill>
          <a:ln w="190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CC6245-14C9-4452-99FD-481FD8335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276AF-2A8B-409A-AB45-E4D5043FC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2</a:t>
            </a:fld>
            <a:endParaRPr lang="en-US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57E0F22B-F124-4764-843E-22A39551B9D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30123257"/>
                  </p:ext>
                </p:extLst>
              </p:nvPr>
            </p:nvGraphicFramePr>
            <p:xfrm>
              <a:off x="400692" y="1997836"/>
              <a:ext cx="11296008" cy="424885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57E0F22B-F124-4764-843E-22A39551B9D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0692" y="1997836"/>
                <a:ext cx="11296008" cy="4248851"/>
              </a:xfrm>
              <a:prstGeom prst="rect">
                <a:avLst/>
              </a:prstGeom>
            </p:spPr>
          </p:pic>
        </mc:Fallback>
      </mc:AlternateContent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EF3CF00-1E99-4B7C-A379-B063D3A0C8F5}"/>
              </a:ext>
            </a:extLst>
          </p:cNvPr>
          <p:cNvSpPr/>
          <p:nvPr/>
        </p:nvSpPr>
        <p:spPr>
          <a:xfrm>
            <a:off x="33052" y="1593748"/>
            <a:ext cx="904126" cy="40408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a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80669F6-8F2F-4AF2-AB7D-33EAC9F63E69}"/>
              </a:ext>
            </a:extLst>
          </p:cNvPr>
          <p:cNvSpPr/>
          <p:nvPr/>
        </p:nvSpPr>
        <p:spPr>
          <a:xfrm>
            <a:off x="33052" y="1895094"/>
            <a:ext cx="904126" cy="52226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dian</a:t>
            </a:r>
          </a:p>
        </p:txBody>
      </p:sp>
      <p:graphicFrame>
        <p:nvGraphicFramePr>
          <p:cNvPr id="10" name="Table 8">
            <a:extLst>
              <a:ext uri="{FF2B5EF4-FFF2-40B4-BE49-F238E27FC236}">
                <a16:creationId xmlns:a16="http://schemas.microsoft.com/office/drawing/2014/main" id="{A419B6B5-85A1-4092-A3D6-2E6EAED59A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269221"/>
              </p:ext>
            </p:extLst>
          </p:nvPr>
        </p:nvGraphicFramePr>
        <p:xfrm>
          <a:off x="937177" y="1178998"/>
          <a:ext cx="10569876" cy="1208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42571">
                  <a:extLst>
                    <a:ext uri="{9D8B030D-6E8A-4147-A177-3AD203B41FA5}">
                      <a16:colId xmlns:a16="http://schemas.microsoft.com/office/drawing/2014/main" val="2075488231"/>
                    </a:ext>
                  </a:extLst>
                </a:gridCol>
                <a:gridCol w="933548">
                  <a:extLst>
                    <a:ext uri="{9D8B030D-6E8A-4147-A177-3AD203B41FA5}">
                      <a16:colId xmlns:a16="http://schemas.microsoft.com/office/drawing/2014/main" val="3954257252"/>
                    </a:ext>
                  </a:extLst>
                </a:gridCol>
                <a:gridCol w="1022694">
                  <a:extLst>
                    <a:ext uri="{9D8B030D-6E8A-4147-A177-3AD203B41FA5}">
                      <a16:colId xmlns:a16="http://schemas.microsoft.com/office/drawing/2014/main" val="1090199508"/>
                    </a:ext>
                  </a:extLst>
                </a:gridCol>
                <a:gridCol w="894957">
                  <a:extLst>
                    <a:ext uri="{9D8B030D-6E8A-4147-A177-3AD203B41FA5}">
                      <a16:colId xmlns:a16="http://schemas.microsoft.com/office/drawing/2014/main" val="2835189892"/>
                    </a:ext>
                  </a:extLst>
                </a:gridCol>
                <a:gridCol w="867121">
                  <a:extLst>
                    <a:ext uri="{9D8B030D-6E8A-4147-A177-3AD203B41FA5}">
                      <a16:colId xmlns:a16="http://schemas.microsoft.com/office/drawing/2014/main" val="894541541"/>
                    </a:ext>
                  </a:extLst>
                </a:gridCol>
                <a:gridCol w="1106427">
                  <a:extLst>
                    <a:ext uri="{9D8B030D-6E8A-4147-A177-3AD203B41FA5}">
                      <a16:colId xmlns:a16="http://schemas.microsoft.com/office/drawing/2014/main" val="3500247995"/>
                    </a:ext>
                  </a:extLst>
                </a:gridCol>
                <a:gridCol w="1005383">
                  <a:extLst>
                    <a:ext uri="{9D8B030D-6E8A-4147-A177-3AD203B41FA5}">
                      <a16:colId xmlns:a16="http://schemas.microsoft.com/office/drawing/2014/main" val="2302450544"/>
                    </a:ext>
                  </a:extLst>
                </a:gridCol>
                <a:gridCol w="958881">
                  <a:extLst>
                    <a:ext uri="{9D8B030D-6E8A-4147-A177-3AD203B41FA5}">
                      <a16:colId xmlns:a16="http://schemas.microsoft.com/office/drawing/2014/main" val="2789838120"/>
                    </a:ext>
                  </a:extLst>
                </a:gridCol>
                <a:gridCol w="946098">
                  <a:extLst>
                    <a:ext uri="{9D8B030D-6E8A-4147-A177-3AD203B41FA5}">
                      <a16:colId xmlns:a16="http://schemas.microsoft.com/office/drawing/2014/main" val="3392184087"/>
                    </a:ext>
                  </a:extLst>
                </a:gridCol>
                <a:gridCol w="946098">
                  <a:extLst>
                    <a:ext uri="{9D8B030D-6E8A-4147-A177-3AD203B41FA5}">
                      <a16:colId xmlns:a16="http://schemas.microsoft.com/office/drawing/2014/main" val="4012495055"/>
                    </a:ext>
                  </a:extLst>
                </a:gridCol>
                <a:gridCol w="946098">
                  <a:extLst>
                    <a:ext uri="{9D8B030D-6E8A-4147-A177-3AD203B41FA5}">
                      <a16:colId xmlns:a16="http://schemas.microsoft.com/office/drawing/2014/main" val="1385430911"/>
                    </a:ext>
                  </a:extLst>
                </a:gridCol>
              </a:tblGrid>
              <a:tr h="41049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Global Accounts</a:t>
                      </a:r>
                    </a:p>
                  </a:txBody>
                  <a:tcPr anchor="ctr">
                    <a:solidFill>
                      <a:srgbClr val="0099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A</a:t>
                      </a:r>
                    </a:p>
                  </a:txBody>
                  <a:tcPr anchor="ctr">
                    <a:solidFill>
                      <a:srgbClr val="0024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</a:t>
                      </a:r>
                    </a:p>
                  </a:txBody>
                  <a:tcPr marL="6350" marR="6350" marT="6350" marB="0" anchor="ctr">
                    <a:solidFill>
                      <a:srgbClr val="5603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</a:t>
                      </a: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G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R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G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R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D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325864"/>
                  </a:ext>
                </a:extLst>
              </a:tr>
              <a:tr h="4104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31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34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2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9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1992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8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38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4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8172812"/>
                  </a:ext>
                </a:extLst>
              </a:tr>
            </a:tbl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F382E8CD-91D9-4899-BA0A-1527C2E5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8" y="178102"/>
            <a:ext cx="11743532" cy="323334"/>
          </a:xfrm>
        </p:spPr>
        <p:txBody>
          <a:bodyPr vert="horz"/>
          <a:lstStyle/>
          <a:p>
            <a:r>
              <a:rPr lang="en-US" dirty="0"/>
              <a:t>Score Distribution across Servicing Segments 202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5C6F068-6FEC-4A13-BDD9-1374721799FE}"/>
              </a:ext>
            </a:extLst>
          </p:cNvPr>
          <p:cNvSpPr txBox="1">
            <a:spLocks/>
          </p:cNvSpPr>
          <p:nvPr/>
        </p:nvSpPr>
        <p:spPr>
          <a:xfrm>
            <a:off x="104264" y="478663"/>
            <a:ext cx="12006191" cy="479425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  <a:lvl2pPr marL="287338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2pPr>
            <a:lvl3pPr marL="51435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3pPr>
            <a:lvl4pPr marL="739775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4pPr>
            <a:lvl5pPr marL="974725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lobal Accounts and B1 accounts are high complex than other segments; </a:t>
            </a:r>
            <a:r>
              <a:rPr lang="en-US" sz="2000" dirty="0"/>
              <a:t>B1 score significantly higher than A; similarly higher scores B2 and B3 retain segments than their grow counterpar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98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EE8BAC1-1F0D-48E3-AFDD-7307A55A94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EE8BAC1-1F0D-48E3-AFDD-7307A55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D45B6A-7A94-4543-BF93-F0C62EF1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84" y="80477"/>
            <a:ext cx="11783584" cy="349256"/>
          </a:xfrm>
        </p:spPr>
        <p:txBody>
          <a:bodyPr vert="horz"/>
          <a:lstStyle/>
          <a:p>
            <a:r>
              <a:rPr lang="en-US" dirty="0"/>
              <a:t>Merchant level case studi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A6ADA8-B8D7-493C-B93C-17D793E02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4276" y="6284973"/>
            <a:ext cx="4114800" cy="311150"/>
          </a:xfrm>
        </p:spPr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91" name="Slide Number Placeholder 90">
            <a:extLst>
              <a:ext uri="{FF2B5EF4-FFF2-40B4-BE49-F238E27FC236}">
                <a16:creationId xmlns:a16="http://schemas.microsoft.com/office/drawing/2014/main" id="{660B013E-E973-425B-B611-C31B4EF3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2299B7DC-51DE-4465-987C-B336026DFB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336875"/>
              </p:ext>
            </p:extLst>
          </p:nvPr>
        </p:nvGraphicFramePr>
        <p:xfrm>
          <a:off x="84636" y="974374"/>
          <a:ext cx="11997773" cy="538197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685011">
                  <a:extLst>
                    <a:ext uri="{9D8B030D-6E8A-4147-A177-3AD203B41FA5}">
                      <a16:colId xmlns:a16="http://schemas.microsoft.com/office/drawing/2014/main" val="1017169334"/>
                    </a:ext>
                  </a:extLst>
                </a:gridCol>
                <a:gridCol w="1088091">
                  <a:extLst>
                    <a:ext uri="{9D8B030D-6E8A-4147-A177-3AD203B41FA5}">
                      <a16:colId xmlns:a16="http://schemas.microsoft.com/office/drawing/2014/main" val="3800572623"/>
                    </a:ext>
                  </a:extLst>
                </a:gridCol>
                <a:gridCol w="1325706">
                  <a:extLst>
                    <a:ext uri="{9D8B030D-6E8A-4147-A177-3AD203B41FA5}">
                      <a16:colId xmlns:a16="http://schemas.microsoft.com/office/drawing/2014/main" val="1067751529"/>
                    </a:ext>
                  </a:extLst>
                </a:gridCol>
                <a:gridCol w="1032575">
                  <a:extLst>
                    <a:ext uri="{9D8B030D-6E8A-4147-A177-3AD203B41FA5}">
                      <a16:colId xmlns:a16="http://schemas.microsoft.com/office/drawing/2014/main" val="1101133808"/>
                    </a:ext>
                  </a:extLst>
                </a:gridCol>
                <a:gridCol w="1076987">
                  <a:extLst>
                    <a:ext uri="{9D8B030D-6E8A-4147-A177-3AD203B41FA5}">
                      <a16:colId xmlns:a16="http://schemas.microsoft.com/office/drawing/2014/main" val="3105014489"/>
                    </a:ext>
                  </a:extLst>
                </a:gridCol>
                <a:gridCol w="2287210">
                  <a:extLst>
                    <a:ext uri="{9D8B030D-6E8A-4147-A177-3AD203B41FA5}">
                      <a16:colId xmlns:a16="http://schemas.microsoft.com/office/drawing/2014/main" val="2134577164"/>
                    </a:ext>
                  </a:extLst>
                </a:gridCol>
                <a:gridCol w="1387870">
                  <a:extLst>
                    <a:ext uri="{9D8B030D-6E8A-4147-A177-3AD203B41FA5}">
                      <a16:colId xmlns:a16="http://schemas.microsoft.com/office/drawing/2014/main" val="2249257361"/>
                    </a:ext>
                  </a:extLst>
                </a:gridCol>
                <a:gridCol w="830053">
                  <a:extLst>
                    <a:ext uri="{9D8B030D-6E8A-4147-A177-3AD203B41FA5}">
                      <a16:colId xmlns:a16="http://schemas.microsoft.com/office/drawing/2014/main" val="381664439"/>
                    </a:ext>
                  </a:extLst>
                </a:gridCol>
                <a:gridCol w="1284270">
                  <a:extLst>
                    <a:ext uri="{9D8B030D-6E8A-4147-A177-3AD203B41FA5}">
                      <a16:colId xmlns:a16="http://schemas.microsoft.com/office/drawing/2014/main" val="1608093825"/>
                    </a:ext>
                  </a:extLst>
                </a:gridCol>
              </a:tblGrid>
              <a:tr h="94922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ntity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rvicing Segment-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exity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# of Child Ac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Vertic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xisting Product </a:t>
                      </a:r>
                    </a:p>
                    <a:p>
                      <a:pPr algn="ctr"/>
                      <a:r>
                        <a:rPr lang="en-US" sz="1400" dirty="0"/>
                        <a:t>Sui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3M Account/Brand Expan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12M TP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ther reasons for high/low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5875807"/>
                  </a:ext>
                </a:extLst>
              </a:tr>
              <a:tr h="76921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IVE NATION ENTERTAINMENT, IN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9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icke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anded XO + BT (chase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4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igh # of disputes, CB and parity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060513"/>
                  </a:ext>
                </a:extLst>
              </a:tr>
              <a:tr h="625063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rown Gaming In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MG/FR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7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amb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randed XO + BT (DCC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1.4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3M new BT activ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990286"/>
                  </a:ext>
                </a:extLst>
              </a:tr>
              <a:tr h="101282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elloFresh In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5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roce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+ Unbranded XO + BT (Wells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.5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3M new Branded + BT activ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8693923"/>
                  </a:ext>
                </a:extLst>
              </a:tr>
              <a:tr h="1012827"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BetMGM</a:t>
                      </a:r>
                      <a:r>
                        <a:rPr lang="en-US" sz="1200"/>
                        <a:t> LL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7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Gamb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anded X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250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ess complex product suite and TPV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236859"/>
                  </a:ext>
                </a:extLst>
              </a:tr>
              <a:tr h="1012827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he Home Depot, Inc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t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randed XO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2.5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ess complex product suite, Retail Industr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9597789"/>
                  </a:ext>
                </a:extLst>
              </a:tr>
            </a:tbl>
          </a:graphicData>
        </a:graphic>
      </p:graphicFrame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D2853F0-5E8C-4AB1-B48E-5E030F2651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7" y="351072"/>
            <a:ext cx="12188575" cy="510829"/>
          </a:xfrm>
        </p:spPr>
        <p:txBody>
          <a:bodyPr>
            <a:noAutofit/>
          </a:bodyPr>
          <a:lstStyle/>
          <a:p>
            <a:r>
              <a:rPr lang="en-US" sz="1700" b="1" dirty="0"/>
              <a:t>LIVE Nation</a:t>
            </a:r>
            <a:r>
              <a:rPr lang="en-US" sz="1700" dirty="0"/>
              <a:t> high complex due to L3M account/brand expansion and existing BT with multiple integrations with Ticketing vertical; Home Depot less complex due to no exiting complex products and Retail vertical with less L12M TPV;</a:t>
            </a:r>
          </a:p>
        </p:txBody>
      </p:sp>
    </p:spTree>
    <p:extLst>
      <p:ext uri="{BB962C8B-B14F-4D97-AF65-F5344CB8AC3E}">
        <p14:creationId xmlns:p14="http://schemas.microsoft.com/office/powerpoint/2010/main" val="355873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91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UK Reg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520A5F-4918-4686-A931-7EE23A1C1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27CE36-D373-4B72-ACDE-B503B9063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6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FDDAA4-4D3E-48CF-8A78-7D9C2FE689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6FDDAA4-4D3E-48CF-8A78-7D9C2FE68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A9645E2-35E9-44F4-9714-DD87A015AE2E}"/>
              </a:ext>
            </a:extLst>
          </p:cNvPr>
          <p:cNvSpPr/>
          <p:nvPr/>
        </p:nvSpPr>
        <p:spPr>
          <a:xfrm>
            <a:off x="84422" y="1140909"/>
            <a:ext cx="12045876" cy="5251660"/>
          </a:xfrm>
          <a:prstGeom prst="rect">
            <a:avLst/>
          </a:prstGeom>
          <a:solidFill>
            <a:srgbClr val="FBFBFB"/>
          </a:solidFill>
          <a:ln w="190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2045E5-CC14-4930-9BCD-CC9305A52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="1"/>
              <a:t>© 2021 PayPal Inc. Confidential and proprietary.</a:t>
            </a:r>
            <a:endParaRPr lang="en-GB" b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3C04C0-CD89-4DCB-BC8F-7D47D8129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b="1" smtClean="0"/>
              <a:pPr/>
              <a:t>15</a:t>
            </a:fld>
            <a:endParaRPr lang="en-US" b="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D97A22-EB2A-4E3D-8816-18A016C099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2967" y="477873"/>
            <a:ext cx="12006191" cy="479425"/>
          </a:xfrm>
        </p:spPr>
        <p:txBody>
          <a:bodyPr>
            <a:normAutofit fontScale="85000" lnSpcReduction="20000"/>
          </a:bodyPr>
          <a:lstStyle/>
          <a:p>
            <a:r>
              <a:rPr lang="en-US" sz="2000" dirty="0"/>
              <a:t>B1 score significantly higher than A and Global Accounts; similarly, much higher scores B1,B2 and B3 retain segments than their grow counterpart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585D732-71D5-4002-B484-D89C02C06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8" y="147280"/>
            <a:ext cx="11743532" cy="323334"/>
          </a:xfrm>
        </p:spPr>
        <p:txBody>
          <a:bodyPr vert="horz"/>
          <a:lstStyle/>
          <a:p>
            <a:r>
              <a:rPr lang="en-US" dirty="0"/>
              <a:t>Score Distribution across Servicing Segments 2021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248D3B2-E2C7-4797-8555-BD9579466E6A}"/>
              </a:ext>
            </a:extLst>
          </p:cNvPr>
          <p:cNvSpPr/>
          <p:nvPr/>
        </p:nvSpPr>
        <p:spPr>
          <a:xfrm>
            <a:off x="33052" y="1593748"/>
            <a:ext cx="904126" cy="40408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a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7F23CD1-C2CC-4865-92B6-3F9F319D2606}"/>
              </a:ext>
            </a:extLst>
          </p:cNvPr>
          <p:cNvSpPr/>
          <p:nvPr/>
        </p:nvSpPr>
        <p:spPr>
          <a:xfrm>
            <a:off x="33052" y="1895094"/>
            <a:ext cx="904126" cy="52226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dian</a:t>
            </a:r>
          </a:p>
        </p:txBody>
      </p:sp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21C0E2FD-699D-4202-8590-DC7942C997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841454"/>
              </p:ext>
            </p:extLst>
          </p:nvPr>
        </p:nvGraphicFramePr>
        <p:xfrm>
          <a:off x="937178" y="1178998"/>
          <a:ext cx="11080481" cy="1208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40251">
                  <a:extLst>
                    <a:ext uri="{9D8B030D-6E8A-4147-A177-3AD203B41FA5}">
                      <a16:colId xmlns:a16="http://schemas.microsoft.com/office/drawing/2014/main" val="2075488231"/>
                    </a:ext>
                  </a:extLst>
                </a:gridCol>
                <a:gridCol w="832207">
                  <a:extLst>
                    <a:ext uri="{9D8B030D-6E8A-4147-A177-3AD203B41FA5}">
                      <a16:colId xmlns:a16="http://schemas.microsoft.com/office/drawing/2014/main" val="3954257252"/>
                    </a:ext>
                  </a:extLst>
                </a:gridCol>
                <a:gridCol w="911676">
                  <a:extLst>
                    <a:ext uri="{9D8B030D-6E8A-4147-A177-3AD203B41FA5}">
                      <a16:colId xmlns:a16="http://schemas.microsoft.com/office/drawing/2014/main" val="1090199508"/>
                    </a:ext>
                  </a:extLst>
                </a:gridCol>
                <a:gridCol w="861378">
                  <a:extLst>
                    <a:ext uri="{9D8B030D-6E8A-4147-A177-3AD203B41FA5}">
                      <a16:colId xmlns:a16="http://schemas.microsoft.com/office/drawing/2014/main" val="728312284"/>
                    </a:ext>
                  </a:extLst>
                </a:gridCol>
                <a:gridCol w="796635">
                  <a:extLst>
                    <a:ext uri="{9D8B030D-6E8A-4147-A177-3AD203B41FA5}">
                      <a16:colId xmlns:a16="http://schemas.microsoft.com/office/drawing/2014/main" val="1497696173"/>
                    </a:ext>
                  </a:extLst>
                </a:gridCol>
                <a:gridCol w="797805">
                  <a:extLst>
                    <a:ext uri="{9D8B030D-6E8A-4147-A177-3AD203B41FA5}">
                      <a16:colId xmlns:a16="http://schemas.microsoft.com/office/drawing/2014/main" val="2835189892"/>
                    </a:ext>
                  </a:extLst>
                </a:gridCol>
                <a:gridCol w="772991">
                  <a:extLst>
                    <a:ext uri="{9D8B030D-6E8A-4147-A177-3AD203B41FA5}">
                      <a16:colId xmlns:a16="http://schemas.microsoft.com/office/drawing/2014/main" val="894541541"/>
                    </a:ext>
                  </a:extLst>
                </a:gridCol>
                <a:gridCol w="986319">
                  <a:extLst>
                    <a:ext uri="{9D8B030D-6E8A-4147-A177-3AD203B41FA5}">
                      <a16:colId xmlns:a16="http://schemas.microsoft.com/office/drawing/2014/main" val="3500247995"/>
                    </a:ext>
                  </a:extLst>
                </a:gridCol>
                <a:gridCol w="896244">
                  <a:extLst>
                    <a:ext uri="{9D8B030D-6E8A-4147-A177-3AD203B41FA5}">
                      <a16:colId xmlns:a16="http://schemas.microsoft.com/office/drawing/2014/main" val="2302450544"/>
                    </a:ext>
                  </a:extLst>
                </a:gridCol>
                <a:gridCol w="854790">
                  <a:extLst>
                    <a:ext uri="{9D8B030D-6E8A-4147-A177-3AD203B41FA5}">
                      <a16:colId xmlns:a16="http://schemas.microsoft.com/office/drawing/2014/main" val="2789838120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3392184087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4012495055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1385430911"/>
                    </a:ext>
                  </a:extLst>
                </a:gridCol>
              </a:tblGrid>
              <a:tr h="41049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Global Accounts</a:t>
                      </a:r>
                    </a:p>
                  </a:txBody>
                  <a:tcPr anchor="ctr">
                    <a:solidFill>
                      <a:srgbClr val="0099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A</a:t>
                      </a:r>
                    </a:p>
                  </a:txBody>
                  <a:tcPr anchor="ctr">
                    <a:solidFill>
                      <a:srgbClr val="0024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</a:t>
                      </a:r>
                    </a:p>
                  </a:txBody>
                  <a:tcPr marL="6350" marR="6350" marT="6350" marB="0" anchor="ctr">
                    <a:solidFill>
                      <a:srgbClr val="5603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 G</a:t>
                      </a:r>
                    </a:p>
                  </a:txBody>
                  <a:tcPr marL="6350" marR="6350" marT="6350" marB="0" anchor="ctr">
                    <a:solidFill>
                      <a:srgbClr val="C0005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 R</a:t>
                      </a:r>
                    </a:p>
                  </a:txBody>
                  <a:tcPr marL="6350" marR="6350" marT="6350" marB="0" anchor="ctr">
                    <a:solidFill>
                      <a:srgbClr val="E68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</a:t>
                      </a: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G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R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G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R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D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325864"/>
                  </a:ext>
                </a:extLst>
              </a:tr>
              <a:tr h="4104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1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38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5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3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1992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41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8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7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8172812"/>
                  </a:ext>
                </a:extLst>
              </a:tr>
            </a:tbl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Chart 11">
                <a:extLst>
                  <a:ext uri="{FF2B5EF4-FFF2-40B4-BE49-F238E27FC236}">
                    <a16:creationId xmlns:a16="http://schemas.microsoft.com/office/drawing/2014/main" id="{F5EDBDC6-02FB-4CCA-B6BE-44D23F3657C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53201210"/>
                  </p:ext>
                </p:extLst>
              </p:nvPr>
            </p:nvGraphicFramePr>
            <p:xfrm>
              <a:off x="575353" y="2412585"/>
              <a:ext cx="11442305" cy="38032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2" name="Chart 11">
                <a:extLst>
                  <a:ext uri="{FF2B5EF4-FFF2-40B4-BE49-F238E27FC236}">
                    <a16:creationId xmlns:a16="http://schemas.microsoft.com/office/drawing/2014/main" id="{F5EDBDC6-02FB-4CCA-B6BE-44D23F3657C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5353" y="2412585"/>
                <a:ext cx="11442305" cy="380327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8719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EE8BAC1-1F0D-48E3-AFDD-7307A55A94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EE8BAC1-1F0D-48E3-AFDD-7307A55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A6ADA8-B8D7-493C-B93C-17D793E02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4276" y="6284973"/>
            <a:ext cx="4114800" cy="311150"/>
          </a:xfrm>
        </p:spPr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91" name="Slide Number Placeholder 90">
            <a:extLst>
              <a:ext uri="{FF2B5EF4-FFF2-40B4-BE49-F238E27FC236}">
                <a16:creationId xmlns:a16="http://schemas.microsoft.com/office/drawing/2014/main" id="{660B013E-E973-425B-B611-C31B4EF3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2299B7DC-51DE-4465-987C-B336026DFB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5507878"/>
              </p:ext>
            </p:extLst>
          </p:nvPr>
        </p:nvGraphicFramePr>
        <p:xfrm>
          <a:off x="84635" y="986319"/>
          <a:ext cx="12018321" cy="528322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18755">
                  <a:extLst>
                    <a:ext uri="{9D8B030D-6E8A-4147-A177-3AD203B41FA5}">
                      <a16:colId xmlns:a16="http://schemas.microsoft.com/office/drawing/2014/main" val="1017169334"/>
                    </a:ext>
                  </a:extLst>
                </a:gridCol>
                <a:gridCol w="1109881">
                  <a:extLst>
                    <a:ext uri="{9D8B030D-6E8A-4147-A177-3AD203B41FA5}">
                      <a16:colId xmlns:a16="http://schemas.microsoft.com/office/drawing/2014/main" val="3800572623"/>
                    </a:ext>
                  </a:extLst>
                </a:gridCol>
                <a:gridCol w="1132530">
                  <a:extLst>
                    <a:ext uri="{9D8B030D-6E8A-4147-A177-3AD203B41FA5}">
                      <a16:colId xmlns:a16="http://schemas.microsoft.com/office/drawing/2014/main" val="1067751529"/>
                    </a:ext>
                  </a:extLst>
                </a:gridCol>
                <a:gridCol w="1053255">
                  <a:extLst>
                    <a:ext uri="{9D8B030D-6E8A-4147-A177-3AD203B41FA5}">
                      <a16:colId xmlns:a16="http://schemas.microsoft.com/office/drawing/2014/main" val="1101133808"/>
                    </a:ext>
                  </a:extLst>
                </a:gridCol>
                <a:gridCol w="1098555">
                  <a:extLst>
                    <a:ext uri="{9D8B030D-6E8A-4147-A177-3AD203B41FA5}">
                      <a16:colId xmlns:a16="http://schemas.microsoft.com/office/drawing/2014/main" val="3105014489"/>
                    </a:ext>
                  </a:extLst>
                </a:gridCol>
                <a:gridCol w="2333015">
                  <a:extLst>
                    <a:ext uri="{9D8B030D-6E8A-4147-A177-3AD203B41FA5}">
                      <a16:colId xmlns:a16="http://schemas.microsoft.com/office/drawing/2014/main" val="2134577164"/>
                    </a:ext>
                  </a:extLst>
                </a:gridCol>
                <a:gridCol w="1415663">
                  <a:extLst>
                    <a:ext uri="{9D8B030D-6E8A-4147-A177-3AD203B41FA5}">
                      <a16:colId xmlns:a16="http://schemas.microsoft.com/office/drawing/2014/main" val="2249257361"/>
                    </a:ext>
                  </a:extLst>
                </a:gridCol>
                <a:gridCol w="1007953">
                  <a:extLst>
                    <a:ext uri="{9D8B030D-6E8A-4147-A177-3AD203B41FA5}">
                      <a16:colId xmlns:a16="http://schemas.microsoft.com/office/drawing/2014/main" val="381664439"/>
                    </a:ext>
                  </a:extLst>
                </a:gridCol>
                <a:gridCol w="1148714">
                  <a:extLst>
                    <a:ext uri="{9D8B030D-6E8A-4147-A177-3AD203B41FA5}">
                      <a16:colId xmlns:a16="http://schemas.microsoft.com/office/drawing/2014/main" val="1608093825"/>
                    </a:ext>
                  </a:extLst>
                </a:gridCol>
              </a:tblGrid>
              <a:tr h="97075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ntity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rvicing Segment-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mplexity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# of Child Ac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ertic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isting Product 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ui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3M Account/Brand Expan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12M TP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ther reasons for high/low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5875807"/>
                  </a:ext>
                </a:extLst>
              </a:tr>
              <a:tr h="698457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JD SPORTS FASHION PL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ash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randed + Unbranded XO + BT (Multiple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Unbranded + Email </a:t>
                      </a:r>
                      <a:r>
                        <a:rPr lang="en-US" sz="1200" dirty="0" err="1"/>
                        <a:t>Pm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595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3M Decli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060513"/>
                  </a:ext>
                </a:extLst>
              </a:tr>
              <a:tr h="61661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PORTSDIRECT.COM RETAIL LIMI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ash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randed XO + BT (Multiple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randed solu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553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990286"/>
                  </a:ext>
                </a:extLst>
              </a:tr>
              <a:tr h="999134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OTTINGHAM REHAB LIMI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2 Reta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5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eal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randed + Unbranded XO + BT (DCC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26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3M Decli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8693923"/>
                  </a:ext>
                </a:extLst>
              </a:tr>
              <a:tr h="999134">
                <a:tc>
                  <a:txBody>
                    <a:bodyPr/>
                    <a:lstStyle/>
                    <a:p>
                      <a:pPr algn="ctr"/>
                      <a:r>
                        <a:rPr lang="en-US" sz="1200" err="1"/>
                        <a:t>Avanquest</a:t>
                      </a:r>
                      <a:r>
                        <a:rPr lang="en-US" sz="1200"/>
                        <a:t> North America In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6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t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randed XO + BT (Multiple Integration) +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162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236859"/>
                  </a:ext>
                </a:extLst>
              </a:tr>
              <a:tr h="999134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esigner Habitat L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3 Gr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t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XO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9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3M Decli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9597789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CAC8B9A9-196B-4FCC-B95E-E0B0AEDC5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84" y="80477"/>
            <a:ext cx="11783584" cy="349256"/>
          </a:xfrm>
        </p:spPr>
        <p:txBody>
          <a:bodyPr vert="horz"/>
          <a:lstStyle/>
          <a:p>
            <a:r>
              <a:rPr lang="en-US" dirty="0"/>
              <a:t>Merchant level case studi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E82854A-A483-4DE7-AB88-582797909A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591" y="381894"/>
            <a:ext cx="12006191" cy="510829"/>
          </a:xfrm>
        </p:spPr>
        <p:txBody>
          <a:bodyPr>
            <a:noAutofit/>
          </a:bodyPr>
          <a:lstStyle/>
          <a:p>
            <a:r>
              <a:rPr lang="en-US" sz="1700" b="1" dirty="0"/>
              <a:t>JD Sports</a:t>
            </a:r>
            <a:r>
              <a:rPr lang="en-US" sz="1700" dirty="0"/>
              <a:t> is high complex due to L3M account/brand expansion and existing BT with multiple integrations with L3M decline; Designer Habitat less complex due to no exiting complex products and Retail vertical with less L12M TPV;</a:t>
            </a:r>
          </a:p>
        </p:txBody>
      </p:sp>
    </p:spTree>
    <p:extLst>
      <p:ext uri="{BB962C8B-B14F-4D97-AF65-F5344CB8AC3E}">
        <p14:creationId xmlns:p14="http://schemas.microsoft.com/office/powerpoint/2010/main" val="99988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4571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DEATCH Reg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C2F95A-E13B-4035-89D9-9937B4450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4C2AA9-563E-4DEB-9EC0-CC70F7406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8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AB7810-AF12-4EB5-A9AB-1CE7B45632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AB7810-AF12-4EB5-A9AB-1CE7B4563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40F6601-B2D0-4519-8C6D-A98F5EA71712}"/>
              </a:ext>
            </a:extLst>
          </p:cNvPr>
          <p:cNvSpPr/>
          <p:nvPr/>
        </p:nvSpPr>
        <p:spPr>
          <a:xfrm>
            <a:off x="84422" y="1066962"/>
            <a:ext cx="12045876" cy="5180516"/>
          </a:xfrm>
          <a:prstGeom prst="rect">
            <a:avLst/>
          </a:prstGeom>
          <a:solidFill>
            <a:srgbClr val="FBFBFB"/>
          </a:solidFill>
          <a:ln w="190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CC6245-14C9-4452-99FD-481FD8335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276AF-2A8B-409A-AB45-E4D5043FC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EF3CF00-1E99-4B7C-A379-B063D3A0C8F5}"/>
              </a:ext>
            </a:extLst>
          </p:cNvPr>
          <p:cNvSpPr/>
          <p:nvPr/>
        </p:nvSpPr>
        <p:spPr>
          <a:xfrm>
            <a:off x="104970" y="1593748"/>
            <a:ext cx="904126" cy="40408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a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80669F6-8F2F-4AF2-AB7D-33EAC9F63E69}"/>
              </a:ext>
            </a:extLst>
          </p:cNvPr>
          <p:cNvSpPr/>
          <p:nvPr/>
        </p:nvSpPr>
        <p:spPr>
          <a:xfrm>
            <a:off x="104970" y="1895094"/>
            <a:ext cx="904126" cy="52226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/>
              <a:t>Media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382E8CD-91D9-4899-BA0A-1527C2E5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8" y="178102"/>
            <a:ext cx="11743532" cy="323334"/>
          </a:xfrm>
        </p:spPr>
        <p:txBody>
          <a:bodyPr vert="horz"/>
          <a:lstStyle/>
          <a:p>
            <a:r>
              <a:rPr lang="en-US" dirty="0"/>
              <a:t>Score Distribution across Servicing Segments 202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5C6F068-6FEC-4A13-BDD9-1374721799FE}"/>
              </a:ext>
            </a:extLst>
          </p:cNvPr>
          <p:cNvSpPr txBox="1">
            <a:spLocks/>
          </p:cNvSpPr>
          <p:nvPr/>
        </p:nvSpPr>
        <p:spPr>
          <a:xfrm>
            <a:off x="104264" y="478663"/>
            <a:ext cx="12006191" cy="479425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1pPr>
            <a:lvl2pPr marL="287338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2pPr>
            <a:lvl3pPr marL="51435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3pPr>
            <a:lvl4pPr marL="739775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4pPr>
            <a:lvl5pPr marL="974725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bg2">
                    <a:lumMod val="75000"/>
                  </a:schemeClr>
                </a:solidFill>
                <a:latin typeface="PayPal Sans Big Medium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omplexity scores does not vary across the segments due to not much variation in existing product adoption (Branded + Unbranded); Though there are accounts across segments with high complexity scores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Chart 11">
                <a:extLst>
                  <a:ext uri="{FF2B5EF4-FFF2-40B4-BE49-F238E27FC236}">
                    <a16:creationId xmlns:a16="http://schemas.microsoft.com/office/drawing/2014/main" id="{CA51581E-928F-4687-98DD-A477212F165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08561033"/>
                  </p:ext>
                </p:extLst>
              </p:nvPr>
            </p:nvGraphicFramePr>
            <p:xfrm>
              <a:off x="523982" y="2599362"/>
              <a:ext cx="11363218" cy="364811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12" name="Chart 11">
                <a:extLst>
                  <a:ext uri="{FF2B5EF4-FFF2-40B4-BE49-F238E27FC236}">
                    <a16:creationId xmlns:a16="http://schemas.microsoft.com/office/drawing/2014/main" id="{CA51581E-928F-4687-98DD-A477212F165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3982" y="2599362"/>
                <a:ext cx="11363218" cy="3648115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4" name="Table 8">
            <a:extLst>
              <a:ext uri="{FF2B5EF4-FFF2-40B4-BE49-F238E27FC236}">
                <a16:creationId xmlns:a16="http://schemas.microsoft.com/office/drawing/2014/main" id="{27773AE2-D6A6-4D1B-98F1-CDF18496FC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1239121"/>
              </p:ext>
            </p:extLst>
          </p:nvPr>
        </p:nvGraphicFramePr>
        <p:xfrm>
          <a:off x="1009098" y="1178998"/>
          <a:ext cx="10888376" cy="11918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33782">
                  <a:extLst>
                    <a:ext uri="{9D8B030D-6E8A-4147-A177-3AD203B41FA5}">
                      <a16:colId xmlns:a16="http://schemas.microsoft.com/office/drawing/2014/main" val="2075488231"/>
                    </a:ext>
                  </a:extLst>
                </a:gridCol>
                <a:gridCol w="1519099">
                  <a:extLst>
                    <a:ext uri="{9D8B030D-6E8A-4147-A177-3AD203B41FA5}">
                      <a16:colId xmlns:a16="http://schemas.microsoft.com/office/drawing/2014/main" val="3954257252"/>
                    </a:ext>
                  </a:extLst>
                </a:gridCol>
                <a:gridCol w="1664160">
                  <a:extLst>
                    <a:ext uri="{9D8B030D-6E8A-4147-A177-3AD203B41FA5}">
                      <a16:colId xmlns:a16="http://schemas.microsoft.com/office/drawing/2014/main" val="1090199508"/>
                    </a:ext>
                  </a:extLst>
                </a:gridCol>
                <a:gridCol w="1456302">
                  <a:extLst>
                    <a:ext uri="{9D8B030D-6E8A-4147-A177-3AD203B41FA5}">
                      <a16:colId xmlns:a16="http://schemas.microsoft.com/office/drawing/2014/main" val="2835189892"/>
                    </a:ext>
                  </a:extLst>
                </a:gridCol>
                <a:gridCol w="1635991">
                  <a:extLst>
                    <a:ext uri="{9D8B030D-6E8A-4147-A177-3AD203B41FA5}">
                      <a16:colId xmlns:a16="http://schemas.microsoft.com/office/drawing/2014/main" val="2302450544"/>
                    </a:ext>
                  </a:extLst>
                </a:gridCol>
                <a:gridCol w="1539521">
                  <a:extLst>
                    <a:ext uri="{9D8B030D-6E8A-4147-A177-3AD203B41FA5}">
                      <a16:colId xmlns:a16="http://schemas.microsoft.com/office/drawing/2014/main" val="4012495055"/>
                    </a:ext>
                  </a:extLst>
                </a:gridCol>
                <a:gridCol w="1539521">
                  <a:extLst>
                    <a:ext uri="{9D8B030D-6E8A-4147-A177-3AD203B41FA5}">
                      <a16:colId xmlns:a16="http://schemas.microsoft.com/office/drawing/2014/main" val="1385430911"/>
                    </a:ext>
                  </a:extLst>
                </a:gridCol>
              </a:tblGrid>
              <a:tr h="41049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Global Accounts</a:t>
                      </a:r>
                    </a:p>
                  </a:txBody>
                  <a:tcPr anchor="ctr">
                    <a:solidFill>
                      <a:srgbClr val="0099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A</a:t>
                      </a:r>
                    </a:p>
                  </a:txBody>
                  <a:tcPr anchor="ctr">
                    <a:solidFill>
                      <a:srgbClr val="0024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</a:t>
                      </a:r>
                    </a:p>
                  </a:txBody>
                  <a:tcPr marL="6350" marR="6350" marT="6350" marB="0" anchor="ctr">
                    <a:solidFill>
                      <a:srgbClr val="5603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</a:t>
                      </a: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D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325864"/>
                  </a:ext>
                </a:extLst>
              </a:tr>
              <a:tr h="4104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1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1992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8172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95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EE8BAC1-1F0D-48E3-AFDD-7307A55A94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EE8BAC1-1F0D-48E3-AFDD-7307A55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A6ADA8-B8D7-493C-B93C-17D793E02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4276" y="6284973"/>
            <a:ext cx="4114800" cy="311150"/>
          </a:xfrm>
        </p:spPr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91" name="Slide Number Placeholder 90">
            <a:extLst>
              <a:ext uri="{FF2B5EF4-FFF2-40B4-BE49-F238E27FC236}">
                <a16:creationId xmlns:a16="http://schemas.microsoft.com/office/drawing/2014/main" id="{660B013E-E973-425B-B611-C31B4EF3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2299B7DC-51DE-4465-987C-B336026DFB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575938"/>
              </p:ext>
            </p:extLst>
          </p:nvPr>
        </p:nvGraphicFramePr>
        <p:xfrm>
          <a:off x="84636" y="1037690"/>
          <a:ext cx="12006191" cy="549780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17020">
                  <a:extLst>
                    <a:ext uri="{9D8B030D-6E8A-4147-A177-3AD203B41FA5}">
                      <a16:colId xmlns:a16="http://schemas.microsoft.com/office/drawing/2014/main" val="1017169334"/>
                    </a:ext>
                  </a:extLst>
                </a:gridCol>
                <a:gridCol w="1108761">
                  <a:extLst>
                    <a:ext uri="{9D8B030D-6E8A-4147-A177-3AD203B41FA5}">
                      <a16:colId xmlns:a16="http://schemas.microsoft.com/office/drawing/2014/main" val="3800572623"/>
                    </a:ext>
                  </a:extLst>
                </a:gridCol>
                <a:gridCol w="1131388">
                  <a:extLst>
                    <a:ext uri="{9D8B030D-6E8A-4147-A177-3AD203B41FA5}">
                      <a16:colId xmlns:a16="http://schemas.microsoft.com/office/drawing/2014/main" val="1067751529"/>
                    </a:ext>
                  </a:extLst>
                </a:gridCol>
                <a:gridCol w="1052192">
                  <a:extLst>
                    <a:ext uri="{9D8B030D-6E8A-4147-A177-3AD203B41FA5}">
                      <a16:colId xmlns:a16="http://schemas.microsoft.com/office/drawing/2014/main" val="1101133808"/>
                    </a:ext>
                  </a:extLst>
                </a:gridCol>
                <a:gridCol w="1097446">
                  <a:extLst>
                    <a:ext uri="{9D8B030D-6E8A-4147-A177-3AD203B41FA5}">
                      <a16:colId xmlns:a16="http://schemas.microsoft.com/office/drawing/2014/main" val="3105014489"/>
                    </a:ext>
                  </a:extLst>
                </a:gridCol>
                <a:gridCol w="2330660">
                  <a:extLst>
                    <a:ext uri="{9D8B030D-6E8A-4147-A177-3AD203B41FA5}">
                      <a16:colId xmlns:a16="http://schemas.microsoft.com/office/drawing/2014/main" val="2134577164"/>
                    </a:ext>
                  </a:extLst>
                </a:gridCol>
                <a:gridCol w="1414234">
                  <a:extLst>
                    <a:ext uri="{9D8B030D-6E8A-4147-A177-3AD203B41FA5}">
                      <a16:colId xmlns:a16="http://schemas.microsoft.com/office/drawing/2014/main" val="2249257361"/>
                    </a:ext>
                  </a:extLst>
                </a:gridCol>
                <a:gridCol w="1006935">
                  <a:extLst>
                    <a:ext uri="{9D8B030D-6E8A-4147-A177-3AD203B41FA5}">
                      <a16:colId xmlns:a16="http://schemas.microsoft.com/office/drawing/2014/main" val="381664439"/>
                    </a:ext>
                  </a:extLst>
                </a:gridCol>
                <a:gridCol w="1147555">
                  <a:extLst>
                    <a:ext uri="{9D8B030D-6E8A-4147-A177-3AD203B41FA5}">
                      <a16:colId xmlns:a16="http://schemas.microsoft.com/office/drawing/2014/main" val="1608093825"/>
                    </a:ext>
                  </a:extLst>
                </a:gridCol>
              </a:tblGrid>
              <a:tr h="9131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ntity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rvicing Segment-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exity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# of Child Accou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Vertic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xisting Product </a:t>
                      </a:r>
                    </a:p>
                    <a:p>
                      <a:pPr algn="ctr"/>
                      <a:r>
                        <a:rPr lang="en-US" sz="1400" dirty="0"/>
                        <a:t>Sui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3M Account/Brand Expan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12M TP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ther reasons for high/low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5875807"/>
                  </a:ext>
                </a:extLst>
              </a:tr>
              <a:tr h="704904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REE NO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rav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+ BT (Multiple Integratio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98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igh # of restrictions &amp; dispu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8060513"/>
                  </a:ext>
                </a:extLst>
              </a:tr>
              <a:tr h="795312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SH/METRO AG – Par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ta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XO + Unbranded XO (PP plus) + BT (Multiple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randed solution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2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High # of restrictions , disputes and parity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990286"/>
                  </a:ext>
                </a:extLst>
              </a:tr>
              <a:tr h="10083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aimler 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1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Trav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+ BT (Multiple Integration)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47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igh Parity Sc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8693923"/>
                  </a:ext>
                </a:extLst>
              </a:tr>
              <a:tr h="10083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CRAGHOPP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4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ash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BT (Multiple Integra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534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L3M Declin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236859"/>
                  </a:ext>
                </a:extLst>
              </a:tr>
              <a:tr h="10083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rivate Sale Gmb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Fash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Branded XO + Oth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54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igh Tenure, Less disputes and restric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9597789"/>
                  </a:ext>
                </a:extLst>
              </a:tr>
            </a:tbl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4F5C2700-9ED7-4DAC-BA62-FCC37DD1A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84" y="80477"/>
            <a:ext cx="11783584" cy="349256"/>
          </a:xfrm>
        </p:spPr>
        <p:txBody>
          <a:bodyPr vert="horz"/>
          <a:lstStyle/>
          <a:p>
            <a:r>
              <a:rPr lang="en-US" dirty="0"/>
              <a:t>Merchant level case studi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F90E38C-7652-4D70-B592-721491BD84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591" y="381894"/>
            <a:ext cx="12006191" cy="510829"/>
          </a:xfrm>
        </p:spPr>
        <p:txBody>
          <a:bodyPr>
            <a:noAutofit/>
          </a:bodyPr>
          <a:lstStyle/>
          <a:p>
            <a:r>
              <a:rPr lang="en-US" sz="1700" b="1" dirty="0"/>
              <a:t>Free Now</a:t>
            </a:r>
            <a:r>
              <a:rPr lang="en-US" sz="1700" dirty="0"/>
              <a:t> is high complex due to L3M account/brand expansion and existing BT with multiple integrations; Private Sales GmbH less complex due to no exiting complex products like–BT and Fashion vertical with less L12M TPV;</a:t>
            </a:r>
          </a:p>
        </p:txBody>
      </p:sp>
    </p:spTree>
    <p:extLst>
      <p:ext uri="{BB962C8B-B14F-4D97-AF65-F5344CB8AC3E}">
        <p14:creationId xmlns:p14="http://schemas.microsoft.com/office/powerpoint/2010/main" val="111075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97709B-8EC6-4781-9DE0-9F40DF5F4C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97709B-8EC6-4781-9DE0-9F40DF5F4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  <a:br>
              <a:rPr lang="en-US"/>
            </a:br>
            <a:endParaRPr lang="en-US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33333">
                    <a:lumMod val="60000"/>
                    <a:lumOff val="40000"/>
                  </a:srgbClr>
                </a:solidFill>
                <a:effectLst/>
                <a:uLnTx/>
                <a:uFillTx/>
                <a:latin typeface="PayPal Sans Big Medium" pitchFamily="34" charset="0"/>
                <a:ea typeface="+mn-ea"/>
                <a:cs typeface="+mn-cs"/>
              </a:rPr>
              <a:t>© 2021 PayPal Inc. Confidential and proprietary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58879" y="1308010"/>
            <a:ext cx="6240215" cy="5031207"/>
          </a:xfrm>
        </p:spPr>
        <p:txBody>
          <a:bodyPr vert="horz" lIns="0" tIns="45720" rIns="91440" bIns="45720" rtlCol="0" anchor="t">
            <a:noAutofit/>
          </a:bodyPr>
          <a:lstStyle/>
          <a:p>
            <a:pPr marL="457200" indent="-457200">
              <a:lnSpc>
                <a:spcPct val="100000"/>
              </a:lnSpc>
              <a:buAutoNum type="arabicPeriod"/>
            </a:pPr>
            <a:r>
              <a:rPr lang="en-US" dirty="0"/>
              <a:t>Complexity Score V2.0 Update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Introduction 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Complexity Timelines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Complexity Score Framework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Dimensions determining complexity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Score distribution and overall summary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>
                <a:latin typeface="PayPal Sans Big Medium"/>
              </a:rPr>
              <a:t>Servicing Segments 2021 – Distributional view of Complexity Scores</a:t>
            </a:r>
          </a:p>
          <a:p>
            <a:pPr marL="457200" lvl="1">
              <a:lnSpc>
                <a:spcPct val="100000"/>
              </a:lnSpc>
              <a:buAutoNum type="arabicPeriod"/>
            </a:pPr>
            <a:r>
              <a:rPr lang="en-US" dirty="0"/>
              <a:t>Regional View of Complexity</a:t>
            </a:r>
            <a:r>
              <a:rPr lang="en-US" dirty="0">
                <a:latin typeface="PayPal Sans Big Medium"/>
              </a:rPr>
              <a:t> – US,UK and DEATCH regions update with use cases</a:t>
            </a:r>
          </a:p>
          <a:p>
            <a:pPr marL="457200" indent="-457200">
              <a:lnSpc>
                <a:spcPct val="100000"/>
              </a:lnSpc>
              <a:buAutoNum type="arabicPeriod"/>
            </a:pPr>
            <a:r>
              <a:rPr lang="en-US" dirty="0"/>
              <a:t>Capacity Planning – To be Discusse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553942-0C2A-43F8-A675-8579C595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83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59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Possible Use Cases of Complexity Score V2.0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C2F95A-E13B-4035-89D9-9937B4450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4C2AA9-563E-4DEB-9EC0-CC70F7406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26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7DD82D-6CF8-4E4A-8442-0E6811AEEE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F7DD82D-6CF8-4E4A-8442-0E6811AEE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C4BCCC6F-A728-224E-A3FB-6BD0BC997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793" y="179277"/>
            <a:ext cx="11187113" cy="311150"/>
          </a:xfrm>
        </p:spPr>
        <p:txBody>
          <a:bodyPr vert="horz"/>
          <a:lstStyle/>
          <a:p>
            <a:r>
              <a:rPr lang="en-US"/>
              <a:t>Possible use cases with updated complexity sco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8911ED-885D-8C44-BC13-AC6AA9B01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1 PayPal Inc. Confidential and proprietary.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A181094C-8028-0948-A1BB-C9111EE66C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7207" y="504033"/>
            <a:ext cx="11188700" cy="479425"/>
          </a:xfrm>
        </p:spPr>
        <p:txBody>
          <a:bodyPr>
            <a:normAutofit/>
          </a:bodyPr>
          <a:lstStyle/>
          <a:p>
            <a:r>
              <a:rPr lang="en-US" sz="1700"/>
              <a:t>Key personas and use cases from the CSM org 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C05FE1D5-94A1-F04C-BDD8-CF10EF24C65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04825" y="1528763"/>
          <a:ext cx="11187113" cy="4824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42CA6C-89E5-4936-A635-1DD850FEE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24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284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/>
              <a:t>Append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B9A480-0F0C-4DA2-BC0D-A1B5676622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F976F5-D7B6-406D-941E-39C3123C0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5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B53C242-BDAC-4865-9DDD-7422611364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73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B53C242-BDAC-4865-9DDD-742261136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92D34FC5-1201-42F9-A7DF-0962F8F1EFF3}"/>
              </a:ext>
            </a:extLst>
          </p:cNvPr>
          <p:cNvSpPr/>
          <p:nvPr/>
        </p:nvSpPr>
        <p:spPr>
          <a:xfrm>
            <a:off x="106383" y="2546211"/>
            <a:ext cx="1299573" cy="66059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09E8315-14C2-4CB9-8839-8FAAB9B924FA}"/>
              </a:ext>
            </a:extLst>
          </p:cNvPr>
          <p:cNvSpPr/>
          <p:nvPr/>
        </p:nvSpPr>
        <p:spPr>
          <a:xfrm>
            <a:off x="107987" y="1878981"/>
            <a:ext cx="1299573" cy="6253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1084AF-C71C-4AA4-8CE8-347F9B752C2F}"/>
              </a:ext>
            </a:extLst>
          </p:cNvPr>
          <p:cNvSpPr/>
          <p:nvPr/>
        </p:nvSpPr>
        <p:spPr>
          <a:xfrm>
            <a:off x="99317" y="1244068"/>
            <a:ext cx="1299573" cy="6253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6A8FB-92FC-462C-9209-DF17AB124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3B141E-F590-42AA-9F03-76F0F966D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Title 22">
            <a:extLst>
              <a:ext uri="{FF2B5EF4-FFF2-40B4-BE49-F238E27FC236}">
                <a16:creationId xmlns:a16="http://schemas.microsoft.com/office/drawing/2014/main" id="{F3129635-5312-48CD-910A-CF6537206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48" y="309073"/>
            <a:ext cx="12002035" cy="518845"/>
          </a:xfrm>
        </p:spPr>
        <p:txBody>
          <a:bodyPr vert="horz"/>
          <a:lstStyle/>
          <a:p>
            <a:r>
              <a:rPr lang="en-US" dirty="0"/>
              <a:t>Identifying Merchant Complexity to support the portfolio allocation program for Servicing Organization</a:t>
            </a:r>
          </a:p>
        </p:txBody>
      </p:sp>
      <p:sp>
        <p:nvSpPr>
          <p:cNvPr id="69" name="Text Placeholder 82">
            <a:extLst>
              <a:ext uri="{FF2B5EF4-FFF2-40B4-BE49-F238E27FC236}">
                <a16:creationId xmlns:a16="http://schemas.microsoft.com/office/drawing/2014/main" id="{EC806FB6-B889-4B93-A98B-0AB1B5E502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317" y="797096"/>
            <a:ext cx="11993366" cy="317276"/>
          </a:xfrm>
        </p:spPr>
        <p:txBody>
          <a:bodyPr>
            <a:noAutofit/>
          </a:bodyPr>
          <a:lstStyle/>
          <a:p>
            <a:r>
              <a:rPr lang="en-US" sz="1700" dirty="0"/>
              <a:t>standardized score to every serviceable merchant based upon account characteristics and  touch points with CSMs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92496F-95E0-40A0-AD86-F5AEE469EEBB}"/>
              </a:ext>
            </a:extLst>
          </p:cNvPr>
          <p:cNvGrpSpPr/>
          <p:nvPr/>
        </p:nvGrpSpPr>
        <p:grpSpPr>
          <a:xfrm>
            <a:off x="90648" y="1236737"/>
            <a:ext cx="11745504" cy="1980344"/>
            <a:chOff x="90648" y="1315941"/>
            <a:chExt cx="11745504" cy="1980344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FE6220BF-E12A-4A1E-A01E-2367D96C58CD}"/>
                </a:ext>
              </a:extLst>
            </p:cNvPr>
            <p:cNvSpPr/>
            <p:nvPr/>
          </p:nvSpPr>
          <p:spPr>
            <a:xfrm>
              <a:off x="99317" y="1315941"/>
              <a:ext cx="11671443" cy="1980344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headEnd type="none" w="med" len="med"/>
              <a:tailEnd type="arrow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E1FC955-DFE5-4D09-9790-B3D1CBB17BB1}"/>
                </a:ext>
              </a:extLst>
            </p:cNvPr>
            <p:cNvCxnSpPr/>
            <p:nvPr/>
          </p:nvCxnSpPr>
          <p:spPr>
            <a:xfrm>
              <a:off x="1407560" y="1315941"/>
              <a:ext cx="0" cy="1980344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AD13A28-9549-48C5-9082-13E2A52582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317" y="1948658"/>
              <a:ext cx="11671443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8B429C49-DC4A-4BA7-861E-A8BB47C2B8F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648" y="2604492"/>
              <a:ext cx="11671443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C0072774-4879-46FF-AA9E-6B0B52076719}"/>
                </a:ext>
              </a:extLst>
            </p:cNvPr>
            <p:cNvSpPr txBox="1"/>
            <p:nvPr/>
          </p:nvSpPr>
          <p:spPr>
            <a:xfrm>
              <a:off x="247438" y="1517800"/>
              <a:ext cx="1012001" cy="3139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600" b="0" kern="1200" dirty="0">
                  <a:latin typeface="+mj-lt"/>
                </a:rPr>
                <a:t>What</a:t>
              </a:r>
              <a:endParaRPr lang="en-US" sz="1600" b="0" kern="1200" dirty="0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0334E7EE-A60B-4820-947B-736A53782E1E}"/>
                </a:ext>
              </a:extLst>
            </p:cNvPr>
            <p:cNvSpPr txBox="1"/>
            <p:nvPr/>
          </p:nvSpPr>
          <p:spPr>
            <a:xfrm>
              <a:off x="247438" y="2094752"/>
              <a:ext cx="1012001" cy="3139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600" b="0" kern="1200" dirty="0">
                  <a:solidFill>
                    <a:schemeClr val="tx1"/>
                  </a:solidFill>
                  <a:latin typeface="+mj-lt"/>
                </a:rPr>
                <a:t>Why</a:t>
              </a:r>
              <a:endParaRPr lang="en-US" sz="16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758969C6-9DA1-4CA8-9C77-87265BD8507D}"/>
                </a:ext>
              </a:extLst>
            </p:cNvPr>
            <p:cNvSpPr txBox="1"/>
            <p:nvPr/>
          </p:nvSpPr>
          <p:spPr>
            <a:xfrm>
              <a:off x="247437" y="2806351"/>
              <a:ext cx="1012001" cy="3139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600" b="0" kern="1200" dirty="0">
                  <a:solidFill>
                    <a:schemeClr val="tx1"/>
                  </a:solidFill>
                  <a:latin typeface="+mj-lt"/>
                </a:rPr>
                <a:t>How</a:t>
              </a:r>
              <a:endParaRPr lang="en-US" sz="16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E5BB13F-D9B3-4228-9A83-F705C3817139}"/>
                </a:ext>
              </a:extLst>
            </p:cNvPr>
            <p:cNvSpPr txBox="1"/>
            <p:nvPr/>
          </p:nvSpPr>
          <p:spPr>
            <a:xfrm>
              <a:off x="1481622" y="1480407"/>
              <a:ext cx="1035453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1600" dirty="0"/>
                <a:t>A quantitative metric to measure the complexity of all servicing account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20A5B9-C88A-450A-93BC-8BDA34DB2E07}"/>
                </a:ext>
              </a:extLst>
            </p:cNvPr>
            <p:cNvSpPr txBox="1"/>
            <p:nvPr/>
          </p:nvSpPr>
          <p:spPr>
            <a:xfrm>
              <a:off x="1481622" y="1975354"/>
              <a:ext cx="1029780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1400" kern="1200" dirty="0">
                  <a:solidFill>
                    <a:schemeClr val="tx1"/>
                  </a:solidFill>
                </a:rPr>
                <a:t>Current allocation is based only on TPV/Revenue. We need a more scientific approach for strategic allocation and distribution of merchants to CSMs based upon the complexity of merchants since the higher the complexity, the higher the need for servicing</a:t>
              </a:r>
              <a:endParaRPr lang="en-US" sz="1400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6E1AA17-D8CB-4A0A-9DF5-F5F50C23E953}"/>
                </a:ext>
              </a:extLst>
            </p:cNvPr>
            <p:cNvSpPr txBox="1"/>
            <p:nvPr/>
          </p:nvSpPr>
          <p:spPr>
            <a:xfrm>
              <a:off x="1481622" y="2693861"/>
              <a:ext cx="1029780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spcAft>
                  <a:spcPts val="600"/>
                </a:spcAft>
              </a:pPr>
              <a:r>
                <a:rPr lang="en-US" sz="1400" kern="1200" dirty="0">
                  <a:solidFill>
                    <a:schemeClr val="tx1"/>
                  </a:solidFill>
                </a:rPr>
                <a:t>Developed a heuristic model which incorporates multiple dimensions like – financial, demographical attributes of an account, strategic expansions, servicing efforts with challenges and product adoption </a:t>
              </a:r>
              <a:endParaRPr lang="en-US" sz="1400" dirty="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C8A5272F-E169-4A4A-BFC0-1F64558A97EC}"/>
              </a:ext>
            </a:extLst>
          </p:cNvPr>
          <p:cNvSpPr/>
          <p:nvPr/>
        </p:nvSpPr>
        <p:spPr>
          <a:xfrm>
            <a:off x="1929834" y="3372625"/>
            <a:ext cx="3219232" cy="757109"/>
          </a:xfrm>
          <a:prstGeom prst="rect">
            <a:avLst/>
          </a:prstGeom>
          <a:solidFill>
            <a:schemeClr val="accent4"/>
          </a:solidFill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CSMs Portfolio 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Allo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88652F3-CA69-43BE-9A00-C9DCBBFF64CE}"/>
              </a:ext>
            </a:extLst>
          </p:cNvPr>
          <p:cNvSpPr/>
          <p:nvPr/>
        </p:nvSpPr>
        <p:spPr>
          <a:xfrm>
            <a:off x="1929834" y="4179374"/>
            <a:ext cx="3219232" cy="1947706"/>
          </a:xfrm>
          <a:prstGeom prst="rect">
            <a:avLst/>
          </a:prstGeom>
          <a:noFill/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94D16B4-99BC-4D7B-9C22-1B5FE7A74D6C}"/>
              </a:ext>
            </a:extLst>
          </p:cNvPr>
          <p:cNvSpPr txBox="1"/>
          <p:nvPr/>
        </p:nvSpPr>
        <p:spPr>
          <a:xfrm>
            <a:off x="1929834" y="4197239"/>
            <a:ext cx="3178135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Provide a framework to allocate accounts to CSMs while optimizing for a balance between revenue under management, accounts under management, and account complex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774E21E-D57C-4C06-89B8-5A7A175B59C4}"/>
              </a:ext>
            </a:extLst>
          </p:cNvPr>
          <p:cNvSpPr/>
          <p:nvPr/>
        </p:nvSpPr>
        <p:spPr>
          <a:xfrm>
            <a:off x="7084031" y="3372625"/>
            <a:ext cx="3219232" cy="7571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REV Portfolio </a:t>
            </a:r>
          </a:p>
          <a:p>
            <a:pPr algn="ctr"/>
            <a:r>
              <a:rPr lang="en-US" b="1" dirty="0">
                <a:latin typeface="+mj-lt"/>
              </a:rPr>
              <a:t>Optimiz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A93C411-3FF2-48ED-977F-57E8A64A609F}"/>
              </a:ext>
            </a:extLst>
          </p:cNvPr>
          <p:cNvSpPr/>
          <p:nvPr/>
        </p:nvSpPr>
        <p:spPr>
          <a:xfrm>
            <a:off x="7084031" y="4179374"/>
            <a:ext cx="3219232" cy="1947706"/>
          </a:xfrm>
          <a:prstGeom prst="rect">
            <a:avLst/>
          </a:prstGeom>
          <a:noFill/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BECD3F-44F6-4694-B765-FFA055819DBD}"/>
              </a:ext>
            </a:extLst>
          </p:cNvPr>
          <p:cNvSpPr txBox="1"/>
          <p:nvPr/>
        </p:nvSpPr>
        <p:spPr>
          <a:xfrm>
            <a:off x="7084031" y="4204493"/>
            <a:ext cx="3219232" cy="16466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ssess productivity of CSMs by Market to identity opportunities for optimization and load balancing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ervicing prioritization based on High/low touch accounts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240F111-0439-4606-B237-9F423A90D87C}"/>
              </a:ext>
            </a:extLst>
          </p:cNvPr>
          <p:cNvSpPr/>
          <p:nvPr/>
        </p:nvSpPr>
        <p:spPr>
          <a:xfrm>
            <a:off x="5609690" y="4479533"/>
            <a:ext cx="1109609" cy="884960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93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048C8E5F-6D6F-4BE2-B970-EB077C2632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659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6884F-1DCC-424F-97B0-16156DDE7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809" y="771489"/>
            <a:ext cx="11187113" cy="311150"/>
          </a:xfrm>
        </p:spPr>
        <p:txBody>
          <a:bodyPr vert="horz"/>
          <a:lstStyle/>
          <a:p>
            <a:r>
              <a:rPr lang="en-US" dirty="0"/>
              <a:t>Complexity Score roadmap from V1 to V2 – How the score itself developed (color codes); Add 2022 timeline as well – H2 plan what will be add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C92D34-FCEA-4217-A668-A16F401C5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4565" y="6369113"/>
            <a:ext cx="4114800" cy="311150"/>
          </a:xfrm>
        </p:spPr>
        <p:txBody>
          <a:bodyPr/>
          <a:lstStyle/>
          <a:p>
            <a:r>
              <a:rPr lang="en-US" dirty="0"/>
              <a:t>© 2021 PayPal Inc. Confidential and proprietar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EE7A3A-4D31-4B5F-A8FC-674EB378D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9650" y="6500186"/>
            <a:ext cx="527050" cy="292099"/>
          </a:xfrm>
        </p:spPr>
        <p:txBody>
          <a:bodyPr/>
          <a:lstStyle/>
          <a:p>
            <a:fld id="{07CF5707-6B01-4E28-B52C-5F626EA6C56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38D231-892D-44BA-9ED9-A23E6963D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72" y="1058043"/>
            <a:ext cx="11893176" cy="367016"/>
          </a:xfrm>
        </p:spPr>
        <p:txBody>
          <a:bodyPr anchor="ctr">
            <a:noAutofit/>
          </a:bodyPr>
          <a:lstStyle/>
          <a:p>
            <a:r>
              <a:rPr lang="en-US" sz="1700" dirty="0"/>
              <a:t>Complexity score journey from 2020 to 2021 portfolio allocation for servicing organiz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F00E7F-8D6C-4A42-939E-399B4131F5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080065"/>
              </p:ext>
            </p:extLst>
          </p:nvPr>
        </p:nvGraphicFramePr>
        <p:xfrm>
          <a:off x="71919" y="1602768"/>
          <a:ext cx="12031039" cy="4764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4270">
                  <a:extLst>
                    <a:ext uri="{9D8B030D-6E8A-4147-A177-3AD203B41FA5}">
                      <a16:colId xmlns:a16="http://schemas.microsoft.com/office/drawing/2014/main" val="1784947513"/>
                    </a:ext>
                  </a:extLst>
                </a:gridCol>
                <a:gridCol w="1131466">
                  <a:extLst>
                    <a:ext uri="{9D8B030D-6E8A-4147-A177-3AD203B41FA5}">
                      <a16:colId xmlns:a16="http://schemas.microsoft.com/office/drawing/2014/main" val="3448243188"/>
                    </a:ext>
                  </a:extLst>
                </a:gridCol>
                <a:gridCol w="1474615">
                  <a:extLst>
                    <a:ext uri="{9D8B030D-6E8A-4147-A177-3AD203B41FA5}">
                      <a16:colId xmlns:a16="http://schemas.microsoft.com/office/drawing/2014/main" val="618631979"/>
                    </a:ext>
                  </a:extLst>
                </a:gridCol>
                <a:gridCol w="1715746">
                  <a:extLst>
                    <a:ext uri="{9D8B030D-6E8A-4147-A177-3AD203B41FA5}">
                      <a16:colId xmlns:a16="http://schemas.microsoft.com/office/drawing/2014/main" val="451874734"/>
                    </a:ext>
                  </a:extLst>
                </a:gridCol>
                <a:gridCol w="1789941">
                  <a:extLst>
                    <a:ext uri="{9D8B030D-6E8A-4147-A177-3AD203B41FA5}">
                      <a16:colId xmlns:a16="http://schemas.microsoft.com/office/drawing/2014/main" val="3440509633"/>
                    </a:ext>
                  </a:extLst>
                </a:gridCol>
                <a:gridCol w="1493783">
                  <a:extLst>
                    <a:ext uri="{9D8B030D-6E8A-4147-A177-3AD203B41FA5}">
                      <a16:colId xmlns:a16="http://schemas.microsoft.com/office/drawing/2014/main" val="736869260"/>
                    </a:ext>
                  </a:extLst>
                </a:gridCol>
                <a:gridCol w="1295029">
                  <a:extLst>
                    <a:ext uri="{9D8B030D-6E8A-4147-A177-3AD203B41FA5}">
                      <a16:colId xmlns:a16="http://schemas.microsoft.com/office/drawing/2014/main" val="4003819599"/>
                    </a:ext>
                  </a:extLst>
                </a:gridCol>
                <a:gridCol w="1356189">
                  <a:extLst>
                    <a:ext uri="{9D8B030D-6E8A-4147-A177-3AD203B41FA5}">
                      <a16:colId xmlns:a16="http://schemas.microsoft.com/office/drawing/2014/main" val="3103039168"/>
                    </a:ext>
                  </a:extLst>
                </a:gridCol>
              </a:tblGrid>
              <a:tr h="30727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Augus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135004"/>
                  </a:ext>
                </a:extLst>
              </a:tr>
              <a:tr h="5409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28th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5th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19th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26th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31s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23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13t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Week 31s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606562"/>
                  </a:ext>
                </a:extLst>
              </a:tr>
              <a:tr h="391633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125769"/>
                  </a:ext>
                </a:extLst>
              </a:tr>
            </a:tbl>
          </a:graphicData>
        </a:graphic>
      </p:graphicFrame>
      <p:sp>
        <p:nvSpPr>
          <p:cNvPr id="8" name="Arrow: Chevron 7">
            <a:extLst>
              <a:ext uri="{FF2B5EF4-FFF2-40B4-BE49-F238E27FC236}">
                <a16:creationId xmlns:a16="http://schemas.microsoft.com/office/drawing/2014/main" id="{71CD8A37-D87F-48DB-81A7-F3A067862E28}"/>
              </a:ext>
            </a:extLst>
          </p:cNvPr>
          <p:cNvSpPr/>
          <p:nvPr/>
        </p:nvSpPr>
        <p:spPr>
          <a:xfrm>
            <a:off x="121452" y="2457549"/>
            <a:ext cx="1912833" cy="418329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ccount complexity initial discussion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6538A4EB-5DF0-4132-B052-373976635E6F}"/>
              </a:ext>
            </a:extLst>
          </p:cNvPr>
          <p:cNvSpPr/>
          <p:nvPr/>
        </p:nvSpPr>
        <p:spPr>
          <a:xfrm>
            <a:off x="1664567" y="2982992"/>
            <a:ext cx="1386858" cy="418329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quirement Gathering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D401EFB-2433-46B9-B791-EE6F53EF96DA}"/>
              </a:ext>
            </a:extLst>
          </p:cNvPr>
          <p:cNvSpPr/>
          <p:nvPr/>
        </p:nvSpPr>
        <p:spPr>
          <a:xfrm>
            <a:off x="2839309" y="3523469"/>
            <a:ext cx="1765313" cy="418329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1.0 score </a:t>
            </a:r>
          </a:p>
          <a:p>
            <a:pPr algn="ctr"/>
            <a:r>
              <a:rPr lang="en-US" sz="1050" dirty="0">
                <a:solidFill>
                  <a:schemeClr val="tx1"/>
                </a:solidFill>
              </a:rPr>
              <a:t>Launch + Feedback</a:t>
            </a: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08FE9BFC-DDDA-4BC1-B589-DB1F58DBFDF3}"/>
              </a:ext>
            </a:extLst>
          </p:cNvPr>
          <p:cNvSpPr/>
          <p:nvPr/>
        </p:nvSpPr>
        <p:spPr>
          <a:xfrm>
            <a:off x="4349744" y="4063946"/>
            <a:ext cx="2056671" cy="418330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Additional views for account allocation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0AED0AEB-2F0D-41C1-986E-2BC13AC12CB4}"/>
              </a:ext>
            </a:extLst>
          </p:cNvPr>
          <p:cNvSpPr/>
          <p:nvPr/>
        </p:nvSpPr>
        <p:spPr>
          <a:xfrm>
            <a:off x="6096000" y="3581498"/>
            <a:ext cx="1910992" cy="418330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gional stakeholders feedback collection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8CDFA492-D53F-43A0-8092-CFB742D08963}"/>
              </a:ext>
            </a:extLst>
          </p:cNvPr>
          <p:cNvSpPr/>
          <p:nvPr/>
        </p:nvSpPr>
        <p:spPr>
          <a:xfrm>
            <a:off x="6096000" y="4620560"/>
            <a:ext cx="1910992" cy="418330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Discussion on v2.0 Methodology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DDF8D28-E4A2-4FE5-984C-AD277E019EF9}"/>
              </a:ext>
            </a:extLst>
          </p:cNvPr>
          <p:cNvSpPr/>
          <p:nvPr/>
        </p:nvSpPr>
        <p:spPr>
          <a:xfrm>
            <a:off x="7955622" y="2982992"/>
            <a:ext cx="1657668" cy="418330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1.5 launch - 2021 data refresh 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CCDF624F-A8ED-4D41-AF89-20621DD4C4BF}"/>
              </a:ext>
            </a:extLst>
          </p:cNvPr>
          <p:cNvSpPr/>
          <p:nvPr/>
        </p:nvSpPr>
        <p:spPr>
          <a:xfrm>
            <a:off x="8866599" y="4195922"/>
            <a:ext cx="1880172" cy="418330"/>
          </a:xfrm>
          <a:prstGeom prst="chevron">
            <a:avLst/>
          </a:prstGeom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2.0 launch – Additional Dimension</a:t>
            </a:r>
          </a:p>
        </p:txBody>
      </p:sp>
      <p:sp>
        <p:nvSpPr>
          <p:cNvPr id="16" name="Plus Sign 15">
            <a:extLst>
              <a:ext uri="{FF2B5EF4-FFF2-40B4-BE49-F238E27FC236}">
                <a16:creationId xmlns:a16="http://schemas.microsoft.com/office/drawing/2014/main" id="{2C6CD574-DC57-47B2-9A94-F65599A588EF}"/>
              </a:ext>
            </a:extLst>
          </p:cNvPr>
          <p:cNvSpPr/>
          <p:nvPr/>
        </p:nvSpPr>
        <p:spPr>
          <a:xfrm>
            <a:off x="6853602" y="4137657"/>
            <a:ext cx="395787" cy="346882"/>
          </a:xfrm>
          <a:prstGeom prst="mathPlus">
            <a:avLst/>
          </a:prstGeom>
          <a:ln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72D9EDAB-8801-458D-853A-E88471CCCEA4}"/>
              </a:ext>
            </a:extLst>
          </p:cNvPr>
          <p:cNvSpPr/>
          <p:nvPr/>
        </p:nvSpPr>
        <p:spPr>
          <a:xfrm>
            <a:off x="10633753" y="4938298"/>
            <a:ext cx="1445232" cy="562026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Portfolio Allocation 2022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A1A7B556-A5BA-40F6-AB44-BA065911CF14}"/>
              </a:ext>
            </a:extLst>
          </p:cNvPr>
          <p:cNvSpPr/>
          <p:nvPr/>
        </p:nvSpPr>
        <p:spPr>
          <a:xfrm>
            <a:off x="4584074" y="4872968"/>
            <a:ext cx="1445232" cy="562027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Portfolio Allocation 2021</a:t>
            </a:r>
          </a:p>
        </p:txBody>
      </p:sp>
      <p:sp>
        <p:nvSpPr>
          <p:cNvPr id="27" name="Plus Sign 26">
            <a:extLst>
              <a:ext uri="{FF2B5EF4-FFF2-40B4-BE49-F238E27FC236}">
                <a16:creationId xmlns:a16="http://schemas.microsoft.com/office/drawing/2014/main" id="{DCF39679-AFE6-4EBE-8C14-B898F5046144}"/>
              </a:ext>
            </a:extLst>
          </p:cNvPr>
          <p:cNvSpPr/>
          <p:nvPr/>
        </p:nvSpPr>
        <p:spPr>
          <a:xfrm>
            <a:off x="5029830" y="4513175"/>
            <a:ext cx="395787" cy="346882"/>
          </a:xfrm>
          <a:prstGeom prst="mathPlus">
            <a:avLst/>
          </a:prstGeom>
          <a:ln>
            <a:headEnd type="none" w="med" len="med"/>
            <a:tailEnd type="arrow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E4E74ED-D900-444E-A775-CF36F388978A}"/>
              </a:ext>
            </a:extLst>
          </p:cNvPr>
          <p:cNvSpPr txBox="1"/>
          <p:nvPr/>
        </p:nvSpPr>
        <p:spPr>
          <a:xfrm>
            <a:off x="3399854" y="1296811"/>
            <a:ext cx="10514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latin typeface="+mj-lt"/>
              </a:rPr>
              <a:t>2020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6C63A9D-2EBA-4D57-AC78-014A0EA82837}"/>
              </a:ext>
            </a:extLst>
          </p:cNvPr>
          <p:cNvCxnSpPr>
            <a:cxnSpLocks/>
          </p:cNvCxnSpPr>
          <p:nvPr/>
        </p:nvCxnSpPr>
        <p:spPr>
          <a:xfrm>
            <a:off x="121452" y="1449339"/>
            <a:ext cx="3498561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B1B2526-C061-43F7-B757-F2007C21BDC4}"/>
              </a:ext>
            </a:extLst>
          </p:cNvPr>
          <p:cNvCxnSpPr>
            <a:cxnSpLocks/>
          </p:cNvCxnSpPr>
          <p:nvPr/>
        </p:nvCxnSpPr>
        <p:spPr>
          <a:xfrm>
            <a:off x="4253501" y="1434700"/>
            <a:ext cx="3589192" cy="611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9637B91-AF97-454F-9461-F0AA9EEA0A36}"/>
              </a:ext>
            </a:extLst>
          </p:cNvPr>
          <p:cNvSpPr txBox="1"/>
          <p:nvPr/>
        </p:nvSpPr>
        <p:spPr>
          <a:xfrm>
            <a:off x="9428252" y="1302095"/>
            <a:ext cx="10514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latin typeface="+mj-lt"/>
              </a:rPr>
              <a:t>2021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666A063-C79C-4D80-97CC-A8D5346A4C56}"/>
              </a:ext>
            </a:extLst>
          </p:cNvPr>
          <p:cNvCxnSpPr>
            <a:cxnSpLocks/>
          </p:cNvCxnSpPr>
          <p:nvPr/>
        </p:nvCxnSpPr>
        <p:spPr>
          <a:xfrm flipV="1">
            <a:off x="8103783" y="1451629"/>
            <a:ext cx="1509468" cy="611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57EBEDA-FDDE-4A1C-93AD-2AE6FE1FAB01}"/>
              </a:ext>
            </a:extLst>
          </p:cNvPr>
          <p:cNvCxnSpPr>
            <a:cxnSpLocks/>
          </p:cNvCxnSpPr>
          <p:nvPr/>
        </p:nvCxnSpPr>
        <p:spPr>
          <a:xfrm>
            <a:off x="10228748" y="1461751"/>
            <a:ext cx="169225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E128E069-F82F-4945-8F2E-76D6D1B6AE18}"/>
              </a:ext>
            </a:extLst>
          </p:cNvPr>
          <p:cNvSpPr txBox="1"/>
          <p:nvPr/>
        </p:nvSpPr>
        <p:spPr>
          <a:xfrm>
            <a:off x="8886974" y="4676342"/>
            <a:ext cx="1674927" cy="16927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182880" indent="-91440">
              <a:buFont typeface="Arial" panose="020B0604020202020204" pitchFamily="34" charset="0"/>
              <a:buChar char="•"/>
            </a:pPr>
            <a:r>
              <a:rPr lang="en-US" sz="1100" dirty="0"/>
              <a:t>Additional supportive dimensions incorporation – verticals, product adoptions, BT integrations </a:t>
            </a:r>
          </a:p>
          <a:p>
            <a:pPr marL="182880" indent="-9144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82880" indent="-91440">
              <a:buFont typeface="Arial" panose="020B0604020202020204" pitchFamily="34" charset="0"/>
              <a:buChar char="•"/>
            </a:pPr>
            <a:r>
              <a:rPr lang="en-US" sz="1100" dirty="0"/>
              <a:t>Substantial improvements in the score itself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853289-63AB-4BD7-99FE-F92F3CC465F4}"/>
              </a:ext>
            </a:extLst>
          </p:cNvPr>
          <p:cNvSpPr txBox="1"/>
          <p:nvPr/>
        </p:nvSpPr>
        <p:spPr>
          <a:xfrm>
            <a:off x="10041774" y="2692472"/>
            <a:ext cx="2110717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Add col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istinguish use case v/s complexity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How is complexity </a:t>
            </a:r>
            <a:r>
              <a:rPr lang="en-US" sz="1400" b="1" dirty="0" err="1"/>
              <a:t>chaning</a:t>
            </a:r>
            <a:r>
              <a:rPr lang="en-US" sz="1400" b="1" dirty="0"/>
              <a:t>? Over the period of tim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184D501-7934-4A39-960F-1C28D549E5AF}"/>
              </a:ext>
            </a:extLst>
          </p:cNvPr>
          <p:cNvSpPr txBox="1"/>
          <p:nvPr/>
        </p:nvSpPr>
        <p:spPr>
          <a:xfrm>
            <a:off x="2836180" y="3999828"/>
            <a:ext cx="1445232" cy="9694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182880" indent="-91440">
              <a:buFont typeface="Arial" panose="020B0604020202020204" pitchFamily="34" charset="0"/>
              <a:buChar char="•"/>
            </a:pPr>
            <a:r>
              <a:rPr lang="en-US" sz="1050" dirty="0"/>
              <a:t>Additional supportive dimensions incorporation – verticals, product adoptions, BT integrations </a:t>
            </a:r>
          </a:p>
        </p:txBody>
      </p:sp>
    </p:spTree>
    <p:extLst>
      <p:ext uri="{BB962C8B-B14F-4D97-AF65-F5344CB8AC3E}">
        <p14:creationId xmlns:p14="http://schemas.microsoft.com/office/powerpoint/2010/main" val="253674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D1B63C-73CB-49DF-BF5A-B13B49FAB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320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D1B63C-73CB-49DF-BF5A-B13B49FAB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3C86EBD-940D-5C4E-9331-3352A348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137" y="2295525"/>
            <a:ext cx="11515725" cy="1023619"/>
          </a:xfrm>
        </p:spPr>
        <p:txBody>
          <a:bodyPr vert="horz"/>
          <a:lstStyle/>
          <a:p>
            <a:r>
              <a:rPr lang="en-US" dirty="0"/>
              <a:t>Complexity Score v2.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0D895-9A87-AA41-9A56-6103F899BD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Aniket Chhabr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A0BE68-850F-435A-B1F8-6250BAFE87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511F-3722-4A5C-87AA-DED81D4CF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098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9E0CE6B-BC8F-4947-979F-06BBDF4BC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516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C0615D1B-0D14-496B-80B0-ADFCF703ECA9}"/>
              </a:ext>
            </a:extLst>
          </p:cNvPr>
          <p:cNvSpPr/>
          <p:nvPr/>
        </p:nvSpPr>
        <p:spPr>
          <a:xfrm>
            <a:off x="5194650" y="5679409"/>
            <a:ext cx="5223345" cy="1011312"/>
          </a:xfrm>
          <a:prstGeom prst="rect">
            <a:avLst/>
          </a:prstGeom>
          <a:solidFill>
            <a:srgbClr val="FFDDEC"/>
          </a:solidFill>
          <a:ln w="63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654ECB8-40AE-4947-8142-09CA00CCACF9}"/>
              </a:ext>
            </a:extLst>
          </p:cNvPr>
          <p:cNvSpPr/>
          <p:nvPr/>
        </p:nvSpPr>
        <p:spPr>
          <a:xfrm>
            <a:off x="2904184" y="4042777"/>
            <a:ext cx="815061" cy="2658217"/>
          </a:xfrm>
          <a:prstGeom prst="rect">
            <a:avLst/>
          </a:prstGeom>
          <a:solidFill>
            <a:srgbClr val="D9FFF4"/>
          </a:solidFill>
          <a:ln w="63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CD69428-609A-47C8-B3B3-6DDF3EE87EEB}"/>
              </a:ext>
            </a:extLst>
          </p:cNvPr>
          <p:cNvSpPr/>
          <p:nvPr/>
        </p:nvSpPr>
        <p:spPr>
          <a:xfrm>
            <a:off x="3719245" y="4042778"/>
            <a:ext cx="1475405" cy="2658217"/>
          </a:xfrm>
          <a:prstGeom prst="rect">
            <a:avLst/>
          </a:prstGeom>
          <a:solidFill>
            <a:srgbClr val="FFF5E7"/>
          </a:solidFill>
          <a:ln w="63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CD875D5-4B8F-408C-AC7C-D851225075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257526"/>
              </p:ext>
            </p:extLst>
          </p:nvPr>
        </p:nvGraphicFramePr>
        <p:xfrm>
          <a:off x="2836873" y="3948481"/>
          <a:ext cx="7682574" cy="2831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86D2C-E729-4032-8663-A30B89B03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3036" y="6511142"/>
            <a:ext cx="2359870" cy="311150"/>
          </a:xfrm>
        </p:spPr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780013-B465-47B8-8C93-39E2D0913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6723" y="6408698"/>
            <a:ext cx="527050" cy="280907"/>
          </a:xfrm>
        </p:spPr>
        <p:txBody>
          <a:bodyPr/>
          <a:lstStyle/>
          <a:p>
            <a:fld id="{07CF5707-6B01-4E28-B52C-5F626EA6C56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Title 22">
            <a:extLst>
              <a:ext uri="{FF2B5EF4-FFF2-40B4-BE49-F238E27FC236}">
                <a16:creationId xmlns:a16="http://schemas.microsoft.com/office/drawing/2014/main" id="{ADF5DE00-3CD4-4532-A730-27B026FB6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86" y="140913"/>
            <a:ext cx="11850187" cy="280907"/>
          </a:xfrm>
        </p:spPr>
        <p:txBody>
          <a:bodyPr vert="horz"/>
          <a:lstStyle/>
          <a:p>
            <a:r>
              <a:rPr lang="en-US" dirty="0"/>
              <a:t>Complexity Score Development framewor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742264-5799-471F-936F-3CF61105D01A}"/>
              </a:ext>
            </a:extLst>
          </p:cNvPr>
          <p:cNvSpPr/>
          <p:nvPr/>
        </p:nvSpPr>
        <p:spPr>
          <a:xfrm>
            <a:off x="79998" y="1401882"/>
            <a:ext cx="3717485" cy="23021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09575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Key parameters identification and data collection –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Discussion CSMs Org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Servicing effort level features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Merchant/Account characteristics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Product level data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CSM key program indicators – Parity, C&amp;D and Lead pass</a:t>
            </a:r>
          </a:p>
        </p:txBody>
      </p:sp>
      <p:sp>
        <p:nvSpPr>
          <p:cNvPr id="11" name="Arrow: Pentagon 29">
            <a:extLst>
              <a:ext uri="{FF2B5EF4-FFF2-40B4-BE49-F238E27FC236}">
                <a16:creationId xmlns:a16="http://schemas.microsoft.com/office/drawing/2014/main" id="{DC4128EA-3ED4-41ED-8010-48E3BB62748E}"/>
              </a:ext>
            </a:extLst>
          </p:cNvPr>
          <p:cNvSpPr/>
          <p:nvPr/>
        </p:nvSpPr>
        <p:spPr>
          <a:xfrm>
            <a:off x="93860" y="757873"/>
            <a:ext cx="3824804" cy="571198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ata Collection Pro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44878E-BD94-4EAE-A073-86F346B8551A}"/>
              </a:ext>
            </a:extLst>
          </p:cNvPr>
          <p:cNvSpPr/>
          <p:nvPr/>
        </p:nvSpPr>
        <p:spPr>
          <a:xfrm>
            <a:off x="3918664" y="1395238"/>
            <a:ext cx="3797954" cy="23021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576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Weights assignment and Calibration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Assigned weights to each of parameters selected. </a:t>
            </a:r>
          </a:p>
          <a:p>
            <a:pPr marL="866775" lvl="1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Feedback collection on features like BT integrations and BT Payment types and account’s vertical complexity</a:t>
            </a:r>
          </a:p>
          <a:p>
            <a:pPr marL="409575" indent="-238125">
              <a:spcAft>
                <a:spcPts val="600"/>
              </a:spcAft>
              <a:buFont typeface="Arial,Sans-Serif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ea typeface="+mn-lt"/>
                <a:cs typeface="+mn-lt"/>
              </a:rPr>
              <a:t>Normalization –</a:t>
            </a:r>
            <a:r>
              <a:rPr lang="en-US" sz="1400" dirty="0">
                <a:solidFill>
                  <a:schemeClr val="tx1"/>
                </a:solidFill>
                <a:ea typeface="+mn-lt"/>
                <a:cs typeface="+mn-lt"/>
              </a:rPr>
              <a:t> Data normalization exercise to generate the data at same scale</a:t>
            </a:r>
          </a:p>
        </p:txBody>
      </p:sp>
      <p:sp>
        <p:nvSpPr>
          <p:cNvPr id="13" name="Arrow: Chevron 27">
            <a:extLst>
              <a:ext uri="{FF2B5EF4-FFF2-40B4-BE49-F238E27FC236}">
                <a16:creationId xmlns:a16="http://schemas.microsoft.com/office/drawing/2014/main" id="{3C5C4995-383B-43FB-9AD6-BA7FD68C9310}"/>
              </a:ext>
            </a:extLst>
          </p:cNvPr>
          <p:cNvSpPr/>
          <p:nvPr/>
        </p:nvSpPr>
        <p:spPr>
          <a:xfrm>
            <a:off x="4014126" y="757873"/>
            <a:ext cx="3705132" cy="571198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ata Transformation/ Feature Gener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FE95C5-E285-4F07-B329-71834081558C}"/>
              </a:ext>
            </a:extLst>
          </p:cNvPr>
          <p:cNvSpPr/>
          <p:nvPr/>
        </p:nvSpPr>
        <p:spPr>
          <a:xfrm>
            <a:off x="7909020" y="1401883"/>
            <a:ext cx="3797954" cy="23021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Methodology – </a:t>
            </a:r>
            <a:r>
              <a:rPr lang="en-US" sz="1400" dirty="0">
                <a:solidFill>
                  <a:schemeClr val="tx1"/>
                </a:solidFill>
              </a:rPr>
              <a:t>Weighted Index score</a:t>
            </a:r>
            <a:br>
              <a:rPr lang="en-US" sz="1400" b="1" dirty="0">
                <a:solidFill>
                  <a:schemeClr val="tx1"/>
                </a:solidFill>
              </a:rPr>
            </a:br>
            <a:endParaRPr lang="en-US" sz="1400" b="1" dirty="0">
              <a:solidFill>
                <a:schemeClr val="tx1"/>
              </a:solidFill>
            </a:endParaRPr>
          </a:p>
          <a:p>
            <a:pPr marL="409575" indent="-238125">
              <a:buFont typeface="Arial" panose="020B0604020202020204" pitchFamily="34" charset="0"/>
              <a:buChar char="•"/>
            </a:pPr>
            <a:r>
              <a:rPr lang="pl-PL" sz="1400" b="1" dirty="0">
                <a:solidFill>
                  <a:schemeClr val="tx1"/>
                </a:solidFill>
              </a:rPr>
              <a:t>Complexity Score </a:t>
            </a:r>
            <a:r>
              <a:rPr lang="pl-PL" sz="1400" dirty="0">
                <a:solidFill>
                  <a:schemeClr val="tx1"/>
                </a:solidFill>
              </a:rPr>
              <a:t>=  w1*x1 + w2*x2 +…+  w10*x10</a:t>
            </a:r>
            <a:endParaRPr lang="en-US" sz="1400" dirty="0">
              <a:solidFill>
                <a:schemeClr val="tx1"/>
              </a:solidFill>
            </a:endParaRPr>
          </a:p>
          <a:p>
            <a:pPr marL="866775" lvl="1" indent="-23812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W</a:t>
            </a:r>
            <a:r>
              <a:rPr lang="en-US" sz="1400" dirty="0">
                <a:solidFill>
                  <a:schemeClr val="tx1"/>
                </a:solidFill>
              </a:rPr>
              <a:t> – assigned weight</a:t>
            </a:r>
          </a:p>
          <a:p>
            <a:pPr marL="866775" lvl="1" indent="-23812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Xi</a:t>
            </a:r>
            <a:r>
              <a:rPr lang="en-US" sz="1400" dirty="0">
                <a:solidFill>
                  <a:schemeClr val="tx1"/>
                </a:solidFill>
              </a:rPr>
              <a:t> – parameters</a:t>
            </a:r>
            <a:endParaRPr lang="pl-PL" sz="1400" dirty="0">
              <a:solidFill>
                <a:schemeClr val="tx1"/>
              </a:solidFill>
            </a:endParaRPr>
          </a:p>
          <a:p>
            <a:pPr marL="171450"/>
            <a:endParaRPr lang="en-US" sz="1600" dirty="0">
              <a:solidFill>
                <a:schemeClr val="tx1"/>
              </a:solidFill>
            </a:endParaRPr>
          </a:p>
          <a:p>
            <a:pPr marL="171450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Arrow: Chevron 26">
            <a:extLst>
              <a:ext uri="{FF2B5EF4-FFF2-40B4-BE49-F238E27FC236}">
                <a16:creationId xmlns:a16="http://schemas.microsoft.com/office/drawing/2014/main" id="{4677A4FC-57E8-4B6B-B886-412E927FB892}"/>
              </a:ext>
            </a:extLst>
          </p:cNvPr>
          <p:cNvSpPr/>
          <p:nvPr/>
        </p:nvSpPr>
        <p:spPr>
          <a:xfrm>
            <a:off x="7945745" y="757552"/>
            <a:ext cx="3724503" cy="571198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Model Building – Score Calcula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2BD006-BF03-443F-9870-636FF2D99D1C}"/>
              </a:ext>
            </a:extLst>
          </p:cNvPr>
          <p:cNvSpPr txBox="1"/>
          <p:nvPr/>
        </p:nvSpPr>
        <p:spPr>
          <a:xfrm>
            <a:off x="7406395" y="5364289"/>
            <a:ext cx="10514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4"/>
                </a:solidFill>
                <a:latin typeface="+mj-lt"/>
              </a:rPr>
              <a:t>High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CFC0BA6-0B88-4ED3-86FB-2D5E89384CE9}"/>
              </a:ext>
            </a:extLst>
          </p:cNvPr>
          <p:cNvCxnSpPr>
            <a:cxnSpLocks/>
          </p:cNvCxnSpPr>
          <p:nvPr/>
        </p:nvCxnSpPr>
        <p:spPr>
          <a:xfrm flipV="1">
            <a:off x="6081926" y="5513823"/>
            <a:ext cx="1509468" cy="611"/>
          </a:xfrm>
          <a:prstGeom prst="line">
            <a:avLst/>
          </a:prstGeom>
          <a:ln w="19050">
            <a:solidFill>
              <a:srgbClr val="FFDDE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C3EF409-5B29-4D55-B74F-2C5B2721D5E3}"/>
              </a:ext>
            </a:extLst>
          </p:cNvPr>
          <p:cNvCxnSpPr>
            <a:cxnSpLocks/>
          </p:cNvCxnSpPr>
          <p:nvPr/>
        </p:nvCxnSpPr>
        <p:spPr>
          <a:xfrm>
            <a:off x="8206891" y="5523945"/>
            <a:ext cx="1692253" cy="0"/>
          </a:xfrm>
          <a:prstGeom prst="line">
            <a:avLst/>
          </a:prstGeom>
          <a:ln w="19050">
            <a:solidFill>
              <a:srgbClr val="FFDDE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845E22B3-5E32-4A3E-B710-157F93284248}"/>
              </a:ext>
            </a:extLst>
          </p:cNvPr>
          <p:cNvSpPr txBox="1"/>
          <p:nvPr/>
        </p:nvSpPr>
        <p:spPr>
          <a:xfrm>
            <a:off x="4309750" y="3745232"/>
            <a:ext cx="10514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+mj-lt"/>
              </a:rPr>
              <a:t>Mediu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C3A2F13-EEB5-434E-A143-5BE2A6440470}"/>
              </a:ext>
            </a:extLst>
          </p:cNvPr>
          <p:cNvSpPr txBox="1"/>
          <p:nvPr/>
        </p:nvSpPr>
        <p:spPr>
          <a:xfrm>
            <a:off x="3093217" y="3684491"/>
            <a:ext cx="10514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+mj-lt"/>
              </a:rPr>
              <a:t>Low</a:t>
            </a:r>
          </a:p>
        </p:txBody>
      </p:sp>
      <p:sp>
        <p:nvSpPr>
          <p:cNvPr id="45" name="Text Placeholder 82">
            <a:extLst>
              <a:ext uri="{FF2B5EF4-FFF2-40B4-BE49-F238E27FC236}">
                <a16:creationId xmlns:a16="http://schemas.microsoft.com/office/drawing/2014/main" id="{FD236F80-7900-496B-9F04-5D5C94A68C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130" y="412125"/>
            <a:ext cx="11549123" cy="294010"/>
          </a:xfrm>
        </p:spPr>
        <p:txBody>
          <a:bodyPr>
            <a:noAutofit/>
          </a:bodyPr>
          <a:lstStyle/>
          <a:p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403760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3EE8FA-BA20-46AB-BD05-E8418C1B1A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068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F9A9AC-9531-4EFE-9E1B-09743E328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AQ?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D17529-B3FB-4B48-B05D-58AFD4E150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y the score is not fully distributed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594363-53EE-4CEB-9625-4D3A96D98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1 PayPal Inc. Confidential and proprietary.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B2B792-471F-4025-81ED-64F44297D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4794B7-3BFC-40D3-8540-7DC2C583C8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4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A9C6EA-1271-40FB-8A62-BC21BD580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773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5A9C6EA-1271-40FB-8A62-BC21BD580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A20D072B-0347-49DA-A422-B79EBBCD39BB}"/>
              </a:ext>
            </a:extLst>
          </p:cNvPr>
          <p:cNvSpPr/>
          <p:nvPr/>
        </p:nvSpPr>
        <p:spPr>
          <a:xfrm>
            <a:off x="66675" y="814524"/>
            <a:ext cx="12026008" cy="5345820"/>
          </a:xfrm>
          <a:prstGeom prst="rect">
            <a:avLst/>
          </a:prstGeom>
          <a:solidFill>
            <a:srgbClr val="FBFBFB"/>
          </a:solidFill>
          <a:ln w="190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45322B1-13B0-45CB-980F-723D33A76948}"/>
              </a:ext>
            </a:extLst>
          </p:cNvPr>
          <p:cNvSpPr/>
          <p:nvPr/>
        </p:nvSpPr>
        <p:spPr>
          <a:xfrm>
            <a:off x="6213298" y="6225679"/>
            <a:ext cx="5273156" cy="42277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F3E9FC-35B5-40FB-AD09-73D46F0C68CD}"/>
              </a:ext>
            </a:extLst>
          </p:cNvPr>
          <p:cNvSpPr/>
          <p:nvPr/>
        </p:nvSpPr>
        <p:spPr>
          <a:xfrm>
            <a:off x="535643" y="3534310"/>
            <a:ext cx="2217829" cy="240606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ADA657-632A-4559-97AB-87FBF6D44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1 PayPal Inc. Confidential and proprietar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CECA03-6AC6-42A3-908F-22BD91510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itle 22">
            <a:extLst>
              <a:ext uri="{FF2B5EF4-FFF2-40B4-BE49-F238E27FC236}">
                <a16:creationId xmlns:a16="http://schemas.microsoft.com/office/drawing/2014/main" id="{2F554048-1F43-4885-920C-02BAEA263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86" y="145369"/>
            <a:ext cx="11187113" cy="311150"/>
          </a:xfrm>
        </p:spPr>
        <p:txBody>
          <a:bodyPr vert="horz"/>
          <a:lstStyle/>
          <a:p>
            <a:r>
              <a:rPr lang="en-US" dirty="0"/>
              <a:t>Complexity score updated to simplify understanding and use</a:t>
            </a:r>
          </a:p>
        </p:txBody>
      </p:sp>
      <p:sp>
        <p:nvSpPr>
          <p:cNvPr id="9" name="Text Placeholder 82">
            <a:extLst>
              <a:ext uri="{FF2B5EF4-FFF2-40B4-BE49-F238E27FC236}">
                <a16:creationId xmlns:a16="http://schemas.microsoft.com/office/drawing/2014/main" id="{C4128CBF-A01A-4312-AE1F-B1C9931D22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724" y="449302"/>
            <a:ext cx="11549123" cy="294010"/>
          </a:xfrm>
        </p:spPr>
        <p:txBody>
          <a:bodyPr>
            <a:noAutofit/>
          </a:bodyPr>
          <a:lstStyle/>
          <a:p>
            <a:r>
              <a:rPr lang="en-US" sz="1700" dirty="0"/>
              <a:t>Update includes strategic expansion dimensions to add more importance to accounts who require high touch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46C6F9-64FC-4932-BF17-AEF1E766EF86}"/>
              </a:ext>
            </a:extLst>
          </p:cNvPr>
          <p:cNvSpPr txBox="1"/>
          <p:nvPr/>
        </p:nvSpPr>
        <p:spPr>
          <a:xfrm>
            <a:off x="685316" y="3103578"/>
            <a:ext cx="1918481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400" b="1" dirty="0"/>
              <a:t>Merchant Characteristics (25%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740DC4B-60DD-4AC9-A98F-98C2464DE715}"/>
              </a:ext>
            </a:extLst>
          </p:cNvPr>
          <p:cNvSpPr txBox="1"/>
          <p:nvPr/>
        </p:nvSpPr>
        <p:spPr>
          <a:xfrm>
            <a:off x="563371" y="3846021"/>
            <a:ext cx="2194496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enure of an Accou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No. of Corrido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Verticals - Travel, Ticketing and Gambli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No. of Accoun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B91D46-BE34-4A82-8F03-3FA8DC5EC02C}"/>
              </a:ext>
            </a:extLst>
          </p:cNvPr>
          <p:cNvSpPr/>
          <p:nvPr/>
        </p:nvSpPr>
        <p:spPr>
          <a:xfrm>
            <a:off x="3503162" y="3534309"/>
            <a:ext cx="2217829" cy="240606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51CCE1-1ABC-4B66-A5C4-F58CB44E06FF}"/>
              </a:ext>
            </a:extLst>
          </p:cNvPr>
          <p:cNvSpPr txBox="1"/>
          <p:nvPr/>
        </p:nvSpPr>
        <p:spPr>
          <a:xfrm>
            <a:off x="3652835" y="3103578"/>
            <a:ext cx="1918481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 b="1"/>
            </a:lvl1pPr>
          </a:lstStyle>
          <a:p>
            <a:r>
              <a:rPr lang="en-US" sz="1400" dirty="0"/>
              <a:t>Merchant Performance (15%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FE74753-E432-48E9-88A2-B26E2B21F9D3}"/>
              </a:ext>
            </a:extLst>
          </p:cNvPr>
          <p:cNvSpPr txBox="1"/>
          <p:nvPr/>
        </p:nvSpPr>
        <p:spPr>
          <a:xfrm>
            <a:off x="3538162" y="3846021"/>
            <a:ext cx="21944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Merchant KPIs (TPV/REV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esentment Improveme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Retention/Declin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BB9724A-F52E-4D2E-96A3-A15ACF22CE1E}"/>
              </a:ext>
            </a:extLst>
          </p:cNvPr>
          <p:cNvSpPr/>
          <p:nvPr/>
        </p:nvSpPr>
        <p:spPr>
          <a:xfrm>
            <a:off x="6470681" y="3534309"/>
            <a:ext cx="2217829" cy="240606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D0D1F0E-D329-44D3-BB85-99A7B4B9CCFC}"/>
              </a:ext>
            </a:extLst>
          </p:cNvPr>
          <p:cNvSpPr txBox="1"/>
          <p:nvPr/>
        </p:nvSpPr>
        <p:spPr>
          <a:xfrm>
            <a:off x="6635075" y="3114379"/>
            <a:ext cx="1918481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 b="1"/>
            </a:lvl1pPr>
          </a:lstStyle>
          <a:p>
            <a:r>
              <a:rPr lang="en-US" sz="1400" dirty="0"/>
              <a:t>Servicing Efforts (15%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B5D70DB-AFB7-4F04-8E18-3F7CEFACA9EE}"/>
              </a:ext>
            </a:extLst>
          </p:cNvPr>
          <p:cNvSpPr txBox="1"/>
          <p:nvPr/>
        </p:nvSpPr>
        <p:spPr>
          <a:xfrm>
            <a:off x="6497068" y="3846021"/>
            <a:ext cx="2194496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echnical/ Integration Support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ssues /Appeals, chargebacks and Limitations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highlight>
                  <a:srgbClr val="FFFF00"/>
                </a:highlight>
              </a:rPr>
              <a:t>Add GPS Support data – correlation analysi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563AF7-D655-44D6-9DBD-11F37E30C505}"/>
              </a:ext>
            </a:extLst>
          </p:cNvPr>
          <p:cNvSpPr/>
          <p:nvPr/>
        </p:nvSpPr>
        <p:spPr>
          <a:xfrm>
            <a:off x="9413585" y="3539021"/>
            <a:ext cx="2217829" cy="240135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AEEE06D-553D-4A77-8D47-A6E7AF04DCEF}"/>
              </a:ext>
            </a:extLst>
          </p:cNvPr>
          <p:cNvSpPr txBox="1"/>
          <p:nvPr/>
        </p:nvSpPr>
        <p:spPr>
          <a:xfrm>
            <a:off x="9552508" y="3114379"/>
            <a:ext cx="1918481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 b="1"/>
            </a:lvl1pPr>
          </a:lstStyle>
          <a:p>
            <a:r>
              <a:rPr lang="en-US" sz="1400" dirty="0"/>
              <a:t>Strategic </a:t>
            </a:r>
          </a:p>
          <a:p>
            <a:r>
              <a:rPr lang="en-US" sz="1400" dirty="0"/>
              <a:t>Expansion (45%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03EEE5-C82B-4DBB-80E4-538AF84BF5AA}"/>
              </a:ext>
            </a:extLst>
          </p:cNvPr>
          <p:cNvSpPr txBox="1"/>
          <p:nvPr/>
        </p:nvSpPr>
        <p:spPr>
          <a:xfrm>
            <a:off x="9414501" y="3672584"/>
            <a:ext cx="2194496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Regional Expans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urrent suite of products – PP, BT and Unbranded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ccount /Brand Expansions – recent addition of new complex products like – BT, Unbrande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903C86-0A2A-4D20-BAF6-C7FD6EE264CC}"/>
              </a:ext>
            </a:extLst>
          </p:cNvPr>
          <p:cNvSpPr txBox="1"/>
          <p:nvPr/>
        </p:nvSpPr>
        <p:spPr>
          <a:xfrm>
            <a:off x="6213298" y="6298424"/>
            <a:ext cx="52731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hlinkClick r:id="rId5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*Note – </a:t>
            </a:r>
            <a:r>
              <a:rPr lang="en-US" sz="1400" dirty="0">
                <a:solidFill>
                  <a:schemeClr val="bg1"/>
                </a:solidFill>
                <a:hlinkClick r:id="rId5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 to the attached excel file link for detailed factor list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B57142D-DD6E-40F4-ABEA-F28479AEEE8F}"/>
              </a:ext>
            </a:extLst>
          </p:cNvPr>
          <p:cNvSpPr/>
          <p:nvPr/>
        </p:nvSpPr>
        <p:spPr>
          <a:xfrm>
            <a:off x="4425594" y="1002372"/>
            <a:ext cx="3575407" cy="702221"/>
          </a:xfrm>
          <a:prstGeom prst="roundRect">
            <a:avLst/>
          </a:prstGeom>
          <a:noFill/>
          <a:ln w="28575"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Merchant Complexity Score Dimension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4A80AD0-46EA-4081-AE2D-3C44D815E7B6}"/>
              </a:ext>
            </a:extLst>
          </p:cNvPr>
          <p:cNvCxnSpPr>
            <a:cxnSpLocks/>
          </p:cNvCxnSpPr>
          <p:nvPr/>
        </p:nvCxnSpPr>
        <p:spPr>
          <a:xfrm flipV="1">
            <a:off x="1520575" y="2237114"/>
            <a:ext cx="9236468" cy="541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6A790D0-8181-448B-B397-17B5E483EB77}"/>
              </a:ext>
            </a:extLst>
          </p:cNvPr>
          <p:cNvCxnSpPr>
            <a:cxnSpLocks/>
          </p:cNvCxnSpPr>
          <p:nvPr/>
        </p:nvCxnSpPr>
        <p:spPr>
          <a:xfrm>
            <a:off x="6060040" y="1704593"/>
            <a:ext cx="0" cy="521057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80149CF-4004-41A5-94E2-56CE3E4979F7}"/>
              </a:ext>
            </a:extLst>
          </p:cNvPr>
          <p:cNvCxnSpPr/>
          <p:nvPr/>
        </p:nvCxnSpPr>
        <p:spPr>
          <a:xfrm>
            <a:off x="1530849" y="2242526"/>
            <a:ext cx="0" cy="79290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CDC1C34-7FB1-4F69-B6BC-E388EED00895}"/>
              </a:ext>
            </a:extLst>
          </p:cNvPr>
          <p:cNvCxnSpPr/>
          <p:nvPr/>
        </p:nvCxnSpPr>
        <p:spPr>
          <a:xfrm>
            <a:off x="4635410" y="2242526"/>
            <a:ext cx="0" cy="79290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A960F5F4-51A0-4036-B856-7CE2C8CC9BDA}"/>
              </a:ext>
            </a:extLst>
          </p:cNvPr>
          <p:cNvCxnSpPr/>
          <p:nvPr/>
        </p:nvCxnSpPr>
        <p:spPr>
          <a:xfrm>
            <a:off x="7625190" y="2249610"/>
            <a:ext cx="0" cy="79290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6800737-81C8-4E54-90AC-7FBA56D29487}"/>
              </a:ext>
            </a:extLst>
          </p:cNvPr>
          <p:cNvCxnSpPr/>
          <p:nvPr/>
        </p:nvCxnSpPr>
        <p:spPr>
          <a:xfrm>
            <a:off x="10746769" y="2234690"/>
            <a:ext cx="0" cy="792909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FD86511F-9EC2-4E86-BC9F-B9A3B1427F44}"/>
              </a:ext>
            </a:extLst>
          </p:cNvPr>
          <p:cNvSpPr/>
          <p:nvPr/>
        </p:nvSpPr>
        <p:spPr>
          <a:xfrm>
            <a:off x="9144001" y="2958957"/>
            <a:ext cx="2704462" cy="3125615"/>
          </a:xfrm>
          <a:prstGeom prst="rect">
            <a:avLst/>
          </a:prstGeom>
          <a:noFill/>
          <a:ln w="19050">
            <a:solidFill>
              <a:schemeClr val="accent4"/>
            </a:solidFill>
            <a:prstDash val="sys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43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FDDAA4-4D3E-48CF-8A78-7D9C2FE689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581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6FDDAA4-4D3E-48CF-8A78-7D9C2FE68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A9645E2-35E9-44F4-9714-DD87A015AE2E}"/>
              </a:ext>
            </a:extLst>
          </p:cNvPr>
          <p:cNvSpPr/>
          <p:nvPr/>
        </p:nvSpPr>
        <p:spPr>
          <a:xfrm>
            <a:off x="84422" y="1140909"/>
            <a:ext cx="12045876" cy="5251660"/>
          </a:xfrm>
          <a:prstGeom prst="rect">
            <a:avLst/>
          </a:prstGeom>
          <a:solidFill>
            <a:srgbClr val="FBFBFB"/>
          </a:solidFill>
          <a:ln w="19050">
            <a:solidFill>
              <a:schemeClr val="bg2">
                <a:lumMod val="50000"/>
              </a:schemeClr>
            </a:solidFill>
            <a:prstDash val="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2045E5-CC14-4930-9BCD-CC9305A52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="1"/>
              <a:t>© 2021 PayPal Inc. Confidential and proprietary.</a:t>
            </a:r>
            <a:endParaRPr lang="en-GB" b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3C04C0-CD89-4DCB-BC8F-7D47D8129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F5707-6B01-4E28-B52C-5F626EA6C564}" type="slidenum">
              <a:rPr lang="en-US" b="1" smtClean="0"/>
              <a:pPr/>
              <a:t>9</a:t>
            </a:fld>
            <a:endParaRPr lang="en-US" b="1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9A7441CD-9E40-452A-9458-6B494852DF9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61489843"/>
                  </p:ext>
                </p:extLst>
              </p:nvPr>
            </p:nvGraphicFramePr>
            <p:xfrm>
              <a:off x="495299" y="1792356"/>
              <a:ext cx="11494643" cy="47317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9A7441CD-9E40-452A-9458-6B494852DF9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95299" y="1792356"/>
                <a:ext cx="11494643" cy="4731729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AD97A22-EB2A-4E3D-8816-18A016C099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2967" y="477873"/>
            <a:ext cx="12006191" cy="479425"/>
          </a:xfrm>
        </p:spPr>
        <p:txBody>
          <a:bodyPr>
            <a:normAutofit fontScale="85000" lnSpcReduction="20000"/>
          </a:bodyPr>
          <a:lstStyle/>
          <a:p>
            <a:r>
              <a:rPr lang="en-US" sz="2000" dirty="0"/>
              <a:t>Complexity score decreases as we move from Global accounts to servicing segments 2021; B1 score significantly higher than A; similarly higher scores B1,B2 and B3 retain segments than their grow counterpart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585D732-71D5-4002-B484-D89C02C06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68" y="147280"/>
            <a:ext cx="11743532" cy="323334"/>
          </a:xfrm>
        </p:spPr>
        <p:txBody>
          <a:bodyPr vert="horz"/>
          <a:lstStyle/>
          <a:p>
            <a:r>
              <a:rPr lang="en-US" dirty="0"/>
              <a:t>Score Distribution across Servicing Segments 2021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248D3B2-E2C7-4797-8555-BD9579466E6A}"/>
              </a:ext>
            </a:extLst>
          </p:cNvPr>
          <p:cNvSpPr/>
          <p:nvPr/>
        </p:nvSpPr>
        <p:spPr>
          <a:xfrm>
            <a:off x="33052" y="1593748"/>
            <a:ext cx="904126" cy="40408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a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7F23CD1-C2CC-4865-92B6-3F9F319D2606}"/>
              </a:ext>
            </a:extLst>
          </p:cNvPr>
          <p:cNvSpPr/>
          <p:nvPr/>
        </p:nvSpPr>
        <p:spPr>
          <a:xfrm>
            <a:off x="33052" y="1895094"/>
            <a:ext cx="904126" cy="52226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/>
              <a:t>Median</a:t>
            </a:r>
          </a:p>
        </p:txBody>
      </p:sp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21C0E2FD-699D-4202-8590-DC7942C997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7679042"/>
              </p:ext>
            </p:extLst>
          </p:nvPr>
        </p:nvGraphicFramePr>
        <p:xfrm>
          <a:off x="937178" y="1178998"/>
          <a:ext cx="11080481" cy="1208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40251">
                  <a:extLst>
                    <a:ext uri="{9D8B030D-6E8A-4147-A177-3AD203B41FA5}">
                      <a16:colId xmlns:a16="http://schemas.microsoft.com/office/drawing/2014/main" val="2075488231"/>
                    </a:ext>
                  </a:extLst>
                </a:gridCol>
                <a:gridCol w="832207">
                  <a:extLst>
                    <a:ext uri="{9D8B030D-6E8A-4147-A177-3AD203B41FA5}">
                      <a16:colId xmlns:a16="http://schemas.microsoft.com/office/drawing/2014/main" val="3954257252"/>
                    </a:ext>
                  </a:extLst>
                </a:gridCol>
                <a:gridCol w="911676">
                  <a:extLst>
                    <a:ext uri="{9D8B030D-6E8A-4147-A177-3AD203B41FA5}">
                      <a16:colId xmlns:a16="http://schemas.microsoft.com/office/drawing/2014/main" val="1090199508"/>
                    </a:ext>
                  </a:extLst>
                </a:gridCol>
                <a:gridCol w="861378">
                  <a:extLst>
                    <a:ext uri="{9D8B030D-6E8A-4147-A177-3AD203B41FA5}">
                      <a16:colId xmlns:a16="http://schemas.microsoft.com/office/drawing/2014/main" val="728312284"/>
                    </a:ext>
                  </a:extLst>
                </a:gridCol>
                <a:gridCol w="796635">
                  <a:extLst>
                    <a:ext uri="{9D8B030D-6E8A-4147-A177-3AD203B41FA5}">
                      <a16:colId xmlns:a16="http://schemas.microsoft.com/office/drawing/2014/main" val="1497696173"/>
                    </a:ext>
                  </a:extLst>
                </a:gridCol>
                <a:gridCol w="797805">
                  <a:extLst>
                    <a:ext uri="{9D8B030D-6E8A-4147-A177-3AD203B41FA5}">
                      <a16:colId xmlns:a16="http://schemas.microsoft.com/office/drawing/2014/main" val="2835189892"/>
                    </a:ext>
                  </a:extLst>
                </a:gridCol>
                <a:gridCol w="772991">
                  <a:extLst>
                    <a:ext uri="{9D8B030D-6E8A-4147-A177-3AD203B41FA5}">
                      <a16:colId xmlns:a16="http://schemas.microsoft.com/office/drawing/2014/main" val="894541541"/>
                    </a:ext>
                  </a:extLst>
                </a:gridCol>
                <a:gridCol w="986319">
                  <a:extLst>
                    <a:ext uri="{9D8B030D-6E8A-4147-A177-3AD203B41FA5}">
                      <a16:colId xmlns:a16="http://schemas.microsoft.com/office/drawing/2014/main" val="3500247995"/>
                    </a:ext>
                  </a:extLst>
                </a:gridCol>
                <a:gridCol w="896244">
                  <a:extLst>
                    <a:ext uri="{9D8B030D-6E8A-4147-A177-3AD203B41FA5}">
                      <a16:colId xmlns:a16="http://schemas.microsoft.com/office/drawing/2014/main" val="2302450544"/>
                    </a:ext>
                  </a:extLst>
                </a:gridCol>
                <a:gridCol w="854790">
                  <a:extLst>
                    <a:ext uri="{9D8B030D-6E8A-4147-A177-3AD203B41FA5}">
                      <a16:colId xmlns:a16="http://schemas.microsoft.com/office/drawing/2014/main" val="2789838120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3392184087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4012495055"/>
                    </a:ext>
                  </a:extLst>
                </a:gridCol>
                <a:gridCol w="843395">
                  <a:extLst>
                    <a:ext uri="{9D8B030D-6E8A-4147-A177-3AD203B41FA5}">
                      <a16:colId xmlns:a16="http://schemas.microsoft.com/office/drawing/2014/main" val="1385430911"/>
                    </a:ext>
                  </a:extLst>
                </a:gridCol>
              </a:tblGrid>
              <a:tr h="41049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Global Accounts</a:t>
                      </a:r>
                    </a:p>
                  </a:txBody>
                  <a:tcPr anchor="ctr">
                    <a:solidFill>
                      <a:srgbClr val="0099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</a:rPr>
                        <a:t>A</a:t>
                      </a:r>
                    </a:p>
                  </a:txBody>
                  <a:tcPr anchor="ctr">
                    <a:solidFill>
                      <a:srgbClr val="0024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</a:t>
                      </a:r>
                    </a:p>
                  </a:txBody>
                  <a:tcPr marL="6350" marR="6350" marT="6350" marB="0" anchor="ctr">
                    <a:solidFill>
                      <a:srgbClr val="56037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 G</a:t>
                      </a:r>
                    </a:p>
                  </a:txBody>
                  <a:tcPr marL="6350" marR="6350" marT="6350" marB="0" anchor="ctr">
                    <a:solidFill>
                      <a:srgbClr val="C0005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1 R</a:t>
                      </a:r>
                    </a:p>
                  </a:txBody>
                  <a:tcPr marL="6350" marR="6350" marT="6350" marB="0" anchor="ctr">
                    <a:solidFill>
                      <a:srgbClr val="E68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</a:t>
                      </a: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G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2 R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</a:t>
                      </a:r>
                    </a:p>
                  </a:txBody>
                  <a:tcPr marL="6350" marR="6350" marT="635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G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B3 R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D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325864"/>
                  </a:ext>
                </a:extLst>
              </a:tr>
              <a:tr h="410492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PayPal Sans Big" panose="020B0503040504040204" pitchFamily="34" charset="0"/>
                        </a:rPr>
                        <a:t>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20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37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  23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9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81992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PayPal Sans Big" panose="020B0503040504040204" pitchFamily="34" charset="0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13 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41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  17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14 </a:t>
                      </a:r>
                    </a:p>
                  </a:txBody>
                  <a:tcPr marL="6350" marR="6350" marT="6350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PayPal Sans Big" panose="020B0503040504040204" pitchFamily="34" charset="0"/>
                          <a:ea typeface="+mn-ea"/>
                          <a:cs typeface="+mn-cs"/>
                        </a:rPr>
                        <a:t>          1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8172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67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Hkj.guSDrcqX4mYHoB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Gradient Section">
  <a:themeElements>
    <a:clrScheme name="PYL">
      <a:dk1>
        <a:sysClr val="windowText" lastClr="000000"/>
      </a:dk1>
      <a:lt1>
        <a:sysClr val="window" lastClr="FFFFFF"/>
      </a:lt1>
      <a:dk2>
        <a:srgbClr val="333333"/>
      </a:dk2>
      <a:lt2>
        <a:srgbClr val="808080"/>
      </a:lt2>
      <a:accent1>
        <a:srgbClr val="009CDE"/>
      </a:accent1>
      <a:accent2>
        <a:srgbClr val="003087"/>
      </a:accent2>
      <a:accent3>
        <a:srgbClr val="640487"/>
      </a:accent3>
      <a:accent4>
        <a:srgbClr val="DE0063"/>
      </a:accent4>
      <a:accent5>
        <a:srgbClr val="FF9600"/>
      </a:accent5>
      <a:accent6>
        <a:srgbClr val="00CF92"/>
      </a:accent6>
      <a:hlink>
        <a:srgbClr val="003087"/>
      </a:hlink>
      <a:folHlink>
        <a:srgbClr val="640487"/>
      </a:folHlink>
    </a:clrScheme>
    <a:fontScheme name="PYL">
      <a:majorFont>
        <a:latin typeface="PayPal Sans Big"/>
        <a:ea typeface=""/>
        <a:cs typeface=""/>
      </a:majorFont>
      <a:minorFont>
        <a:latin typeface="PayPal Sans Big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accent4"/>
          </a:solidFill>
          <a:headEnd type="none" w="med" len="med"/>
          <a:tailEnd type="arrow" w="med" len="me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ayPal PPT Template" id="{6E2877BD-E78D-E546-8C28-C3901E678525}" vid="{E56A0C0B-FFA2-254B-9848-D8CE5D2988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4059B82316DC4999DCEBBF3E555316" ma:contentTypeVersion="13" ma:contentTypeDescription="Create a new document." ma:contentTypeScope="" ma:versionID="59aa7f4c28356a5b0ec7f53f83980950">
  <xsd:schema xmlns:xsd="http://www.w3.org/2001/XMLSchema" xmlns:xs="http://www.w3.org/2001/XMLSchema" xmlns:p="http://schemas.microsoft.com/office/2006/metadata/properties" xmlns:ns2="63f7265a-97ee-4012-a894-b754749d4944" xmlns:ns3="e958c35c-cb17-4d7b-8965-a2604518132e" targetNamespace="http://schemas.microsoft.com/office/2006/metadata/properties" ma:root="true" ma:fieldsID="e03be54bdd6cfae276ad9bca0a13bb35" ns2:_="" ns3:_="">
    <xsd:import namespace="63f7265a-97ee-4012-a894-b754749d4944"/>
    <xsd:import namespace="e958c35c-cb17-4d7b-8965-a260451813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Summary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7265a-97ee-4012-a894-b754749d49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Summary" ma:index="10" nillable="true" ma:displayName="Summary" ma:description="One-line description of contents" ma:format="Dropdown" ma:internalName="Summary">
      <xsd:simpleType>
        <xsd:restriction base="dms:Text">
          <xsd:maxLength value="80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8c35c-cb17-4d7b-8965-a2604518132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mmary xmlns="63f7265a-97ee-4012-a894-b754749d4944" xsi:nil="true"/>
    <SharedWithUsers xmlns="e958c35c-cb17-4d7b-8965-a2604518132e">
      <UserInfo>
        <DisplayName>Jean Espinal</DisplayName>
        <AccountId>574</AccountId>
        <AccountType/>
      </UserInfo>
      <UserInfo>
        <DisplayName>Khatereh Khodavirdi</DisplayName>
        <AccountId>21</AccountId>
        <AccountType/>
      </UserInfo>
      <UserInfo>
        <DisplayName>Jay Kulkarni</DisplayName>
        <AccountId>1672</AccountId>
        <AccountType/>
      </UserInfo>
      <UserInfo>
        <DisplayName>Leon Yang</DisplayName>
        <AccountId>67</AccountId>
        <AccountType/>
      </UserInfo>
      <UserInfo>
        <DisplayName>Tem Wang</DisplayName>
        <AccountId>2345</AccountId>
        <AccountType/>
      </UserInfo>
      <UserInfo>
        <DisplayName>Chhabra, Aniket</DisplayName>
        <AccountId>4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242E5A5-2A64-402F-90B6-37097E9283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04B22F-6BA3-48BC-9F5B-1C00C0DD03C6}">
  <ds:schemaRefs>
    <ds:schemaRef ds:uri="63f7265a-97ee-4012-a894-b754749d4944"/>
    <ds:schemaRef ds:uri="e958c35c-cb17-4d7b-8965-a2604518132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9A21587-3C51-433E-9C0D-A3988A1C7FD2}">
  <ds:schemaRefs>
    <ds:schemaRef ds:uri="63f7265a-97ee-4012-a894-b754749d4944"/>
    <ds:schemaRef ds:uri="http://purl.org/dc/elements/1.1/"/>
    <ds:schemaRef ds:uri="http://schemas.microsoft.com/office/2006/metadata/properties"/>
    <ds:schemaRef ds:uri="http://purl.org/dc/terms/"/>
    <ds:schemaRef ds:uri="e958c35c-cb17-4d7b-8965-a2604518132e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87</TotalTime>
  <Words>1869</Words>
  <Application>Microsoft Office PowerPoint</Application>
  <PresentationFormat>Widescreen</PresentationFormat>
  <Paragraphs>49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Arial,Sans-Serif</vt:lpstr>
      <vt:lpstr>Calibri</vt:lpstr>
      <vt:lpstr>PayPal Sans Big</vt:lpstr>
      <vt:lpstr>PayPal Sans Big Light</vt:lpstr>
      <vt:lpstr>PayPal Sans Big Medium</vt:lpstr>
      <vt:lpstr>Blue Gradient Section</vt:lpstr>
      <vt:lpstr>think-cell Slide</vt:lpstr>
      <vt:lpstr>Servicing Segmentation Update</vt:lpstr>
      <vt:lpstr>Agenda </vt:lpstr>
      <vt:lpstr>Identifying Merchant Complexity to support the portfolio allocation program for Servicing Organization</vt:lpstr>
      <vt:lpstr>Complexity Score roadmap from V1 to V2 – How the score itself developed (color codes); Add 2022 timeline as well – H2 plan what will be adding</vt:lpstr>
      <vt:lpstr>Complexity Score v2.0</vt:lpstr>
      <vt:lpstr>Complexity Score Development framework</vt:lpstr>
      <vt:lpstr>FAQ??</vt:lpstr>
      <vt:lpstr>Complexity score updated to simplify understanding and use</vt:lpstr>
      <vt:lpstr>Score Distribution across Servicing Segments 2021</vt:lpstr>
      <vt:lpstr>Regional View of Complexity</vt:lpstr>
      <vt:lpstr>US Region</vt:lpstr>
      <vt:lpstr>Score Distribution across Servicing Segments 2021</vt:lpstr>
      <vt:lpstr>Merchant level case studies</vt:lpstr>
      <vt:lpstr>UK Region</vt:lpstr>
      <vt:lpstr>Score Distribution across Servicing Segments 2021</vt:lpstr>
      <vt:lpstr>Merchant level case studies</vt:lpstr>
      <vt:lpstr>DEATCH Region</vt:lpstr>
      <vt:lpstr>Score Distribution across Servicing Segments 2021</vt:lpstr>
      <vt:lpstr>Merchant level case studies</vt:lpstr>
      <vt:lpstr>Possible Use Cases of Complexity Score V2.0</vt:lpstr>
      <vt:lpstr>Possible use cases with updated complexity score</vt:lpstr>
      <vt:lpstr>Append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lexity Score from V1.0 to V1.5 - Proposal</dc:title>
  <dc:creator>Aniket Chhabra</dc:creator>
  <cp:lastModifiedBy>Aniket Chhabra</cp:lastModifiedBy>
  <cp:revision>33</cp:revision>
  <dcterms:created xsi:type="dcterms:W3CDTF">2021-08-11T02:44:44Z</dcterms:created>
  <dcterms:modified xsi:type="dcterms:W3CDTF">2021-10-12T14:2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4059B82316DC4999DCEBBF3E555316</vt:lpwstr>
  </property>
</Properties>
</file>